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07" r:id="rId4"/>
    <p:sldMasterId id="2147483714" r:id="rId5"/>
    <p:sldMasterId id="2147483717" r:id="rId6"/>
    <p:sldMasterId id="2147483720" r:id="rId7"/>
    <p:sldMasterId id="2147483723" r:id="rId8"/>
  </p:sldMasterIdLst>
  <p:notesMasterIdLst>
    <p:notesMasterId r:id="rId32"/>
  </p:notesMasterIdLst>
  <p:handoutMasterIdLst>
    <p:handoutMasterId r:id="rId33"/>
  </p:handoutMasterIdLst>
  <p:sldIdLst>
    <p:sldId id="487" r:id="rId9"/>
    <p:sldId id="343" r:id="rId10"/>
    <p:sldId id="570" r:id="rId11"/>
    <p:sldId id="599" r:id="rId12"/>
    <p:sldId id="600" r:id="rId13"/>
    <p:sldId id="601" r:id="rId14"/>
    <p:sldId id="602" r:id="rId15"/>
    <p:sldId id="603" r:id="rId16"/>
    <p:sldId id="566" r:id="rId17"/>
    <p:sldId id="580" r:id="rId18"/>
    <p:sldId id="581" r:id="rId19"/>
    <p:sldId id="583" r:id="rId20"/>
    <p:sldId id="582" r:id="rId21"/>
    <p:sldId id="584" r:id="rId22"/>
    <p:sldId id="585" r:id="rId23"/>
    <p:sldId id="586" r:id="rId24"/>
    <p:sldId id="598" r:id="rId25"/>
    <p:sldId id="588" r:id="rId26"/>
    <p:sldId id="587" r:id="rId27"/>
    <p:sldId id="589" r:id="rId28"/>
    <p:sldId id="590" r:id="rId29"/>
    <p:sldId id="591" r:id="rId30"/>
    <p:sldId id="593" r:id="rId31"/>
  </p:sldIdLst>
  <p:sldSz cx="9144000" cy="5143500" type="screen16x9"/>
  <p:notesSz cx="6797675" cy="9926638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Вступ" id="{92FB0B50-2C88-4573-BB8F-5C2D2773CFE6}">
          <p14:sldIdLst>
            <p14:sldId id="487"/>
            <p14:sldId id="343"/>
            <p14:sldId id="570"/>
            <p14:sldId id="599"/>
            <p14:sldId id="600"/>
            <p14:sldId id="601"/>
            <p14:sldId id="602"/>
            <p14:sldId id="603"/>
            <p14:sldId id="566"/>
            <p14:sldId id="580"/>
            <p14:sldId id="581"/>
            <p14:sldId id="583"/>
            <p14:sldId id="582"/>
            <p14:sldId id="584"/>
            <p14:sldId id="585"/>
            <p14:sldId id="586"/>
            <p14:sldId id="598"/>
            <p14:sldId id="588"/>
            <p14:sldId id="587"/>
            <p14:sldId id="589"/>
            <p14:sldId id="590"/>
            <p14:sldId id="591"/>
            <p14:sldId id="5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527">
          <p15:clr>
            <a:srgbClr val="A4A3A4"/>
          </p15:clr>
        </p15:guide>
        <p15:guide id="6" orient="horz" pos="2119">
          <p15:clr>
            <a:srgbClr val="A4A3A4"/>
          </p15:clr>
        </p15:guide>
        <p15:guide id="7" orient="horz" pos="2028">
          <p15:clr>
            <a:srgbClr val="A4A3A4"/>
          </p15:clr>
        </p15:guide>
        <p15:guide id="8" orient="horz" pos="486">
          <p15:clr>
            <a:srgbClr val="A4A3A4"/>
          </p15:clr>
        </p15:guide>
        <p15:guide id="9" orient="horz" pos="804">
          <p15:clr>
            <a:srgbClr val="A4A3A4"/>
          </p15:clr>
        </p15:guide>
        <p15:guide id="10" orient="horz" pos="123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620">
          <p15:clr>
            <a:srgbClr val="A4A3A4"/>
          </p15:clr>
        </p15:guide>
        <p15:guide id="13" orient="horz" pos="1529">
          <p15:clr>
            <a:srgbClr val="A4A3A4"/>
          </p15:clr>
        </p15:guide>
        <p15:guide id="14" orient="horz" pos="1030">
          <p15:clr>
            <a:srgbClr val="A4A3A4"/>
          </p15:clr>
        </p15:guide>
        <p15:guide id="15" orient="horz" pos="894">
          <p15:clr>
            <a:srgbClr val="A4A3A4"/>
          </p15:clr>
        </p15:guide>
        <p15:guide id="16" orient="horz" pos="2618">
          <p15:clr>
            <a:srgbClr val="A4A3A4"/>
          </p15:clr>
        </p15:guide>
        <p15:guide id="17" pos="4740">
          <p15:clr>
            <a:srgbClr val="A4A3A4"/>
          </p15:clr>
        </p15:guide>
        <p15:guide id="18" pos="2018">
          <p15:clr>
            <a:srgbClr val="A4A3A4"/>
          </p15:clr>
        </p15:guide>
        <p15:guide id="19" pos="1111">
          <p15:clr>
            <a:srgbClr val="A4A3A4"/>
          </p15:clr>
        </p15:guide>
        <p15:guide id="20" pos="204">
          <p15:clr>
            <a:srgbClr val="A4A3A4"/>
          </p15:clr>
        </p15:guide>
        <p15:guide id="21" pos="5556">
          <p15:clr>
            <a:srgbClr val="A4A3A4"/>
          </p15:clr>
        </p15:guide>
        <p15:guide id="22" pos="1927">
          <p15:clr>
            <a:srgbClr val="A4A3A4"/>
          </p15:clr>
        </p15:guide>
        <p15:guide id="23" pos="2835">
          <p15:clr>
            <a:srgbClr val="A4A3A4"/>
          </p15:clr>
        </p15:guide>
        <p15:guide id="24" pos="3833">
          <p15:clr>
            <a:srgbClr val="A4A3A4"/>
          </p15:clr>
        </p15:guide>
        <p15:guide id="25" pos="4649">
          <p15:clr>
            <a:srgbClr val="A4A3A4"/>
          </p15:clr>
        </p15:guide>
        <p15:guide id="26" pos="3742">
          <p15:clr>
            <a:srgbClr val="A4A3A4"/>
          </p15:clr>
        </p15:guide>
        <p15:guide id="27" pos="1020">
          <p15:clr>
            <a:srgbClr val="A4A3A4"/>
          </p15:clr>
        </p15:guide>
        <p15:guide id="28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Автор" initials="A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67A7"/>
    <a:srgbClr val="84BC5B"/>
    <a:srgbClr val="E1974D"/>
    <a:srgbClr val="84BB5B"/>
    <a:srgbClr val="2ECC7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652" autoAdjust="0"/>
    <p:restoredTop sz="94802" autoAdjust="0"/>
  </p:normalViewPr>
  <p:slideViewPr>
    <p:cSldViewPr showGuides="1">
      <p:cViewPr varScale="1">
        <p:scale>
          <a:sx n="91" d="100"/>
          <a:sy n="91" d="100"/>
        </p:scale>
        <p:origin x="788" y="56"/>
      </p:cViewPr>
      <p:guideLst>
        <p:guide orient="horz" pos="2981"/>
        <p:guide orient="horz" pos="3026"/>
        <p:guide orient="horz" pos="3117"/>
        <p:guide orient="horz" pos="577"/>
        <p:guide orient="horz" pos="2527"/>
        <p:guide orient="horz" pos="2119"/>
        <p:guide orient="horz" pos="2028"/>
        <p:guide orient="horz" pos="486"/>
        <p:guide orient="horz" pos="804"/>
        <p:guide orient="horz" pos="123"/>
        <p:guide orient="horz" pos="1121"/>
        <p:guide orient="horz" pos="1620"/>
        <p:guide orient="horz" pos="1529"/>
        <p:guide orient="horz" pos="1030"/>
        <p:guide orient="horz" pos="894"/>
        <p:guide orient="horz" pos="2618"/>
        <p:guide pos="4740"/>
        <p:guide pos="2018"/>
        <p:guide pos="1111"/>
        <p:guide pos="204"/>
        <p:guide pos="5556"/>
        <p:guide pos="1927"/>
        <p:guide pos="2835"/>
        <p:guide pos="3833"/>
        <p:guide pos="4649"/>
        <p:guide pos="3742"/>
        <p:guide pos="1020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4768"/>
    </p:cViewPr>
  </p:sorterViewPr>
  <p:notesViewPr>
    <p:cSldViewPr showGuides="1">
      <p:cViewPr varScale="1">
        <p:scale>
          <a:sx n="79" d="100"/>
          <a:sy n="79" d="100"/>
        </p:scale>
        <p:origin x="-3936" y="-84"/>
      </p:cViewPr>
      <p:guideLst>
        <p:guide orient="horz" pos="5938"/>
        <p:guide orient="horz" pos="495"/>
        <p:guide pos="281"/>
        <p:guide pos="400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bleStyles" Target="tableStyles.xml"/><Relationship Id="rId21" Type="http://schemas.openxmlformats.org/officeDocument/2006/relationships/slide" Target="slides/slide13.xml"/><Relationship Id="rId34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69326607026454"/>
          <c:y val="0.10655400726322713"/>
          <c:w val="0.2310597026139849"/>
          <c:h val="0.8196778338622310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9067A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0B8-8B44-8CBC-CE1D305232A7}"/>
              </c:ext>
            </c:extLst>
          </c:dPt>
          <c:dPt>
            <c:idx val="1"/>
            <c:bubble3D val="0"/>
            <c:spPr>
              <a:solidFill>
                <a:srgbClr val="84BC5B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D0B8-8B44-8CBC-CE1D305232A7}"/>
              </c:ext>
            </c:extLst>
          </c:dPt>
          <c:dPt>
            <c:idx val="2"/>
            <c:bubble3D val="0"/>
            <c:spPr>
              <a:solidFill>
                <a:srgbClr val="E1974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B8-8B44-8CBC-CE1D305232A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Галичина</c:v>
                </c:pt>
                <c:pt idx="1">
                  <c:v>Правобережжя</c:v>
                </c:pt>
                <c:pt idx="2">
                  <c:v>Інші регіони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2909999999999999</c:v>
                </c:pt>
                <c:pt idx="1">
                  <c:v>0.31740000000000002</c:v>
                </c:pt>
                <c:pt idx="2">
                  <c:v>0.553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B8-8B44-8CBC-CE1D305232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247879472265444"/>
          <c:y val="0.78442917450009653"/>
          <c:w val="0.60392910051928217"/>
          <c:h val="0.166392052916875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336411609498678"/>
          <c:y val="0"/>
          <c:w val="0.64961822432069616"/>
          <c:h val="0.76689790559392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вністю згодні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F4-4BF6-AE86-2B96EF88337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F4-4BF6-AE86-2B96EF88337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F4-4BF6-AE86-2B96EF88337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F4-4BF6-AE86-2B96EF88337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EF4-4BF6-AE86-2B96EF8833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В інформаційних програмах українських ЗМІ часто з'являються матеріали про Польщу</c:v>
                </c:pt>
                <c:pt idx="1">
                  <c:v>У школі мало розповідають про польську культуру</c:v>
                </c:pt>
                <c:pt idx="2">
                  <c:v>На українському телебаченні мало польських фільмів та серіалів</c:v>
                </c:pt>
                <c:pt idx="3">
                  <c:v>Польська культура легко і широко доступна в Україні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23780000000000001</c:v>
                </c:pt>
                <c:pt idx="1">
                  <c:v>0.31590000000000001</c:v>
                </c:pt>
                <c:pt idx="2">
                  <c:v>0.4854</c:v>
                </c:pt>
                <c:pt idx="3">
                  <c:v>0.300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EF4-4BF6-AE86-2B96EF8833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коріше згодні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В інформаційних програмах українських ЗМІ часто з'являються матеріали про Польщу</c:v>
                </c:pt>
                <c:pt idx="1">
                  <c:v>У школі мало розповідають про польську культуру</c:v>
                </c:pt>
                <c:pt idx="2">
                  <c:v>На українському телебаченні мало польських фільмів та серіалів</c:v>
                </c:pt>
                <c:pt idx="3">
                  <c:v>Польська культура легко і широко доступна в Україні</c:v>
                </c:pt>
              </c:strCache>
            </c:strRef>
          </c:cat>
          <c:val>
            <c:numRef>
              <c:f>Лист1!$C$2:$C$5</c:f>
              <c:numCache>
                <c:formatCode>0%</c:formatCode>
                <c:ptCount val="4"/>
                <c:pt idx="0">
                  <c:v>0.40110000000000001</c:v>
                </c:pt>
                <c:pt idx="1">
                  <c:v>0.23200000000000001</c:v>
                </c:pt>
                <c:pt idx="2">
                  <c:v>0.23710000000000001</c:v>
                </c:pt>
                <c:pt idx="3">
                  <c:v>0.3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EF4-4BF6-AE86-2B96EF88337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коріше не згодні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В інформаційних програмах українських ЗМІ часто з'являються матеріали про Польщу</c:v>
                </c:pt>
                <c:pt idx="1">
                  <c:v>У школі мало розповідають про польську культуру</c:v>
                </c:pt>
                <c:pt idx="2">
                  <c:v>На українському телебаченні мало польських фільмів та серіалів</c:v>
                </c:pt>
                <c:pt idx="3">
                  <c:v>Польська культура легко і широко доступна в Україні</c:v>
                </c:pt>
              </c:strCache>
            </c:strRef>
          </c:cat>
          <c:val>
            <c:numRef>
              <c:f>Лист1!$D$2:$D$5</c:f>
              <c:numCache>
                <c:formatCode>0%</c:formatCode>
                <c:ptCount val="4"/>
                <c:pt idx="0">
                  <c:v>0.13300000000000001</c:v>
                </c:pt>
                <c:pt idx="1">
                  <c:v>8.5699999999999998E-2</c:v>
                </c:pt>
                <c:pt idx="2">
                  <c:v>5.1799999999999999E-2</c:v>
                </c:pt>
                <c:pt idx="3">
                  <c:v>0.176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EF4-4BF6-AE86-2B96EF88337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вністю не згодні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В інформаційних програмах українських ЗМІ часто з'являються матеріали про Польщу</c:v>
                </c:pt>
                <c:pt idx="1">
                  <c:v>У школі мало розповідають про польську культуру</c:v>
                </c:pt>
                <c:pt idx="2">
                  <c:v>На українському телебаченні мало польських фільмів та серіалів</c:v>
                </c:pt>
                <c:pt idx="3">
                  <c:v>Польська культура легко і широко доступна в Україні</c:v>
                </c:pt>
              </c:strCache>
            </c:strRef>
          </c:cat>
          <c:val>
            <c:numRef>
              <c:f>Лист1!$E$2:$E$5</c:f>
              <c:numCache>
                <c:formatCode>0%</c:formatCode>
                <c:ptCount val="4"/>
                <c:pt idx="0">
                  <c:v>3.4799999999999998E-2</c:v>
                </c:pt>
                <c:pt idx="1">
                  <c:v>3.4099999999999998E-2</c:v>
                </c:pt>
                <c:pt idx="2">
                  <c:v>2.8000000000000001E-2</c:v>
                </c:pt>
                <c:pt idx="3">
                  <c:v>6.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FEF4-4BF6-AE86-2B96EF88337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не маєте думки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В інформаційних програмах українських ЗМІ часто з'являються матеріали про Польщу</c:v>
                </c:pt>
                <c:pt idx="1">
                  <c:v>У школі мало розповідають про польську культуру</c:v>
                </c:pt>
                <c:pt idx="2">
                  <c:v>На українському телебаченні мало польських фільмів та серіалів</c:v>
                </c:pt>
                <c:pt idx="3">
                  <c:v>Польська культура легко і широко доступна в Україні</c:v>
                </c:pt>
              </c:strCache>
            </c:strRef>
          </c:cat>
          <c:val>
            <c:numRef>
              <c:f>Лист1!$F$2:$F$5</c:f>
              <c:numCache>
                <c:formatCode>0%</c:formatCode>
                <c:ptCount val="4"/>
                <c:pt idx="0">
                  <c:v>0.1933</c:v>
                </c:pt>
                <c:pt idx="1">
                  <c:v>0.33229999999999998</c:v>
                </c:pt>
                <c:pt idx="2">
                  <c:v>0.1976</c:v>
                </c:pt>
                <c:pt idx="3">
                  <c:v>0.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04-EF44-B5C5-0287EB41215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232915993636363"/>
          <c:y val="0.79074801702377939"/>
          <c:w val="0.80767080960977644"/>
          <c:h val="6.67850762552579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74941652369069"/>
          <c:y val="6.7158450137909012E-2"/>
          <c:w val="0.60885806924862951"/>
          <c:h val="0.912167680079888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4</c:f>
              <c:strCache>
                <c:ptCount val="23"/>
                <c:pt idx="0">
                  <c:v>Анжей Дуда</c:v>
                </c:pt>
                <c:pt idx="1">
                  <c:v>Лех Качинський</c:v>
                </c:pt>
                <c:pt idx="2">
                  <c:v>Польські імена без прізвища</c:v>
                </c:pt>
                <c:pt idx="3">
                  <c:v>Лех Валенса</c:v>
                </c:pt>
                <c:pt idx="4">
                  <c:v>Барбара Брильська</c:v>
                </c:pt>
                <c:pt idx="5">
                  <c:v>Адам Міцкевич</c:v>
                </c:pt>
                <c:pt idx="6">
                  <c:v>Александр Квасневський</c:v>
                </c:pt>
                <c:pt idx="7">
                  <c:v>Юзеф Підлсуцький</c:v>
                </c:pt>
                <c:pt idx="8">
                  <c:v>Роберт Левандовський</c:v>
                </c:pt>
                <c:pt idx="9">
                  <c:v>Генрик Сенкевич</c:v>
                </c:pt>
                <c:pt idx="10">
                  <c:v>Анна Герман</c:v>
                </c:pt>
                <c:pt idx="11">
                  <c:v>Миколай Коперник</c:v>
                </c:pt>
                <c:pt idx="12">
                  <c:v>Іоанн Павло ІІ</c:v>
                </c:pt>
                <c:pt idx="13">
                  <c:v>Єжи Гофман</c:v>
                </c:pt>
                <c:pt idx="14">
                  <c:v>Анджей Сапковський</c:v>
                </c:pt>
                <c:pt idx="15">
                  <c:v>Станіслав Лем</c:v>
                </c:pt>
                <c:pt idx="16">
                  <c:v>Войцех Ярузельський</c:v>
                </c:pt>
                <c:pt idx="17">
                  <c:v>Януш Гайос (Янек з "Чотири танкісти і собака")</c:v>
                </c:pt>
                <c:pt idx="18">
                  <c:v>Тадеуш Костюшко</c:v>
                </c:pt>
                <c:pt idx="19">
                  <c:v>Фредерик Шопен</c:v>
                </c:pt>
                <c:pt idx="20">
                  <c:v>Ян Казимір</c:v>
                </c:pt>
                <c:pt idx="21">
                  <c:v>Інші імена</c:v>
                </c:pt>
                <c:pt idx="22">
                  <c:v>Не знаю</c:v>
                </c:pt>
              </c:strCache>
            </c:strRef>
          </c:cat>
          <c:val>
            <c:numRef>
              <c:f>Лист1!$B$2:$B$24</c:f>
              <c:numCache>
                <c:formatCode>0%</c:formatCode>
                <c:ptCount val="23"/>
                <c:pt idx="0">
                  <c:v>0.2228</c:v>
                </c:pt>
                <c:pt idx="1">
                  <c:v>6.8000000000000005E-2</c:v>
                </c:pt>
                <c:pt idx="2">
                  <c:v>6.7500000000000004E-2</c:v>
                </c:pt>
                <c:pt idx="3">
                  <c:v>4.7300000000000002E-2</c:v>
                </c:pt>
                <c:pt idx="4">
                  <c:v>4.4699999999999997E-2</c:v>
                </c:pt>
                <c:pt idx="5">
                  <c:v>4.0399999999999998E-2</c:v>
                </c:pt>
                <c:pt idx="6">
                  <c:v>3.7900000000000003E-2</c:v>
                </c:pt>
                <c:pt idx="7">
                  <c:v>2.2599999999999999E-2</c:v>
                </c:pt>
                <c:pt idx="8">
                  <c:v>2.06E-2</c:v>
                </c:pt>
                <c:pt idx="9">
                  <c:v>1.84E-2</c:v>
                </c:pt>
                <c:pt idx="10">
                  <c:v>1.83E-2</c:v>
                </c:pt>
                <c:pt idx="11">
                  <c:v>1.6400000000000001E-2</c:v>
                </c:pt>
                <c:pt idx="12">
                  <c:v>1.54E-2</c:v>
                </c:pt>
                <c:pt idx="13">
                  <c:v>1.41E-2</c:v>
                </c:pt>
                <c:pt idx="14">
                  <c:v>1.35E-2</c:v>
                </c:pt>
                <c:pt idx="15">
                  <c:v>1.2500000000000001E-2</c:v>
                </c:pt>
                <c:pt idx="16">
                  <c:v>1.24E-2</c:v>
                </c:pt>
                <c:pt idx="17">
                  <c:v>1.15E-2</c:v>
                </c:pt>
                <c:pt idx="18">
                  <c:v>1.15E-2</c:v>
                </c:pt>
                <c:pt idx="19">
                  <c:v>1.0500000000000001E-2</c:v>
                </c:pt>
                <c:pt idx="20">
                  <c:v>0.01</c:v>
                </c:pt>
                <c:pt idx="21">
                  <c:v>0.19670000000000001</c:v>
                </c:pt>
                <c:pt idx="22">
                  <c:v>0.5072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24</c:f>
              <c:strCache>
                <c:ptCount val="23"/>
                <c:pt idx="0">
                  <c:v>Анжей Дуда</c:v>
                </c:pt>
                <c:pt idx="1">
                  <c:v>Лех Качинський</c:v>
                </c:pt>
                <c:pt idx="2">
                  <c:v>Польські імена без прізвища</c:v>
                </c:pt>
                <c:pt idx="3">
                  <c:v>Лех Валенса</c:v>
                </c:pt>
                <c:pt idx="4">
                  <c:v>Барбара Брильська</c:v>
                </c:pt>
                <c:pt idx="5">
                  <c:v>Адам Міцкевич</c:v>
                </c:pt>
                <c:pt idx="6">
                  <c:v>Александр Квасневський</c:v>
                </c:pt>
                <c:pt idx="7">
                  <c:v>Юзеф Підлсуцький</c:v>
                </c:pt>
                <c:pt idx="8">
                  <c:v>Роберт Левандовський</c:v>
                </c:pt>
                <c:pt idx="9">
                  <c:v>Генрик Сенкевич</c:v>
                </c:pt>
                <c:pt idx="10">
                  <c:v>Анна Герман</c:v>
                </c:pt>
                <c:pt idx="11">
                  <c:v>Миколай Коперник</c:v>
                </c:pt>
                <c:pt idx="12">
                  <c:v>Іоанн Павло ІІ</c:v>
                </c:pt>
                <c:pt idx="13">
                  <c:v>Єжи Гофман</c:v>
                </c:pt>
                <c:pt idx="14">
                  <c:v>Анджей Сапковський</c:v>
                </c:pt>
                <c:pt idx="15">
                  <c:v>Станіслав Лем</c:v>
                </c:pt>
                <c:pt idx="16">
                  <c:v>Войцех Ярузельський</c:v>
                </c:pt>
                <c:pt idx="17">
                  <c:v>Януш Гайос (Янек з "Чотири танкісти і собака")</c:v>
                </c:pt>
                <c:pt idx="18">
                  <c:v>Тадеуш Костюшко</c:v>
                </c:pt>
                <c:pt idx="19">
                  <c:v>Фредерик Шопен</c:v>
                </c:pt>
                <c:pt idx="20">
                  <c:v>Ян Казимір</c:v>
                </c:pt>
                <c:pt idx="21">
                  <c:v>Інші імена</c:v>
                </c:pt>
                <c:pt idx="22">
                  <c:v>Не знаю</c:v>
                </c:pt>
              </c:strCache>
            </c:strRef>
          </c:cat>
          <c:val>
            <c:numRef>
              <c:f>Лист1!$C$2:$C$24</c:f>
              <c:numCache>
                <c:formatCode>0%</c:formatCode>
                <c:ptCount val="23"/>
                <c:pt idx="0">
                  <c:v>0.37719999999999998</c:v>
                </c:pt>
                <c:pt idx="1">
                  <c:v>0.53200000000000003</c:v>
                </c:pt>
                <c:pt idx="2">
                  <c:v>0.53249999999999997</c:v>
                </c:pt>
                <c:pt idx="3">
                  <c:v>0.55269999999999997</c:v>
                </c:pt>
                <c:pt idx="4">
                  <c:v>0.55530000000000002</c:v>
                </c:pt>
                <c:pt idx="5">
                  <c:v>0.55959999999999999</c:v>
                </c:pt>
                <c:pt idx="6">
                  <c:v>0.56209999999999993</c:v>
                </c:pt>
                <c:pt idx="7">
                  <c:v>0.57740000000000002</c:v>
                </c:pt>
                <c:pt idx="8">
                  <c:v>0.57940000000000003</c:v>
                </c:pt>
                <c:pt idx="9">
                  <c:v>0.58160000000000001</c:v>
                </c:pt>
                <c:pt idx="10">
                  <c:v>0.58169999999999999</c:v>
                </c:pt>
                <c:pt idx="11">
                  <c:v>0.58360000000000001</c:v>
                </c:pt>
                <c:pt idx="12">
                  <c:v>0.58460000000000001</c:v>
                </c:pt>
                <c:pt idx="13">
                  <c:v>0.58589999999999998</c:v>
                </c:pt>
                <c:pt idx="14">
                  <c:v>0.58650000000000002</c:v>
                </c:pt>
                <c:pt idx="15">
                  <c:v>0.58750000000000002</c:v>
                </c:pt>
                <c:pt idx="16">
                  <c:v>0.58760000000000001</c:v>
                </c:pt>
                <c:pt idx="17">
                  <c:v>0.58850000000000002</c:v>
                </c:pt>
                <c:pt idx="18">
                  <c:v>0.58850000000000002</c:v>
                </c:pt>
                <c:pt idx="19">
                  <c:v>0.58950000000000002</c:v>
                </c:pt>
                <c:pt idx="20">
                  <c:v>0.59</c:v>
                </c:pt>
                <c:pt idx="21">
                  <c:v>0.40329999999999999</c:v>
                </c:pt>
                <c:pt idx="22">
                  <c:v>9.27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аличин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4</c:f>
              <c:strCache>
                <c:ptCount val="23"/>
                <c:pt idx="0">
                  <c:v>Анжей Дуда</c:v>
                </c:pt>
                <c:pt idx="1">
                  <c:v>Лех Качинський</c:v>
                </c:pt>
                <c:pt idx="2">
                  <c:v>Польські імена без прізвища</c:v>
                </c:pt>
                <c:pt idx="3">
                  <c:v>Лех Валенса</c:v>
                </c:pt>
                <c:pt idx="4">
                  <c:v>Барбара Брильська</c:v>
                </c:pt>
                <c:pt idx="5">
                  <c:v>Адам Міцкевич</c:v>
                </c:pt>
                <c:pt idx="6">
                  <c:v>Александр Квасневський</c:v>
                </c:pt>
                <c:pt idx="7">
                  <c:v>Юзеф Підлсуцький</c:v>
                </c:pt>
                <c:pt idx="8">
                  <c:v>Роберт Левандовський</c:v>
                </c:pt>
                <c:pt idx="9">
                  <c:v>Генрик Сенкевич</c:v>
                </c:pt>
                <c:pt idx="10">
                  <c:v>Анна Герман</c:v>
                </c:pt>
                <c:pt idx="11">
                  <c:v>Миколай Коперник</c:v>
                </c:pt>
                <c:pt idx="12">
                  <c:v>Іоанн Павло ІІ</c:v>
                </c:pt>
                <c:pt idx="13">
                  <c:v>Єжи Гофман</c:v>
                </c:pt>
                <c:pt idx="14">
                  <c:v>Анджей Сапковський</c:v>
                </c:pt>
                <c:pt idx="15">
                  <c:v>Станіслав Лем</c:v>
                </c:pt>
                <c:pt idx="16">
                  <c:v>Войцех Ярузельський</c:v>
                </c:pt>
                <c:pt idx="17">
                  <c:v>Януш Гайос (Янек з "Чотири танкісти і собака")</c:v>
                </c:pt>
                <c:pt idx="18">
                  <c:v>Тадеуш Костюшко</c:v>
                </c:pt>
                <c:pt idx="19">
                  <c:v>Фредерик Шопен</c:v>
                </c:pt>
                <c:pt idx="20">
                  <c:v>Ян Казимір</c:v>
                </c:pt>
                <c:pt idx="21">
                  <c:v>Інші імена</c:v>
                </c:pt>
                <c:pt idx="22">
                  <c:v>Не знаю</c:v>
                </c:pt>
              </c:strCache>
            </c:strRef>
          </c:cat>
          <c:val>
            <c:numRef>
              <c:f>Лист1!$D$2:$D$24</c:f>
              <c:numCache>
                <c:formatCode>0%</c:formatCode>
                <c:ptCount val="23"/>
                <c:pt idx="0">
                  <c:v>0.37469999999999998</c:v>
                </c:pt>
                <c:pt idx="1">
                  <c:v>8.5099999999999995E-2</c:v>
                </c:pt>
                <c:pt idx="2">
                  <c:v>0.18579999999999999</c:v>
                </c:pt>
                <c:pt idx="3">
                  <c:v>0.1003</c:v>
                </c:pt>
                <c:pt idx="4">
                  <c:v>5.9799999999999999E-2</c:v>
                </c:pt>
                <c:pt idx="5">
                  <c:v>0.1129</c:v>
                </c:pt>
                <c:pt idx="6">
                  <c:v>1.9800000000000002E-2</c:v>
                </c:pt>
                <c:pt idx="7">
                  <c:v>4.4999999999999998E-2</c:v>
                </c:pt>
                <c:pt idx="8">
                  <c:v>2.3800000000000002E-2</c:v>
                </c:pt>
                <c:pt idx="9">
                  <c:v>0</c:v>
                </c:pt>
                <c:pt idx="10">
                  <c:v>2.53E-2</c:v>
                </c:pt>
                <c:pt idx="11">
                  <c:v>2.81E-2</c:v>
                </c:pt>
                <c:pt idx="12">
                  <c:v>2.06E-2</c:v>
                </c:pt>
                <c:pt idx="13">
                  <c:v>1.4200000000000001E-2</c:v>
                </c:pt>
                <c:pt idx="14">
                  <c:v>1.0200000000000001E-2</c:v>
                </c:pt>
                <c:pt idx="15">
                  <c:v>9.4000000000000004E-3</c:v>
                </c:pt>
                <c:pt idx="16">
                  <c:v>1.2699999999999999E-2</c:v>
                </c:pt>
                <c:pt idx="17">
                  <c:v>4.1399999999999999E-2</c:v>
                </c:pt>
                <c:pt idx="18">
                  <c:v>9.4000000000000004E-3</c:v>
                </c:pt>
                <c:pt idx="19">
                  <c:v>0</c:v>
                </c:pt>
                <c:pt idx="20">
                  <c:v>6.7000000000000002E-3</c:v>
                </c:pt>
                <c:pt idx="21">
                  <c:v>0.31089999999999995</c:v>
                </c:pt>
                <c:pt idx="22">
                  <c:v>0.285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24</c:f>
              <c:strCache>
                <c:ptCount val="23"/>
                <c:pt idx="0">
                  <c:v>Анжей Дуда</c:v>
                </c:pt>
                <c:pt idx="1">
                  <c:v>Лех Качинський</c:v>
                </c:pt>
                <c:pt idx="2">
                  <c:v>Польські імена без прізвища</c:v>
                </c:pt>
                <c:pt idx="3">
                  <c:v>Лех Валенса</c:v>
                </c:pt>
                <c:pt idx="4">
                  <c:v>Барбара Брильська</c:v>
                </c:pt>
                <c:pt idx="5">
                  <c:v>Адам Міцкевич</c:v>
                </c:pt>
                <c:pt idx="6">
                  <c:v>Александр Квасневський</c:v>
                </c:pt>
                <c:pt idx="7">
                  <c:v>Юзеф Підлсуцький</c:v>
                </c:pt>
                <c:pt idx="8">
                  <c:v>Роберт Левандовський</c:v>
                </c:pt>
                <c:pt idx="9">
                  <c:v>Генрик Сенкевич</c:v>
                </c:pt>
                <c:pt idx="10">
                  <c:v>Анна Герман</c:v>
                </c:pt>
                <c:pt idx="11">
                  <c:v>Миколай Коперник</c:v>
                </c:pt>
                <c:pt idx="12">
                  <c:v>Іоанн Павло ІІ</c:v>
                </c:pt>
                <c:pt idx="13">
                  <c:v>Єжи Гофман</c:v>
                </c:pt>
                <c:pt idx="14">
                  <c:v>Анджей Сапковський</c:v>
                </c:pt>
                <c:pt idx="15">
                  <c:v>Станіслав Лем</c:v>
                </c:pt>
                <c:pt idx="16">
                  <c:v>Войцех Ярузельський</c:v>
                </c:pt>
                <c:pt idx="17">
                  <c:v>Януш Гайос (Янек з "Чотири танкісти і собака")</c:v>
                </c:pt>
                <c:pt idx="18">
                  <c:v>Тадеуш Костюшко</c:v>
                </c:pt>
                <c:pt idx="19">
                  <c:v>Фредерик Шопен</c:v>
                </c:pt>
                <c:pt idx="20">
                  <c:v>Ян Казимір</c:v>
                </c:pt>
                <c:pt idx="21">
                  <c:v>Інші імена</c:v>
                </c:pt>
                <c:pt idx="22">
                  <c:v>Не знаю</c:v>
                </c:pt>
              </c:strCache>
            </c:strRef>
          </c:cat>
          <c:val>
            <c:numRef>
              <c:f>Лист1!$E$2:$E$24</c:f>
              <c:numCache>
                <c:formatCode>0%</c:formatCode>
                <c:ptCount val="23"/>
                <c:pt idx="0">
                  <c:v>0.2253</c:v>
                </c:pt>
                <c:pt idx="1">
                  <c:v>0.51490000000000002</c:v>
                </c:pt>
                <c:pt idx="2">
                  <c:v>0.41420000000000001</c:v>
                </c:pt>
                <c:pt idx="3">
                  <c:v>0.49969999999999998</c:v>
                </c:pt>
                <c:pt idx="4">
                  <c:v>0.54020000000000001</c:v>
                </c:pt>
                <c:pt idx="5">
                  <c:v>0.48709999999999998</c:v>
                </c:pt>
                <c:pt idx="6">
                  <c:v>0.58019999999999994</c:v>
                </c:pt>
                <c:pt idx="7">
                  <c:v>0.55499999999999994</c:v>
                </c:pt>
                <c:pt idx="8">
                  <c:v>0.57619999999999993</c:v>
                </c:pt>
                <c:pt idx="9">
                  <c:v>0.6</c:v>
                </c:pt>
                <c:pt idx="10">
                  <c:v>0.57469999999999999</c:v>
                </c:pt>
                <c:pt idx="11">
                  <c:v>0.57189999999999996</c:v>
                </c:pt>
                <c:pt idx="12">
                  <c:v>0.57940000000000003</c:v>
                </c:pt>
                <c:pt idx="13">
                  <c:v>0.58579999999999999</c:v>
                </c:pt>
                <c:pt idx="14">
                  <c:v>0.58979999999999999</c:v>
                </c:pt>
                <c:pt idx="15">
                  <c:v>0.59060000000000001</c:v>
                </c:pt>
                <c:pt idx="16">
                  <c:v>0.58729999999999993</c:v>
                </c:pt>
                <c:pt idx="17">
                  <c:v>0.55859999999999999</c:v>
                </c:pt>
                <c:pt idx="18">
                  <c:v>0.59060000000000001</c:v>
                </c:pt>
                <c:pt idx="19">
                  <c:v>0.6</c:v>
                </c:pt>
                <c:pt idx="20">
                  <c:v>0.59329999999999994</c:v>
                </c:pt>
                <c:pt idx="21">
                  <c:v>0.28910000000000002</c:v>
                </c:pt>
                <c:pt idx="22">
                  <c:v>0.3147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авобережж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26F-43F3-9E5F-32DFDF8B413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26F-43F3-9E5F-32DFDF8B413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4</c:f>
              <c:strCache>
                <c:ptCount val="23"/>
                <c:pt idx="0">
                  <c:v>Анжей Дуда</c:v>
                </c:pt>
                <c:pt idx="1">
                  <c:v>Лех Качинський</c:v>
                </c:pt>
                <c:pt idx="2">
                  <c:v>Польські імена без прізвища</c:v>
                </c:pt>
                <c:pt idx="3">
                  <c:v>Лех Валенса</c:v>
                </c:pt>
                <c:pt idx="4">
                  <c:v>Барбара Брильська</c:v>
                </c:pt>
                <c:pt idx="5">
                  <c:v>Адам Міцкевич</c:v>
                </c:pt>
                <c:pt idx="6">
                  <c:v>Александр Квасневський</c:v>
                </c:pt>
                <c:pt idx="7">
                  <c:v>Юзеф Підлсуцький</c:v>
                </c:pt>
                <c:pt idx="8">
                  <c:v>Роберт Левандовський</c:v>
                </c:pt>
                <c:pt idx="9">
                  <c:v>Генрик Сенкевич</c:v>
                </c:pt>
                <c:pt idx="10">
                  <c:v>Анна Герман</c:v>
                </c:pt>
                <c:pt idx="11">
                  <c:v>Миколай Коперник</c:v>
                </c:pt>
                <c:pt idx="12">
                  <c:v>Іоанн Павло ІІ</c:v>
                </c:pt>
                <c:pt idx="13">
                  <c:v>Єжи Гофман</c:v>
                </c:pt>
                <c:pt idx="14">
                  <c:v>Анджей Сапковський</c:v>
                </c:pt>
                <c:pt idx="15">
                  <c:v>Станіслав Лем</c:v>
                </c:pt>
                <c:pt idx="16">
                  <c:v>Войцех Ярузельський</c:v>
                </c:pt>
                <c:pt idx="17">
                  <c:v>Януш Гайос (Янек з "Чотири танкісти і собака")</c:v>
                </c:pt>
                <c:pt idx="18">
                  <c:v>Тадеуш Костюшко</c:v>
                </c:pt>
                <c:pt idx="19">
                  <c:v>Фредерик Шопен</c:v>
                </c:pt>
                <c:pt idx="20">
                  <c:v>Ян Казимір</c:v>
                </c:pt>
                <c:pt idx="21">
                  <c:v>Інші імена</c:v>
                </c:pt>
                <c:pt idx="22">
                  <c:v>Не знаю</c:v>
                </c:pt>
              </c:strCache>
            </c:strRef>
          </c:cat>
          <c:val>
            <c:numRef>
              <c:f>Лист1!$F$2:$F$24</c:f>
              <c:numCache>
                <c:formatCode>0%</c:formatCode>
                <c:ptCount val="23"/>
                <c:pt idx="0">
                  <c:v>0.28760000000000002</c:v>
                </c:pt>
                <c:pt idx="1">
                  <c:v>7.7600000000000002E-2</c:v>
                </c:pt>
                <c:pt idx="2">
                  <c:v>6.3299999999999995E-2</c:v>
                </c:pt>
                <c:pt idx="3">
                  <c:v>3.3799999999999997E-2</c:v>
                </c:pt>
                <c:pt idx="4">
                  <c:v>2.9899999999999999E-2</c:v>
                </c:pt>
                <c:pt idx="5">
                  <c:v>5.2999999999999999E-2</c:v>
                </c:pt>
                <c:pt idx="6">
                  <c:v>5.7099999999999998E-2</c:v>
                </c:pt>
                <c:pt idx="7">
                  <c:v>1.7100000000000001E-2</c:v>
                </c:pt>
                <c:pt idx="8">
                  <c:v>9.5999999999999992E-3</c:v>
                </c:pt>
                <c:pt idx="9">
                  <c:v>1.61E-2</c:v>
                </c:pt>
                <c:pt idx="10">
                  <c:v>1.9599999999999999E-2</c:v>
                </c:pt>
                <c:pt idx="11">
                  <c:v>2.3300000000000001E-2</c:v>
                </c:pt>
                <c:pt idx="12">
                  <c:v>2.53E-2</c:v>
                </c:pt>
                <c:pt idx="13">
                  <c:v>9.4999999999999998E-3</c:v>
                </c:pt>
                <c:pt idx="14">
                  <c:v>2.1299999999999999E-2</c:v>
                </c:pt>
                <c:pt idx="15">
                  <c:v>1.1299999999999999E-2</c:v>
                </c:pt>
                <c:pt idx="16">
                  <c:v>6.4000000000000003E-3</c:v>
                </c:pt>
                <c:pt idx="17">
                  <c:v>8.6999999999999994E-3</c:v>
                </c:pt>
                <c:pt idx="18">
                  <c:v>1.77E-2</c:v>
                </c:pt>
                <c:pt idx="19">
                  <c:v>1.1599999999999999E-2</c:v>
                </c:pt>
                <c:pt idx="20">
                  <c:v>1.6400000000000001E-2</c:v>
                </c:pt>
                <c:pt idx="21">
                  <c:v>0.18490000000000001</c:v>
                </c:pt>
                <c:pt idx="22">
                  <c:v>0.467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24</c:f>
              <c:strCache>
                <c:ptCount val="23"/>
                <c:pt idx="0">
                  <c:v>Анжей Дуда</c:v>
                </c:pt>
                <c:pt idx="1">
                  <c:v>Лех Качинський</c:v>
                </c:pt>
                <c:pt idx="2">
                  <c:v>Польські імена без прізвища</c:v>
                </c:pt>
                <c:pt idx="3">
                  <c:v>Лех Валенса</c:v>
                </c:pt>
                <c:pt idx="4">
                  <c:v>Барбара Брильська</c:v>
                </c:pt>
                <c:pt idx="5">
                  <c:v>Адам Міцкевич</c:v>
                </c:pt>
                <c:pt idx="6">
                  <c:v>Александр Квасневський</c:v>
                </c:pt>
                <c:pt idx="7">
                  <c:v>Юзеф Підлсуцький</c:v>
                </c:pt>
                <c:pt idx="8">
                  <c:v>Роберт Левандовський</c:v>
                </c:pt>
                <c:pt idx="9">
                  <c:v>Генрик Сенкевич</c:v>
                </c:pt>
                <c:pt idx="10">
                  <c:v>Анна Герман</c:v>
                </c:pt>
                <c:pt idx="11">
                  <c:v>Миколай Коперник</c:v>
                </c:pt>
                <c:pt idx="12">
                  <c:v>Іоанн Павло ІІ</c:v>
                </c:pt>
                <c:pt idx="13">
                  <c:v>Єжи Гофман</c:v>
                </c:pt>
                <c:pt idx="14">
                  <c:v>Анджей Сапковський</c:v>
                </c:pt>
                <c:pt idx="15">
                  <c:v>Станіслав Лем</c:v>
                </c:pt>
                <c:pt idx="16">
                  <c:v>Войцех Ярузельський</c:v>
                </c:pt>
                <c:pt idx="17">
                  <c:v>Януш Гайос (Янек з "Чотири танкісти і собака")</c:v>
                </c:pt>
                <c:pt idx="18">
                  <c:v>Тадеуш Костюшко</c:v>
                </c:pt>
                <c:pt idx="19">
                  <c:v>Фредерик Шопен</c:v>
                </c:pt>
                <c:pt idx="20">
                  <c:v>Ян Казимір</c:v>
                </c:pt>
                <c:pt idx="21">
                  <c:v>Інші імена</c:v>
                </c:pt>
                <c:pt idx="22">
                  <c:v>Не знаю</c:v>
                </c:pt>
              </c:strCache>
            </c:strRef>
          </c:cat>
          <c:val>
            <c:numRef>
              <c:f>Лист1!$G$2:$G$24</c:f>
              <c:numCache>
                <c:formatCode>0%</c:formatCode>
                <c:ptCount val="23"/>
                <c:pt idx="0">
                  <c:v>0.31239999999999996</c:v>
                </c:pt>
                <c:pt idx="1">
                  <c:v>0.52239999999999998</c:v>
                </c:pt>
                <c:pt idx="2">
                  <c:v>0.53669999999999995</c:v>
                </c:pt>
                <c:pt idx="3">
                  <c:v>0.56620000000000004</c:v>
                </c:pt>
                <c:pt idx="4">
                  <c:v>0.57009999999999994</c:v>
                </c:pt>
                <c:pt idx="5">
                  <c:v>0.54699999999999993</c:v>
                </c:pt>
                <c:pt idx="6">
                  <c:v>0.54289999999999994</c:v>
                </c:pt>
                <c:pt idx="7">
                  <c:v>0.58289999999999997</c:v>
                </c:pt>
                <c:pt idx="8">
                  <c:v>0.59039999999999992</c:v>
                </c:pt>
                <c:pt idx="9">
                  <c:v>0.58389999999999997</c:v>
                </c:pt>
                <c:pt idx="10">
                  <c:v>0.58040000000000003</c:v>
                </c:pt>
                <c:pt idx="11">
                  <c:v>0.57669999999999999</c:v>
                </c:pt>
                <c:pt idx="12">
                  <c:v>0.57469999999999999</c:v>
                </c:pt>
                <c:pt idx="13">
                  <c:v>0.59050000000000002</c:v>
                </c:pt>
                <c:pt idx="14">
                  <c:v>0.57869999999999999</c:v>
                </c:pt>
                <c:pt idx="15">
                  <c:v>0.5887</c:v>
                </c:pt>
                <c:pt idx="16">
                  <c:v>0.59360000000000002</c:v>
                </c:pt>
                <c:pt idx="17">
                  <c:v>0.59129999999999994</c:v>
                </c:pt>
                <c:pt idx="18">
                  <c:v>0.58229999999999993</c:v>
                </c:pt>
                <c:pt idx="19">
                  <c:v>0.58840000000000003</c:v>
                </c:pt>
                <c:pt idx="20">
                  <c:v>0.58360000000000001</c:v>
                </c:pt>
                <c:pt idx="21">
                  <c:v>0.41509999999999997</c:v>
                </c:pt>
                <c:pt idx="22">
                  <c:v>0.1323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інші регіон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4</c:f>
              <c:strCache>
                <c:ptCount val="23"/>
                <c:pt idx="0">
                  <c:v>Анжей Дуда</c:v>
                </c:pt>
                <c:pt idx="1">
                  <c:v>Лех Качинський</c:v>
                </c:pt>
                <c:pt idx="2">
                  <c:v>Польські імена без прізвища</c:v>
                </c:pt>
                <c:pt idx="3">
                  <c:v>Лех Валенса</c:v>
                </c:pt>
                <c:pt idx="4">
                  <c:v>Барбара Брильська</c:v>
                </c:pt>
                <c:pt idx="5">
                  <c:v>Адам Міцкевич</c:v>
                </c:pt>
                <c:pt idx="6">
                  <c:v>Александр Квасневський</c:v>
                </c:pt>
                <c:pt idx="7">
                  <c:v>Юзеф Підлсуцький</c:v>
                </c:pt>
                <c:pt idx="8">
                  <c:v>Роберт Левандовський</c:v>
                </c:pt>
                <c:pt idx="9">
                  <c:v>Генрик Сенкевич</c:v>
                </c:pt>
                <c:pt idx="10">
                  <c:v>Анна Герман</c:v>
                </c:pt>
                <c:pt idx="11">
                  <c:v>Миколай Коперник</c:v>
                </c:pt>
                <c:pt idx="12">
                  <c:v>Іоанн Павло ІІ</c:v>
                </c:pt>
                <c:pt idx="13">
                  <c:v>Єжи Гофман</c:v>
                </c:pt>
                <c:pt idx="14">
                  <c:v>Анджей Сапковський</c:v>
                </c:pt>
                <c:pt idx="15">
                  <c:v>Станіслав Лем</c:v>
                </c:pt>
                <c:pt idx="16">
                  <c:v>Войцех Ярузельський</c:v>
                </c:pt>
                <c:pt idx="17">
                  <c:v>Януш Гайос (Янек з "Чотири танкісти і собака")</c:v>
                </c:pt>
                <c:pt idx="18">
                  <c:v>Тадеуш Костюшко</c:v>
                </c:pt>
                <c:pt idx="19">
                  <c:v>Фредерик Шопен</c:v>
                </c:pt>
                <c:pt idx="20">
                  <c:v>Ян Казимір</c:v>
                </c:pt>
                <c:pt idx="21">
                  <c:v>Інші імена</c:v>
                </c:pt>
                <c:pt idx="22">
                  <c:v>Не знаю</c:v>
                </c:pt>
              </c:strCache>
            </c:strRef>
          </c:cat>
          <c:val>
            <c:numRef>
              <c:f>Лист1!$H$2:$H$24</c:f>
              <c:numCache>
                <c:formatCode>0%</c:formatCode>
                <c:ptCount val="23"/>
                <c:pt idx="0">
                  <c:v>0.15029999999999999</c:v>
                </c:pt>
                <c:pt idx="1">
                  <c:v>5.8599999999999999E-2</c:v>
                </c:pt>
                <c:pt idx="2">
                  <c:v>4.2299999999999997E-2</c:v>
                </c:pt>
                <c:pt idx="3">
                  <c:v>4.2799999999999998E-2</c:v>
                </c:pt>
                <c:pt idx="4">
                  <c:v>4.9799999999999997E-2</c:v>
                </c:pt>
                <c:pt idx="5">
                  <c:v>1.6299999999999999E-2</c:v>
                </c:pt>
                <c:pt idx="6">
                  <c:v>3.1099999999999999E-2</c:v>
                </c:pt>
                <c:pt idx="7">
                  <c:v>2.06E-2</c:v>
                </c:pt>
                <c:pt idx="8">
                  <c:v>2.6200000000000001E-2</c:v>
                </c:pt>
                <c:pt idx="9">
                  <c:v>2.4E-2</c:v>
                </c:pt>
                <c:pt idx="10">
                  <c:v>1.6E-2</c:v>
                </c:pt>
                <c:pt idx="11">
                  <c:v>9.5999999999999992E-3</c:v>
                </c:pt>
                <c:pt idx="12">
                  <c:v>8.6E-3</c:v>
                </c:pt>
                <c:pt idx="13">
                  <c:v>1.66E-2</c:v>
                </c:pt>
                <c:pt idx="14">
                  <c:v>9.9000000000000008E-3</c:v>
                </c:pt>
                <c:pt idx="15">
                  <c:v>1.3899999999999999E-2</c:v>
                </c:pt>
                <c:pt idx="16">
                  <c:v>1.5900000000000001E-2</c:v>
                </c:pt>
                <c:pt idx="17">
                  <c:v>6.1999999999999998E-3</c:v>
                </c:pt>
                <c:pt idx="18">
                  <c:v>8.3999999999999995E-3</c:v>
                </c:pt>
                <c:pt idx="19">
                  <c:v>1.23E-2</c:v>
                </c:pt>
                <c:pt idx="20">
                  <c:v>7.1000000000000004E-3</c:v>
                </c:pt>
                <c:pt idx="21">
                  <c:v>0.17699999999999999</c:v>
                </c:pt>
                <c:pt idx="22">
                  <c:v>0.5818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D82-43E9-83BE-6E9CCBC900F0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Стовпець5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24</c:f>
              <c:strCache>
                <c:ptCount val="23"/>
                <c:pt idx="0">
                  <c:v>Анжей Дуда</c:v>
                </c:pt>
                <c:pt idx="1">
                  <c:v>Лех Качинський</c:v>
                </c:pt>
                <c:pt idx="2">
                  <c:v>Польські імена без прізвища</c:v>
                </c:pt>
                <c:pt idx="3">
                  <c:v>Лех Валенса</c:v>
                </c:pt>
                <c:pt idx="4">
                  <c:v>Барбара Брильська</c:v>
                </c:pt>
                <c:pt idx="5">
                  <c:v>Адам Міцкевич</c:v>
                </c:pt>
                <c:pt idx="6">
                  <c:v>Александр Квасневський</c:v>
                </c:pt>
                <c:pt idx="7">
                  <c:v>Юзеф Підлсуцький</c:v>
                </c:pt>
                <c:pt idx="8">
                  <c:v>Роберт Левандовський</c:v>
                </c:pt>
                <c:pt idx="9">
                  <c:v>Генрик Сенкевич</c:v>
                </c:pt>
                <c:pt idx="10">
                  <c:v>Анна Герман</c:v>
                </c:pt>
                <c:pt idx="11">
                  <c:v>Миколай Коперник</c:v>
                </c:pt>
                <c:pt idx="12">
                  <c:v>Іоанн Павло ІІ</c:v>
                </c:pt>
                <c:pt idx="13">
                  <c:v>Єжи Гофман</c:v>
                </c:pt>
                <c:pt idx="14">
                  <c:v>Анджей Сапковський</c:v>
                </c:pt>
                <c:pt idx="15">
                  <c:v>Станіслав Лем</c:v>
                </c:pt>
                <c:pt idx="16">
                  <c:v>Войцех Ярузельський</c:v>
                </c:pt>
                <c:pt idx="17">
                  <c:v>Януш Гайос (Янек з "Чотири танкісти і собака")</c:v>
                </c:pt>
                <c:pt idx="18">
                  <c:v>Тадеуш Костюшко</c:v>
                </c:pt>
                <c:pt idx="19">
                  <c:v>Фредерик Шопен</c:v>
                </c:pt>
                <c:pt idx="20">
                  <c:v>Ян Казимір</c:v>
                </c:pt>
                <c:pt idx="21">
                  <c:v>Інші імена</c:v>
                </c:pt>
                <c:pt idx="22">
                  <c:v>Не знаю</c:v>
                </c:pt>
              </c:strCache>
            </c:strRef>
          </c:cat>
          <c:val>
            <c:numRef>
              <c:f>Лист1!$I$2:$I$24</c:f>
              <c:numCache>
                <c:formatCode>0%</c:formatCode>
                <c:ptCount val="23"/>
                <c:pt idx="0">
                  <c:v>0.44969999999999999</c:v>
                </c:pt>
                <c:pt idx="1">
                  <c:v>0.54139999999999999</c:v>
                </c:pt>
                <c:pt idx="2">
                  <c:v>0.55769999999999997</c:v>
                </c:pt>
                <c:pt idx="3">
                  <c:v>0.55720000000000003</c:v>
                </c:pt>
                <c:pt idx="4">
                  <c:v>0.55020000000000002</c:v>
                </c:pt>
                <c:pt idx="5">
                  <c:v>0.5837</c:v>
                </c:pt>
                <c:pt idx="6">
                  <c:v>0.56889999999999996</c:v>
                </c:pt>
                <c:pt idx="7">
                  <c:v>0.57940000000000003</c:v>
                </c:pt>
                <c:pt idx="8">
                  <c:v>0.57379999999999998</c:v>
                </c:pt>
                <c:pt idx="9">
                  <c:v>0.57599999999999996</c:v>
                </c:pt>
                <c:pt idx="10">
                  <c:v>0.58399999999999996</c:v>
                </c:pt>
                <c:pt idx="11">
                  <c:v>0.59039999999999992</c:v>
                </c:pt>
                <c:pt idx="12">
                  <c:v>0.59139999999999993</c:v>
                </c:pt>
                <c:pt idx="13">
                  <c:v>0.58340000000000003</c:v>
                </c:pt>
                <c:pt idx="14">
                  <c:v>0.59009999999999996</c:v>
                </c:pt>
                <c:pt idx="15">
                  <c:v>0.58609999999999995</c:v>
                </c:pt>
                <c:pt idx="16">
                  <c:v>0.58409999999999995</c:v>
                </c:pt>
                <c:pt idx="17">
                  <c:v>0.59379999999999999</c:v>
                </c:pt>
                <c:pt idx="18">
                  <c:v>0.59160000000000001</c:v>
                </c:pt>
                <c:pt idx="19">
                  <c:v>0.5877</c:v>
                </c:pt>
                <c:pt idx="20">
                  <c:v>0.59289999999999998</c:v>
                </c:pt>
                <c:pt idx="21">
                  <c:v>0.42299999999999999</c:v>
                </c:pt>
                <c:pt idx="22">
                  <c:v>1.81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D82-43E9-83BE-6E9CCBC900F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336411609498678"/>
          <c:y val="0"/>
          <c:w val="0.53351166504652137"/>
          <c:h val="0.87525032769465827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нають ім'я і хто це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F4-4BF6-AE86-2B96EF88337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F4-4BF6-AE86-2B96EF88337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F4-4BF6-AE86-2B96EF88337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F4-4BF6-AE86-2B96EF88337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EF4-4BF6-AE86-2B96EF8833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6</c:f>
              <c:strCache>
                <c:ptCount val="15"/>
                <c:pt idx="0">
                  <c:v>Фридерик Шопен</c:v>
                </c:pt>
                <c:pt idx="1">
                  <c:v>Адам Міцкевич</c:v>
                </c:pt>
                <c:pt idx="2">
                  <c:v>Єжи Гофман</c:v>
                </c:pt>
                <c:pt idx="3">
                  <c:v>Роман Полянський</c:v>
                </c:pt>
                <c:pt idx="4">
                  <c:v>Генрик Сенкевич</c:v>
                </c:pt>
                <c:pt idx="5">
                  <c:v>Чеслав Мілош</c:v>
                </c:pt>
                <c:pt idx="6">
                  <c:v>Анджей Вайда</c:v>
                </c:pt>
                <c:pt idx="7">
                  <c:v>Станіслав Лем</c:v>
                </c:pt>
                <c:pt idx="8">
                  <c:v>Аґнєшка Голланд</c:v>
                </c:pt>
                <c:pt idx="9">
                  <c:v>Станіслав Монюшко</c:v>
                </c:pt>
                <c:pt idx="10">
                  <c:v>Юліуш Словацький</c:v>
                </c:pt>
                <c:pt idx="11">
                  <c:v>Кароль Шимановський</c:v>
                </c:pt>
                <c:pt idx="12">
                  <c:v>Ігнацій Ян Падеревський</c:v>
                </c:pt>
                <c:pt idx="13">
                  <c:v>Ольґа Токaрчук</c:v>
                </c:pt>
                <c:pt idx="14">
                  <c:v>Войцех Кіляр</c:v>
                </c:pt>
              </c:strCache>
            </c:strRef>
          </c:cat>
          <c:val>
            <c:numRef>
              <c:f>Лист1!$B$2:$B$16</c:f>
              <c:numCache>
                <c:formatCode>0%</c:formatCode>
                <c:ptCount val="15"/>
                <c:pt idx="0">
                  <c:v>0.81489999999999996</c:v>
                </c:pt>
                <c:pt idx="1">
                  <c:v>0.31540000000000001</c:v>
                </c:pt>
                <c:pt idx="2">
                  <c:v>0.2366</c:v>
                </c:pt>
                <c:pt idx="3">
                  <c:v>0.16839999999999999</c:v>
                </c:pt>
                <c:pt idx="4">
                  <c:v>0.1772</c:v>
                </c:pt>
                <c:pt idx="5">
                  <c:v>3.49E-2</c:v>
                </c:pt>
                <c:pt idx="6">
                  <c:v>8.0600000000000005E-2</c:v>
                </c:pt>
                <c:pt idx="7">
                  <c:v>0.15279999999999999</c:v>
                </c:pt>
                <c:pt idx="8">
                  <c:v>3.6700000000000003E-2</c:v>
                </c:pt>
                <c:pt idx="9">
                  <c:v>2.2100000000000002E-2</c:v>
                </c:pt>
                <c:pt idx="10">
                  <c:v>5.6599999999999998E-2</c:v>
                </c:pt>
                <c:pt idx="11">
                  <c:v>2.81E-2</c:v>
                </c:pt>
                <c:pt idx="12">
                  <c:v>2.4899999999999999E-2</c:v>
                </c:pt>
                <c:pt idx="13">
                  <c:v>2.3300000000000001E-2</c:v>
                </c:pt>
                <c:pt idx="14">
                  <c:v>7.3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EF4-4BF6-AE86-2B96EF8833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нають тільки ім'я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6</c:f>
              <c:strCache>
                <c:ptCount val="15"/>
                <c:pt idx="0">
                  <c:v>Фридерик Шопен</c:v>
                </c:pt>
                <c:pt idx="1">
                  <c:v>Адам Міцкевич</c:v>
                </c:pt>
                <c:pt idx="2">
                  <c:v>Єжи Гофман</c:v>
                </c:pt>
                <c:pt idx="3">
                  <c:v>Роман Полянський</c:v>
                </c:pt>
                <c:pt idx="4">
                  <c:v>Генрик Сенкевич</c:v>
                </c:pt>
                <c:pt idx="5">
                  <c:v>Чеслав Мілош</c:v>
                </c:pt>
                <c:pt idx="6">
                  <c:v>Анджей Вайда</c:v>
                </c:pt>
                <c:pt idx="7">
                  <c:v>Станіслав Лем</c:v>
                </c:pt>
                <c:pt idx="8">
                  <c:v>Аґнєшка Голланд</c:v>
                </c:pt>
                <c:pt idx="9">
                  <c:v>Станіслав Монюшко</c:v>
                </c:pt>
                <c:pt idx="10">
                  <c:v>Юліуш Словацький</c:v>
                </c:pt>
                <c:pt idx="11">
                  <c:v>Кароль Шимановський</c:v>
                </c:pt>
                <c:pt idx="12">
                  <c:v>Ігнацій Ян Падеревський</c:v>
                </c:pt>
                <c:pt idx="13">
                  <c:v>Ольґа Токaрчук</c:v>
                </c:pt>
                <c:pt idx="14">
                  <c:v>Войцех Кіляр</c:v>
                </c:pt>
              </c:strCache>
            </c:strRef>
          </c:cat>
          <c:val>
            <c:numRef>
              <c:f>Лист1!$C$2:$C$16</c:f>
              <c:numCache>
                <c:formatCode>0%</c:formatCode>
                <c:ptCount val="15"/>
                <c:pt idx="0">
                  <c:v>8.9499999999999996E-2</c:v>
                </c:pt>
                <c:pt idx="1">
                  <c:v>0.42720000000000002</c:v>
                </c:pt>
                <c:pt idx="2">
                  <c:v>0.38669999999999999</c:v>
                </c:pt>
                <c:pt idx="3">
                  <c:v>0.31509999999999999</c:v>
                </c:pt>
                <c:pt idx="4">
                  <c:v>0.3029</c:v>
                </c:pt>
                <c:pt idx="5">
                  <c:v>0.39269999999999999</c:v>
                </c:pt>
                <c:pt idx="6">
                  <c:v>0.2024</c:v>
                </c:pt>
                <c:pt idx="7">
                  <c:v>0.1186</c:v>
                </c:pt>
                <c:pt idx="8">
                  <c:v>0.17799999999999999</c:v>
                </c:pt>
                <c:pt idx="9">
                  <c:v>0.18149999999999999</c:v>
                </c:pt>
                <c:pt idx="10">
                  <c:v>0.14369999999999999</c:v>
                </c:pt>
                <c:pt idx="11">
                  <c:v>0.16389999999999999</c:v>
                </c:pt>
                <c:pt idx="12">
                  <c:v>9.01E-2</c:v>
                </c:pt>
                <c:pt idx="13">
                  <c:v>7.2599999999999998E-2</c:v>
                </c:pt>
                <c:pt idx="14">
                  <c:v>7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EF4-4BF6-AE86-2B96EF88337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е знають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6</c:f>
              <c:strCache>
                <c:ptCount val="15"/>
                <c:pt idx="0">
                  <c:v>Фридерик Шопен</c:v>
                </c:pt>
                <c:pt idx="1">
                  <c:v>Адам Міцкевич</c:v>
                </c:pt>
                <c:pt idx="2">
                  <c:v>Єжи Гофман</c:v>
                </c:pt>
                <c:pt idx="3">
                  <c:v>Роман Полянський</c:v>
                </c:pt>
                <c:pt idx="4">
                  <c:v>Генрик Сенкевич</c:v>
                </c:pt>
                <c:pt idx="5">
                  <c:v>Чеслав Мілош</c:v>
                </c:pt>
                <c:pt idx="6">
                  <c:v>Анджей Вайда</c:v>
                </c:pt>
                <c:pt idx="7">
                  <c:v>Станіслав Лем</c:v>
                </c:pt>
                <c:pt idx="8">
                  <c:v>Аґнєшка Голланд</c:v>
                </c:pt>
                <c:pt idx="9">
                  <c:v>Станіслав Монюшко</c:v>
                </c:pt>
                <c:pt idx="10">
                  <c:v>Юліуш Словацький</c:v>
                </c:pt>
                <c:pt idx="11">
                  <c:v>Кароль Шимановський</c:v>
                </c:pt>
                <c:pt idx="12">
                  <c:v>Ігнацій Ян Падеревський</c:v>
                </c:pt>
                <c:pt idx="13">
                  <c:v>Ольґа Токaрчук</c:v>
                </c:pt>
                <c:pt idx="14">
                  <c:v>Войцех Кіляр</c:v>
                </c:pt>
              </c:strCache>
            </c:strRef>
          </c:cat>
          <c:val>
            <c:numRef>
              <c:f>Лист1!$D$2:$D$16</c:f>
              <c:numCache>
                <c:formatCode>0%</c:formatCode>
                <c:ptCount val="15"/>
                <c:pt idx="0">
                  <c:v>9.5600000000000004E-2</c:v>
                </c:pt>
                <c:pt idx="1">
                  <c:v>0.25750000000000001</c:v>
                </c:pt>
                <c:pt idx="2">
                  <c:v>0.37669999999999998</c:v>
                </c:pt>
                <c:pt idx="3">
                  <c:v>0.51649999999999996</c:v>
                </c:pt>
                <c:pt idx="4">
                  <c:v>0.51990000000000003</c:v>
                </c:pt>
                <c:pt idx="5">
                  <c:v>0.57240000000000002</c:v>
                </c:pt>
                <c:pt idx="6">
                  <c:v>0.71699999999999997</c:v>
                </c:pt>
                <c:pt idx="7">
                  <c:v>0.72860000000000003</c:v>
                </c:pt>
                <c:pt idx="8">
                  <c:v>0.78520000000000001</c:v>
                </c:pt>
                <c:pt idx="9">
                  <c:v>0.7964</c:v>
                </c:pt>
                <c:pt idx="10">
                  <c:v>0.79969999999999997</c:v>
                </c:pt>
                <c:pt idx="11">
                  <c:v>0.80800000000000005</c:v>
                </c:pt>
                <c:pt idx="12">
                  <c:v>0.88490000000000002</c:v>
                </c:pt>
                <c:pt idx="13">
                  <c:v>0.90410000000000001</c:v>
                </c:pt>
                <c:pt idx="14">
                  <c:v>0.9135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EF4-4BF6-AE86-2B96EF88337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232915993636363"/>
          <c:y val="0.87611668256664421"/>
          <c:w val="0.67437566541684024"/>
          <c:h val="0.112401193950775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962111743739297"/>
          <c:y val="0"/>
          <c:w val="0.78336122297829003"/>
          <c:h val="0.76689790559392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уже позитивні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F4-4BF6-AE86-2B96EF88337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F4-4BF6-AE86-2B96EF88337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F4-4BF6-AE86-2B96EF88337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F4-4BF6-AE86-2B96EF88337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EF4-4BF6-AE86-2B96EF8833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Гайдамака</c:v>
                </c:pt>
                <c:pt idx="1">
                  <c:v>Воєвода</c:v>
                </c:pt>
                <c:pt idx="2">
                  <c:v>Пан</c:v>
                </c:pt>
                <c:pt idx="3">
                  <c:v>Річ Посполита</c:v>
                </c:pt>
                <c:pt idx="4">
                  <c:v>Шляхта</c:v>
                </c:pt>
                <c:pt idx="5">
                  <c:v>Гонор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8239999999999998</c:v>
                </c:pt>
                <c:pt idx="1">
                  <c:v>0.2263</c:v>
                </c:pt>
                <c:pt idx="2">
                  <c:v>0.1988</c:v>
                </c:pt>
                <c:pt idx="3">
                  <c:v>0.13769999999999999</c:v>
                </c:pt>
                <c:pt idx="4">
                  <c:v>8.5800000000000001E-2</c:v>
                </c:pt>
                <c:pt idx="5">
                  <c:v>9.03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EF4-4BF6-AE86-2B96EF8833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коріше позитивні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Гайдамака</c:v>
                </c:pt>
                <c:pt idx="1">
                  <c:v>Воєвода</c:v>
                </c:pt>
                <c:pt idx="2">
                  <c:v>Пан</c:v>
                </c:pt>
                <c:pt idx="3">
                  <c:v>Річ Посполита</c:v>
                </c:pt>
                <c:pt idx="4">
                  <c:v>Шляхта</c:v>
                </c:pt>
                <c:pt idx="5">
                  <c:v>Гонор</c:v>
                </c:pt>
              </c:strCache>
            </c:strRef>
          </c:cat>
          <c:val>
            <c:numRef>
              <c:f>Лист1!$C$2:$C$7</c:f>
              <c:numCache>
                <c:formatCode>0%</c:formatCode>
                <c:ptCount val="6"/>
                <c:pt idx="0">
                  <c:v>0.33900000000000002</c:v>
                </c:pt>
                <c:pt idx="1">
                  <c:v>0.35759999999999997</c:v>
                </c:pt>
                <c:pt idx="2">
                  <c:v>0.27350000000000002</c:v>
                </c:pt>
                <c:pt idx="3">
                  <c:v>0.26190000000000002</c:v>
                </c:pt>
                <c:pt idx="4">
                  <c:v>0.2</c:v>
                </c:pt>
                <c:pt idx="5">
                  <c:v>0.1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EF4-4BF6-AE86-2B96EF88337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ейтральні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Гайдамака</c:v>
                </c:pt>
                <c:pt idx="1">
                  <c:v>Воєвода</c:v>
                </c:pt>
                <c:pt idx="2">
                  <c:v>Пан</c:v>
                </c:pt>
                <c:pt idx="3">
                  <c:v>Річ Посполита</c:v>
                </c:pt>
                <c:pt idx="4">
                  <c:v>Шляхта</c:v>
                </c:pt>
                <c:pt idx="5">
                  <c:v>Гонор</c:v>
                </c:pt>
              </c:strCache>
            </c:strRef>
          </c:cat>
          <c:val>
            <c:numRef>
              <c:f>Лист1!$D$2:$D$7</c:f>
              <c:numCache>
                <c:formatCode>0%</c:formatCode>
                <c:ptCount val="6"/>
                <c:pt idx="0">
                  <c:v>0.26869999999999999</c:v>
                </c:pt>
                <c:pt idx="1">
                  <c:v>0.32340000000000002</c:v>
                </c:pt>
                <c:pt idx="2">
                  <c:v>0.30120000000000002</c:v>
                </c:pt>
                <c:pt idx="3">
                  <c:v>0.378</c:v>
                </c:pt>
                <c:pt idx="4">
                  <c:v>0.3962</c:v>
                </c:pt>
                <c:pt idx="5">
                  <c:v>0.3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EF4-4BF6-AE86-2B96EF88337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коріше негативні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Гайдамака</c:v>
                </c:pt>
                <c:pt idx="1">
                  <c:v>Воєвода</c:v>
                </c:pt>
                <c:pt idx="2">
                  <c:v>Пан</c:v>
                </c:pt>
                <c:pt idx="3">
                  <c:v>Річ Посполита</c:v>
                </c:pt>
                <c:pt idx="4">
                  <c:v>Шляхта</c:v>
                </c:pt>
                <c:pt idx="5">
                  <c:v>Гонор</c:v>
                </c:pt>
              </c:strCache>
            </c:strRef>
          </c:cat>
          <c:val>
            <c:numRef>
              <c:f>Лист1!$E$2:$E$7</c:f>
              <c:numCache>
                <c:formatCode>0%</c:formatCode>
                <c:ptCount val="6"/>
                <c:pt idx="0">
                  <c:v>5.8299999999999998E-2</c:v>
                </c:pt>
                <c:pt idx="1">
                  <c:v>4.6100000000000002E-2</c:v>
                </c:pt>
                <c:pt idx="2">
                  <c:v>0.13780000000000001</c:v>
                </c:pt>
                <c:pt idx="3">
                  <c:v>0.1123</c:v>
                </c:pt>
                <c:pt idx="4">
                  <c:v>0.21199999999999999</c:v>
                </c:pt>
                <c:pt idx="5">
                  <c:v>0.2528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FEF4-4BF6-AE86-2B96EF88337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дуже негативні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Гайдамака</c:v>
                </c:pt>
                <c:pt idx="1">
                  <c:v>Воєвода</c:v>
                </c:pt>
                <c:pt idx="2">
                  <c:v>Пан</c:v>
                </c:pt>
                <c:pt idx="3">
                  <c:v>Річ Посполита</c:v>
                </c:pt>
                <c:pt idx="4">
                  <c:v>Шляхта</c:v>
                </c:pt>
                <c:pt idx="5">
                  <c:v>Гонор</c:v>
                </c:pt>
              </c:strCache>
            </c:strRef>
          </c:cat>
          <c:val>
            <c:numRef>
              <c:f>Лист1!$F$2:$F$7</c:f>
              <c:numCache>
                <c:formatCode>0%</c:formatCode>
                <c:ptCount val="6"/>
                <c:pt idx="0">
                  <c:v>1.15E-2</c:v>
                </c:pt>
                <c:pt idx="1">
                  <c:v>1.2800000000000001E-2</c:v>
                </c:pt>
                <c:pt idx="2">
                  <c:v>5.1799999999999999E-2</c:v>
                </c:pt>
                <c:pt idx="3">
                  <c:v>2.64E-2</c:v>
                </c:pt>
                <c:pt idx="4">
                  <c:v>3.44E-2</c:v>
                </c:pt>
                <c:pt idx="5">
                  <c:v>0.112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04-EF44-B5C5-0287EB412156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Гайдамака</c:v>
                </c:pt>
                <c:pt idx="1">
                  <c:v>Воєвода</c:v>
                </c:pt>
                <c:pt idx="2">
                  <c:v>Пан</c:v>
                </c:pt>
                <c:pt idx="3">
                  <c:v>Річ Посполита</c:v>
                </c:pt>
                <c:pt idx="4">
                  <c:v>Шляхта</c:v>
                </c:pt>
                <c:pt idx="5">
                  <c:v>Гонор</c:v>
                </c:pt>
              </c:strCache>
            </c:strRef>
          </c:cat>
          <c:val>
            <c:numRef>
              <c:f>Лист1!$G$2:$G$7</c:f>
              <c:numCache>
                <c:formatCode>0%</c:formatCode>
                <c:ptCount val="6"/>
                <c:pt idx="0">
                  <c:v>0.04</c:v>
                </c:pt>
                <c:pt idx="1">
                  <c:v>3.3799999999999997E-2</c:v>
                </c:pt>
                <c:pt idx="2">
                  <c:v>3.6900000000000002E-2</c:v>
                </c:pt>
                <c:pt idx="3">
                  <c:v>8.3599999999999994E-2</c:v>
                </c:pt>
                <c:pt idx="4">
                  <c:v>7.17E-2</c:v>
                </c:pt>
                <c:pt idx="5">
                  <c:v>6.66999999999999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AC-4442-B0B2-86626D0334A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232915993636363"/>
          <c:y val="0.79074801702377939"/>
          <c:w val="0.80767080960977644"/>
          <c:h val="0.122603046073739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74941652369069"/>
          <c:y val="0.11593678437907591"/>
          <c:w val="0.70152409387585057"/>
          <c:h val="0.7873105859480300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Cпільною культурною спадщиною поляків та українців</c:v>
                </c:pt>
                <c:pt idx="1">
                  <c:v>Частиною української культурної спадщини</c:v>
                </c:pt>
                <c:pt idx="2">
                  <c:v>Частиною польської культурної спадщини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61260000000000003</c:v>
                </c:pt>
                <c:pt idx="1">
                  <c:v>0.14729999999999999</c:v>
                </c:pt>
                <c:pt idx="2">
                  <c:v>0.10680000000000001</c:v>
                </c:pt>
                <c:pt idx="3">
                  <c:v>0.1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Cпільною культурною спадщиною поляків та українців</c:v>
                </c:pt>
                <c:pt idx="1">
                  <c:v>Частиною української культурної спадщини</c:v>
                </c:pt>
                <c:pt idx="2">
                  <c:v>Частиною польської культурної спадщини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C$2:$C$5</c:f>
              <c:numCache>
                <c:formatCode>0%</c:formatCode>
                <c:ptCount val="4"/>
                <c:pt idx="0">
                  <c:v>0.38739999999999997</c:v>
                </c:pt>
                <c:pt idx="1">
                  <c:v>0.85270000000000001</c:v>
                </c:pt>
                <c:pt idx="2">
                  <c:v>0.89319999999999999</c:v>
                </c:pt>
                <c:pt idx="3">
                  <c:v>0.8667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аличин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Cпільною культурною спадщиною поляків та українців</c:v>
                </c:pt>
                <c:pt idx="1">
                  <c:v>Частиною української культурної спадщини</c:v>
                </c:pt>
                <c:pt idx="2">
                  <c:v>Частиною польської культурної спадщини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D$2:$D$5</c:f>
              <c:numCache>
                <c:formatCode>0%</c:formatCode>
                <c:ptCount val="4"/>
                <c:pt idx="0">
                  <c:v>0.64600000000000002</c:v>
                </c:pt>
                <c:pt idx="1">
                  <c:v>0.17280000000000001</c:v>
                </c:pt>
                <c:pt idx="2">
                  <c:v>9.2700000000000005E-2</c:v>
                </c:pt>
                <c:pt idx="3">
                  <c:v>8.85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Cпільною культурною спадщиною поляків та українців</c:v>
                </c:pt>
                <c:pt idx="1">
                  <c:v>Частиною української культурної спадщини</c:v>
                </c:pt>
                <c:pt idx="2">
                  <c:v>Частиною польської культурної спадщини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E$2:$E$5</c:f>
              <c:numCache>
                <c:formatCode>0%</c:formatCode>
                <c:ptCount val="4"/>
                <c:pt idx="0">
                  <c:v>0.35399999999999998</c:v>
                </c:pt>
                <c:pt idx="1">
                  <c:v>0.82719999999999994</c:v>
                </c:pt>
                <c:pt idx="2">
                  <c:v>0.9073</c:v>
                </c:pt>
                <c:pt idx="3">
                  <c:v>0.911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авобережж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Cпільною культурною спадщиною поляків та українців</c:v>
                </c:pt>
                <c:pt idx="1">
                  <c:v>Частиною української культурної спадщини</c:v>
                </c:pt>
                <c:pt idx="2">
                  <c:v>Частиною польської культурної спадщини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F$2:$F$5</c:f>
              <c:numCache>
                <c:formatCode>0%</c:formatCode>
                <c:ptCount val="4"/>
                <c:pt idx="0">
                  <c:v>0.62250000000000005</c:v>
                </c:pt>
                <c:pt idx="1">
                  <c:v>0.1573</c:v>
                </c:pt>
                <c:pt idx="2">
                  <c:v>0.10680000000000001</c:v>
                </c:pt>
                <c:pt idx="3">
                  <c:v>0.1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Cпільною культурною спадщиною поляків та українців</c:v>
                </c:pt>
                <c:pt idx="1">
                  <c:v>Частиною української культурної спадщини</c:v>
                </c:pt>
                <c:pt idx="2">
                  <c:v>Частиною польської культурної спадщини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G$2:$G$5</c:f>
              <c:numCache>
                <c:formatCode>0%</c:formatCode>
                <c:ptCount val="4"/>
                <c:pt idx="0">
                  <c:v>0.37749999999999995</c:v>
                </c:pt>
                <c:pt idx="1">
                  <c:v>0.8427</c:v>
                </c:pt>
                <c:pt idx="2">
                  <c:v>0.89319999999999999</c:v>
                </c:pt>
                <c:pt idx="3">
                  <c:v>0.8866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Інші регіон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Cпільною культурною спадщиною поляків та українців</c:v>
                </c:pt>
                <c:pt idx="1">
                  <c:v>Частиною української культурної спадщини</c:v>
                </c:pt>
                <c:pt idx="2">
                  <c:v>Частиною польської культурної спадщини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H$2:$H$5</c:f>
              <c:numCache>
                <c:formatCode>0%</c:formatCode>
                <c:ptCount val="4"/>
                <c:pt idx="0">
                  <c:v>0.59919999999999995</c:v>
                </c:pt>
                <c:pt idx="1">
                  <c:v>0.13550000000000001</c:v>
                </c:pt>
                <c:pt idx="2">
                  <c:v>0.1101</c:v>
                </c:pt>
                <c:pt idx="3">
                  <c:v>0.1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D82-43E9-83BE-6E9CCBC900F0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Cпільною культурною спадщиною поляків та українців</c:v>
                </c:pt>
                <c:pt idx="1">
                  <c:v>Частиною української культурної спадщини</c:v>
                </c:pt>
                <c:pt idx="2">
                  <c:v>Частиною польської культурної спадщини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I$2:$I$5</c:f>
              <c:numCache>
                <c:formatCode>0%</c:formatCode>
                <c:ptCount val="4"/>
                <c:pt idx="0">
                  <c:v>0.40080000000000005</c:v>
                </c:pt>
                <c:pt idx="1">
                  <c:v>0.86450000000000005</c:v>
                </c:pt>
                <c:pt idx="2">
                  <c:v>0.88990000000000002</c:v>
                </c:pt>
                <c:pt idx="3">
                  <c:v>0.84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351-0C4D-957E-AEA3D39B90A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692641255022834E-2"/>
          <c:y val="9.8646157532586709E-2"/>
          <c:w val="0.69867950687852509"/>
          <c:h val="0.6662761980226058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Безумовно, так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2:$E$2</c:f>
              <c:numCache>
                <c:formatCode>0%</c:formatCode>
                <c:ptCount val="4"/>
                <c:pt idx="0">
                  <c:v>0.34329999999999999</c:v>
                </c:pt>
                <c:pt idx="1">
                  <c:v>0.6089</c:v>
                </c:pt>
                <c:pt idx="2">
                  <c:v>0.40960000000000002</c:v>
                </c:pt>
                <c:pt idx="3">
                  <c:v>0.243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Скоріше так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3:$E$3</c:f>
              <c:numCache>
                <c:formatCode>0%</c:formatCode>
                <c:ptCount val="4"/>
                <c:pt idx="0">
                  <c:v>0.34849999999999998</c:v>
                </c:pt>
                <c:pt idx="1">
                  <c:v>0.30630000000000002</c:v>
                </c:pt>
                <c:pt idx="2">
                  <c:v>0.3584</c:v>
                </c:pt>
                <c:pt idx="3">
                  <c:v>0.352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Скоріше ні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1CC-BA42-B4BE-EE6A13F4ADE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C28-485B-944A-C46793F8BF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4:$E$4</c:f>
              <c:numCache>
                <c:formatCode>0%</c:formatCode>
                <c:ptCount val="4"/>
                <c:pt idx="0">
                  <c:v>0.1235</c:v>
                </c:pt>
                <c:pt idx="1">
                  <c:v>0</c:v>
                </c:pt>
                <c:pt idx="2">
                  <c:v>7.6200000000000004E-2</c:v>
                </c:pt>
                <c:pt idx="3">
                  <c:v>0.17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Однозначно ні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1.4222934986628201E-3"/>
                  <c:y val="1.037437610789349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1CC-BA42-B4BE-EE6A13F4AD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5:$E$5</c:f>
              <c:numCache>
                <c:formatCode>0%</c:formatCode>
                <c:ptCount val="4"/>
                <c:pt idx="0">
                  <c:v>9.7600000000000006E-2</c:v>
                </c:pt>
                <c:pt idx="1">
                  <c:v>5.1900000000000002E-2</c:v>
                </c:pt>
                <c:pt idx="2">
                  <c:v>7.3300000000000004E-2</c:v>
                </c:pt>
                <c:pt idx="3">
                  <c:v>0.122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0B-3542-A175-441719640240}"/>
            </c:ext>
          </c:extLst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Я не знаю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3.4135043967907681E-2"/>
                  <c:y val="6.916250738595674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1CC-BA42-B4BE-EE6A13F4AD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6:$E$6</c:f>
              <c:numCache>
                <c:formatCode>0%</c:formatCode>
                <c:ptCount val="4"/>
                <c:pt idx="0">
                  <c:v>3.9899999999999998E-2</c:v>
                </c:pt>
                <c:pt idx="1">
                  <c:v>6.6E-3</c:v>
                </c:pt>
                <c:pt idx="2">
                  <c:v>3.5700000000000003E-2</c:v>
                </c:pt>
                <c:pt idx="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0B-3542-A175-441719640240}"/>
            </c:ext>
          </c:extLst>
        </c:ser>
        <c:ser>
          <c:idx val="5"/>
          <c:order val="5"/>
          <c:tx>
            <c:strRef>
              <c:f>Лист1!$A$7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7:$E$7</c:f>
              <c:numCache>
                <c:formatCode>0%</c:formatCode>
                <c:ptCount val="4"/>
                <c:pt idx="0">
                  <c:v>4.7199999999999999E-2</c:v>
                </c:pt>
                <c:pt idx="1">
                  <c:v>2.63E-2</c:v>
                </c:pt>
                <c:pt idx="2">
                  <c:v>4.6800000000000001E-2</c:v>
                </c:pt>
                <c:pt idx="3">
                  <c:v>5.22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CC-BA42-B4BE-EE6A13F4ADE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l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4894033534768911"/>
          <c:y val="0.13097200552210886"/>
          <c:w val="0.23714829033601964"/>
          <c:h val="0.614511601057587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692641255022834E-2"/>
          <c:y val="9.8646157532586709E-2"/>
          <c:w val="0.69867950687852509"/>
          <c:h val="0.6662761980226058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Мені він сподобавс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2:$E$2</c:f>
              <c:numCache>
                <c:formatCode>0%</c:formatCode>
                <c:ptCount val="4"/>
                <c:pt idx="0">
                  <c:v>0.43890000000000001</c:v>
                </c:pt>
                <c:pt idx="1">
                  <c:v>0.49980000000000002</c:v>
                </c:pt>
                <c:pt idx="2">
                  <c:v>0.48620000000000002</c:v>
                </c:pt>
                <c:pt idx="3">
                  <c:v>0.397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Мені він не сподобався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3:$E$3</c:f>
              <c:numCache>
                <c:formatCode>0%</c:formatCode>
                <c:ptCount val="4"/>
                <c:pt idx="0">
                  <c:v>5.91E-2</c:v>
                </c:pt>
                <c:pt idx="1">
                  <c:v>7.5200000000000003E-2</c:v>
                </c:pt>
                <c:pt idx="2">
                  <c:v>6.9500000000000006E-2</c:v>
                </c:pt>
                <c:pt idx="3">
                  <c:v>4.95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Ні, не бачили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C28-485B-944A-C46793F8BF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4:$E$4</c:f>
              <c:numCache>
                <c:formatCode>0%</c:formatCode>
                <c:ptCount val="4"/>
                <c:pt idx="0">
                  <c:v>0.43969999999999998</c:v>
                </c:pt>
                <c:pt idx="1">
                  <c:v>0.36299999999999999</c:v>
                </c:pt>
                <c:pt idx="2">
                  <c:v>0.39219999999999999</c:v>
                </c:pt>
                <c:pt idx="3">
                  <c:v>0.484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5:$E$5</c:f>
              <c:numCache>
                <c:formatCode>0%</c:formatCode>
                <c:ptCount val="4"/>
                <c:pt idx="0">
                  <c:v>6.2300000000000001E-2</c:v>
                </c:pt>
                <c:pt idx="1">
                  <c:v>6.2E-2</c:v>
                </c:pt>
                <c:pt idx="2">
                  <c:v>5.21E-2</c:v>
                </c:pt>
                <c:pt idx="3">
                  <c:v>6.81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0B-3542-A175-44171964024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l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4894033534768911"/>
          <c:y val="0.13097200552210886"/>
          <c:w val="0.23714829033601964"/>
          <c:h val="0.614511601057587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782906495961585"/>
          <c:y val="0.11593678437907591"/>
          <c:w val="0.53217093504038415"/>
          <c:h val="0.7873105859480300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Вважаю, що немає необхідності переходити на латиницю</c:v>
                </c:pt>
                <c:pt idx="1">
                  <c:v>Вважаю, що Україна повинна, на зразок сербів, мати дві абетки: одну на основі кирилиці, а другу - на основі латиниці, і використовувати їх паралельно</c:v>
                </c:pt>
                <c:pt idx="2">
                  <c:v>Вважаю, що варто нам перейти на латиницю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70240000000000002</c:v>
                </c:pt>
                <c:pt idx="1">
                  <c:v>0.2147</c:v>
                </c:pt>
                <c:pt idx="2">
                  <c:v>3.8300000000000001E-2</c:v>
                </c:pt>
                <c:pt idx="3">
                  <c:v>4.46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Вважаю, що немає необхідності переходити на латиницю</c:v>
                </c:pt>
                <c:pt idx="1">
                  <c:v>Вважаю, що Україна повинна, на зразок сербів, мати дві абетки: одну на основі кирилиці, а другу - на основі латиниці, і використовувати їх паралельно</c:v>
                </c:pt>
                <c:pt idx="2">
                  <c:v>Вважаю, що варто нам перейти на латиницю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C$2:$C$5</c:f>
              <c:numCache>
                <c:formatCode>0%</c:formatCode>
                <c:ptCount val="4"/>
                <c:pt idx="0">
                  <c:v>0.29759999999999998</c:v>
                </c:pt>
                <c:pt idx="1">
                  <c:v>0.7853</c:v>
                </c:pt>
                <c:pt idx="2">
                  <c:v>0.9617</c:v>
                </c:pt>
                <c:pt idx="3">
                  <c:v>0.9554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аличин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Вважаю, що немає необхідності переходити на латиницю</c:v>
                </c:pt>
                <c:pt idx="1">
                  <c:v>Вважаю, що Україна повинна, на зразок сербів, мати дві абетки: одну на основі кирилиці, а другу - на основі латиниці, і використовувати їх паралельно</c:v>
                </c:pt>
                <c:pt idx="2">
                  <c:v>Вважаю, що варто нам перейти на латиницю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D$2:$D$5</c:f>
              <c:numCache>
                <c:formatCode>0%</c:formatCode>
                <c:ptCount val="4"/>
                <c:pt idx="0">
                  <c:v>0.628</c:v>
                </c:pt>
                <c:pt idx="1">
                  <c:v>0.2198</c:v>
                </c:pt>
                <c:pt idx="2">
                  <c:v>6.4699999999999994E-2</c:v>
                </c:pt>
                <c:pt idx="3">
                  <c:v>8.7499999999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Вважаю, що немає необхідності переходити на латиницю</c:v>
                </c:pt>
                <c:pt idx="1">
                  <c:v>Вважаю, що Україна повинна, на зразок сербів, мати дві абетки: одну на основі кирилиці, а другу - на основі латиниці, і використовувати їх паралельно</c:v>
                </c:pt>
                <c:pt idx="2">
                  <c:v>Вважаю, що варто нам перейти на латиницю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E$2:$E$5</c:f>
              <c:numCache>
                <c:formatCode>0%</c:formatCode>
                <c:ptCount val="4"/>
                <c:pt idx="0">
                  <c:v>0.372</c:v>
                </c:pt>
                <c:pt idx="1">
                  <c:v>0.7802</c:v>
                </c:pt>
                <c:pt idx="2">
                  <c:v>0.93530000000000002</c:v>
                </c:pt>
                <c:pt idx="3">
                  <c:v>0.9124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авобережж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Вважаю, що немає необхідності переходити на латиницю</c:v>
                </c:pt>
                <c:pt idx="1">
                  <c:v>Вважаю, що Україна повинна, на зразок сербів, мати дві абетки: одну на основі кирилиці, а другу - на основі латиниці, і використовувати їх паралельно</c:v>
                </c:pt>
                <c:pt idx="2">
                  <c:v>Вважаю, що варто нам перейти на латиницю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F$2:$F$5</c:f>
              <c:numCache>
                <c:formatCode>0%</c:formatCode>
                <c:ptCount val="4"/>
                <c:pt idx="0">
                  <c:v>0.70809999999999995</c:v>
                </c:pt>
                <c:pt idx="1">
                  <c:v>0.21049999999999999</c:v>
                </c:pt>
                <c:pt idx="2">
                  <c:v>3.9E-2</c:v>
                </c:pt>
                <c:pt idx="3">
                  <c:v>4.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Вважаю, що немає необхідності переходити на латиницю</c:v>
                </c:pt>
                <c:pt idx="1">
                  <c:v>Вважаю, що Україна повинна, на зразок сербів, мати дві абетки: одну на основі кирилиці, а другу - на основі латиниці, і використовувати їх паралельно</c:v>
                </c:pt>
                <c:pt idx="2">
                  <c:v>Вважаю, що варто нам перейти на латиницю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G$2:$G$5</c:f>
              <c:numCache>
                <c:formatCode>0%</c:formatCode>
                <c:ptCount val="4"/>
                <c:pt idx="0">
                  <c:v>0.29190000000000005</c:v>
                </c:pt>
                <c:pt idx="1">
                  <c:v>0.78949999999999998</c:v>
                </c:pt>
                <c:pt idx="2">
                  <c:v>0.96099999999999997</c:v>
                </c:pt>
                <c:pt idx="3">
                  <c:v>0.957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Інші регіон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Вважаю, що немає необхідності переходити на латиницю</c:v>
                </c:pt>
                <c:pt idx="1">
                  <c:v>Вважаю, що Україна повинна, на зразок сербів, мати дві абетки: одну на основі кирилиці, а другу - на основі латиниці, і використовувати їх паралельно</c:v>
                </c:pt>
                <c:pt idx="2">
                  <c:v>Вважаю, що варто нам перейти на латиницю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H$2:$H$5</c:f>
              <c:numCache>
                <c:formatCode>0%</c:formatCode>
                <c:ptCount val="4"/>
                <c:pt idx="0">
                  <c:v>0.71650000000000003</c:v>
                </c:pt>
                <c:pt idx="1">
                  <c:v>0.21590000000000001</c:v>
                </c:pt>
                <c:pt idx="2">
                  <c:v>3.1699999999999999E-2</c:v>
                </c:pt>
                <c:pt idx="3">
                  <c:v>3.57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D82-43E9-83BE-6E9CCBC900F0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Вважаю, що немає необхідності переходити на латиницю</c:v>
                </c:pt>
                <c:pt idx="1">
                  <c:v>Вважаю, що Україна повинна, на зразок сербів, мати дві абетки: одну на основі кирилиці, а другу - на основі латиниці, і використовувати їх паралельно</c:v>
                </c:pt>
                <c:pt idx="2">
                  <c:v>Вважаю, що варто нам перейти на латиницю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I$2:$I$5</c:f>
              <c:numCache>
                <c:formatCode>0%</c:formatCode>
                <c:ptCount val="4"/>
                <c:pt idx="0">
                  <c:v>0.28349999999999997</c:v>
                </c:pt>
                <c:pt idx="1">
                  <c:v>0.78410000000000002</c:v>
                </c:pt>
                <c:pt idx="2">
                  <c:v>0.96830000000000005</c:v>
                </c:pt>
                <c:pt idx="3">
                  <c:v>0.9641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351-0C4D-957E-AEA3D39B90A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782906495961585"/>
          <c:y val="0.11593678437907591"/>
          <c:w val="0.53217093504038415"/>
          <c:h val="0.7873105859480300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Те саме що російський</c:v>
                </c:pt>
                <c:pt idx="1">
                  <c:v>Те саме що український, особливо якщо мова йде про давніші часи</c:v>
                </c:pt>
                <c:pt idx="2">
                  <c:v>Негативне позначення росіян</c:v>
                </c:pt>
                <c:pt idx="3">
                  <c:v>Повʼязаний з Київською Руссю</c:v>
                </c:pt>
                <c:pt idx="4">
                  <c:v>Позначення етнічних росіян</c:v>
                </c:pt>
                <c:pt idx="5">
                  <c:v>І український і російський, словʼянський</c:v>
                </c:pt>
                <c:pt idx="6">
                  <c:v>Інше</c:v>
                </c:pt>
                <c:pt idx="7">
                  <c:v>Важко сказати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0.39489999999999997</c:v>
                </c:pt>
                <c:pt idx="1">
                  <c:v>0.3831</c:v>
                </c:pt>
                <c:pt idx="2">
                  <c:v>0.05</c:v>
                </c:pt>
                <c:pt idx="3">
                  <c:v>1.6E-2</c:v>
                </c:pt>
                <c:pt idx="4">
                  <c:v>1.3100000000000001E-2</c:v>
                </c:pt>
                <c:pt idx="5">
                  <c:v>6.8999999999999999E-3</c:v>
                </c:pt>
                <c:pt idx="6">
                  <c:v>9.4999999999999998E-3</c:v>
                </c:pt>
                <c:pt idx="7">
                  <c:v>0.1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9</c:f>
              <c:strCache>
                <c:ptCount val="8"/>
                <c:pt idx="0">
                  <c:v>Те саме що російський</c:v>
                </c:pt>
                <c:pt idx="1">
                  <c:v>Те саме що український, особливо якщо мова йде про давніші часи</c:v>
                </c:pt>
                <c:pt idx="2">
                  <c:v>Негативне позначення росіян</c:v>
                </c:pt>
                <c:pt idx="3">
                  <c:v>Повʼязаний з Київською Руссю</c:v>
                </c:pt>
                <c:pt idx="4">
                  <c:v>Позначення етнічних росіян</c:v>
                </c:pt>
                <c:pt idx="5">
                  <c:v>І український і російський, словʼянський</c:v>
                </c:pt>
                <c:pt idx="6">
                  <c:v>Інше</c:v>
                </c:pt>
                <c:pt idx="7">
                  <c:v>Важко сказати</c:v>
                </c:pt>
              </c:strCache>
            </c:strRef>
          </c:cat>
          <c:val>
            <c:numRef>
              <c:f>Лист1!$C$2:$C$9</c:f>
              <c:numCache>
                <c:formatCode>0%</c:formatCode>
                <c:ptCount val="8"/>
                <c:pt idx="0">
                  <c:v>0.10510000000000003</c:v>
                </c:pt>
                <c:pt idx="1">
                  <c:v>0.1169</c:v>
                </c:pt>
                <c:pt idx="2">
                  <c:v>0.45</c:v>
                </c:pt>
                <c:pt idx="3">
                  <c:v>0.48399999999999999</c:v>
                </c:pt>
                <c:pt idx="4">
                  <c:v>0.4869</c:v>
                </c:pt>
                <c:pt idx="5">
                  <c:v>0.49309999999999998</c:v>
                </c:pt>
                <c:pt idx="6">
                  <c:v>0.49049999999999999</c:v>
                </c:pt>
                <c:pt idx="7">
                  <c:v>0.3727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кр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Те саме що російський</c:v>
                </c:pt>
                <c:pt idx="1">
                  <c:v>Те саме що український, особливо якщо мова йде про давніші часи</c:v>
                </c:pt>
                <c:pt idx="2">
                  <c:v>Негативне позначення росіян</c:v>
                </c:pt>
                <c:pt idx="3">
                  <c:v>Повʼязаний з Київською Руссю</c:v>
                </c:pt>
                <c:pt idx="4">
                  <c:v>Позначення етнічних росіян</c:v>
                </c:pt>
                <c:pt idx="5">
                  <c:v>І український і російський, словʼянський</c:v>
                </c:pt>
                <c:pt idx="6">
                  <c:v>Інше</c:v>
                </c:pt>
                <c:pt idx="7">
                  <c:v>Важко сказати</c:v>
                </c:pt>
              </c:strCache>
            </c:strRef>
          </c:cat>
          <c:val>
            <c:numRef>
              <c:f>Лист1!$D$2:$D$9</c:f>
              <c:numCache>
                <c:formatCode>###0%</c:formatCode>
                <c:ptCount val="8"/>
                <c:pt idx="0">
                  <c:v>0.39192849357305204</c:v>
                </c:pt>
                <c:pt idx="1">
                  <c:v>0.39509826196169101</c:v>
                </c:pt>
                <c:pt idx="2">
                  <c:v>5.1218385024571961E-2</c:v>
                </c:pt>
                <c:pt idx="3">
                  <c:v>1.899846083485664E-2</c:v>
                </c:pt>
                <c:pt idx="4">
                  <c:v>1.3373344036883073E-3</c:v>
                </c:pt>
                <c:pt idx="5">
                  <c:v>2.9209415806312321E-3</c:v>
                </c:pt>
                <c:pt idx="6">
                  <c:v>9.1050136616678788E-3</c:v>
                </c:pt>
                <c:pt idx="7">
                  <c:v>0.13041371092704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9</c:f>
              <c:strCache>
                <c:ptCount val="8"/>
                <c:pt idx="0">
                  <c:v>Те саме що російський</c:v>
                </c:pt>
                <c:pt idx="1">
                  <c:v>Те саме що український, особливо якщо мова йде про давніші часи</c:v>
                </c:pt>
                <c:pt idx="2">
                  <c:v>Негативне позначення росіян</c:v>
                </c:pt>
                <c:pt idx="3">
                  <c:v>Повʼязаний з Київською Руссю</c:v>
                </c:pt>
                <c:pt idx="4">
                  <c:v>Позначення етнічних росіян</c:v>
                </c:pt>
                <c:pt idx="5">
                  <c:v>І український і російський, словʼянський</c:v>
                </c:pt>
                <c:pt idx="6">
                  <c:v>Інше</c:v>
                </c:pt>
                <c:pt idx="7">
                  <c:v>Важко сказати</c:v>
                </c:pt>
              </c:strCache>
            </c:strRef>
          </c:cat>
          <c:val>
            <c:numRef>
              <c:f>Лист1!$E$2:$E$9</c:f>
              <c:numCache>
                <c:formatCode>0%</c:formatCode>
                <c:ptCount val="8"/>
                <c:pt idx="0">
                  <c:v>0.10807150642694796</c:v>
                </c:pt>
                <c:pt idx="1">
                  <c:v>0.10490173803830899</c:v>
                </c:pt>
                <c:pt idx="2">
                  <c:v>0.44878161497542801</c:v>
                </c:pt>
                <c:pt idx="3">
                  <c:v>0.48100153916514338</c:v>
                </c:pt>
                <c:pt idx="4">
                  <c:v>0.49866266559631167</c:v>
                </c:pt>
                <c:pt idx="5">
                  <c:v>0.49707905841936878</c:v>
                </c:pt>
                <c:pt idx="6">
                  <c:v>0.49089498633833212</c:v>
                </c:pt>
                <c:pt idx="7">
                  <c:v>0.36958628907295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рос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Те саме що російський</c:v>
                </c:pt>
                <c:pt idx="1">
                  <c:v>Те саме що український, особливо якщо мова йде про давніші часи</c:v>
                </c:pt>
                <c:pt idx="2">
                  <c:v>Негативне позначення росіян</c:v>
                </c:pt>
                <c:pt idx="3">
                  <c:v>Повʼязаний з Київською Руссю</c:v>
                </c:pt>
                <c:pt idx="4">
                  <c:v>Позначення етнічних росіян</c:v>
                </c:pt>
                <c:pt idx="5">
                  <c:v>І український і російський, словʼянський</c:v>
                </c:pt>
                <c:pt idx="6">
                  <c:v>Інше</c:v>
                </c:pt>
                <c:pt idx="7">
                  <c:v>Важко сказати</c:v>
                </c:pt>
              </c:strCache>
            </c:strRef>
          </c:cat>
          <c:val>
            <c:numRef>
              <c:f>Лист1!$F$2:$F$9</c:f>
              <c:numCache>
                <c:formatCode>###0%</c:formatCode>
                <c:ptCount val="8"/>
                <c:pt idx="0">
                  <c:v>0.41064357167226329</c:v>
                </c:pt>
                <c:pt idx="1">
                  <c:v>0.31822340441127134</c:v>
                </c:pt>
                <c:pt idx="2">
                  <c:v>4.3705699966148363E-2</c:v>
                </c:pt>
                <c:pt idx="3">
                  <c:v>0</c:v>
                </c:pt>
                <c:pt idx="4">
                  <c:v>7.6783467289789478E-2</c:v>
                </c:pt>
                <c:pt idx="5">
                  <c:v>2.8546875266732708E-2</c:v>
                </c:pt>
                <c:pt idx="6">
                  <c:v>1.1654857651576462E-2</c:v>
                </c:pt>
                <c:pt idx="7">
                  <c:v>0.11044212374221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9</c:f>
              <c:strCache>
                <c:ptCount val="8"/>
                <c:pt idx="0">
                  <c:v>Те саме що російський</c:v>
                </c:pt>
                <c:pt idx="1">
                  <c:v>Те саме що український, особливо якщо мова йде про давніші часи</c:v>
                </c:pt>
                <c:pt idx="2">
                  <c:v>Негативне позначення росіян</c:v>
                </c:pt>
                <c:pt idx="3">
                  <c:v>Повʼязаний з Київською Руссю</c:v>
                </c:pt>
                <c:pt idx="4">
                  <c:v>Позначення етнічних росіян</c:v>
                </c:pt>
                <c:pt idx="5">
                  <c:v>І український і російський, словʼянський</c:v>
                </c:pt>
                <c:pt idx="6">
                  <c:v>Інше</c:v>
                </c:pt>
                <c:pt idx="7">
                  <c:v>Важко сказати</c:v>
                </c:pt>
              </c:strCache>
            </c:strRef>
          </c:cat>
          <c:val>
            <c:numRef>
              <c:f>Лист1!$G$2:$G$9</c:f>
              <c:numCache>
                <c:formatCode>0%</c:formatCode>
                <c:ptCount val="8"/>
                <c:pt idx="0">
                  <c:v>8.9356428327736714E-2</c:v>
                </c:pt>
                <c:pt idx="1">
                  <c:v>0.18177659558872866</c:v>
                </c:pt>
                <c:pt idx="2">
                  <c:v>0.45629430003385163</c:v>
                </c:pt>
                <c:pt idx="3">
                  <c:v>0.5</c:v>
                </c:pt>
                <c:pt idx="4">
                  <c:v>0.42321653271021054</c:v>
                </c:pt>
                <c:pt idx="5">
                  <c:v>0.47145312473326728</c:v>
                </c:pt>
                <c:pt idx="6">
                  <c:v>0.48834514234842352</c:v>
                </c:pt>
                <c:pt idx="7">
                  <c:v>0.38955787625778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74941652369069"/>
          <c:y val="0.11593678437907591"/>
          <c:w val="0.70152409387585057"/>
          <c:h val="0.7873105859480300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26919999999999999</c:v>
                </c:pt>
                <c:pt idx="1">
                  <c:v>0.72130000000000005</c:v>
                </c:pt>
                <c:pt idx="2">
                  <c:v>9.49999999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C$2:$C$4</c:f>
              <c:numCache>
                <c:formatCode>0%</c:formatCode>
                <c:ptCount val="3"/>
                <c:pt idx="0">
                  <c:v>0.73080000000000001</c:v>
                </c:pt>
                <c:pt idx="1">
                  <c:v>0.27869999999999995</c:v>
                </c:pt>
                <c:pt idx="2">
                  <c:v>0.9905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аличин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D$2:$D$4</c:f>
              <c:numCache>
                <c:formatCode>0%</c:formatCode>
                <c:ptCount val="3"/>
                <c:pt idx="0">
                  <c:v>0.29470000000000002</c:v>
                </c:pt>
                <c:pt idx="1">
                  <c:v>0.68469999999999998</c:v>
                </c:pt>
                <c:pt idx="2">
                  <c:v>2.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E$2:$E$4</c:f>
              <c:numCache>
                <c:formatCode>0%</c:formatCode>
                <c:ptCount val="3"/>
                <c:pt idx="0">
                  <c:v>0.70530000000000004</c:v>
                </c:pt>
                <c:pt idx="1">
                  <c:v>0.31530000000000002</c:v>
                </c:pt>
                <c:pt idx="2">
                  <c:v>0.9794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авобережж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F$2:$F$4</c:f>
              <c:numCache>
                <c:formatCode>0%</c:formatCode>
                <c:ptCount val="3"/>
                <c:pt idx="0">
                  <c:v>0.28410000000000002</c:v>
                </c:pt>
                <c:pt idx="1">
                  <c:v>0.7046</c:v>
                </c:pt>
                <c:pt idx="2">
                  <c:v>1.12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G$2:$G$4</c:f>
              <c:numCache>
                <c:formatCode>0%</c:formatCode>
                <c:ptCount val="3"/>
                <c:pt idx="0">
                  <c:v>0.71589999999999998</c:v>
                </c:pt>
                <c:pt idx="1">
                  <c:v>0.2954</c:v>
                </c:pt>
                <c:pt idx="2">
                  <c:v>0.988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Інші регіон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H$2:$H$4</c:f>
              <c:numCache>
                <c:formatCode>0%</c:formatCode>
                <c:ptCount val="3"/>
                <c:pt idx="0">
                  <c:v>0.25469999999999998</c:v>
                </c:pt>
                <c:pt idx="1">
                  <c:v>0.73939999999999995</c:v>
                </c:pt>
                <c:pt idx="2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D82-43E9-83BE-6E9CCBC900F0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I$2:$I$4</c:f>
              <c:numCache>
                <c:formatCode>0%</c:formatCode>
                <c:ptCount val="3"/>
                <c:pt idx="0">
                  <c:v>0.74530000000000007</c:v>
                </c:pt>
                <c:pt idx="1">
                  <c:v>0.26060000000000005</c:v>
                </c:pt>
                <c:pt idx="2">
                  <c:v>0.99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351-0C4D-957E-AEA3D39B90A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5220027166666397"/>
          <c:y val="0"/>
          <c:w val="0.43194928951706091"/>
          <c:h val="0.978337451057656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впець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80-4846-AEBD-E832A91B20B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80-4846-AEBD-E832A91B20B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E80-4846-AEBD-E832A91B20BB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E80-4846-AEBD-E832A91B20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Більше стали цікавитись польською мовою</c:v>
                </c:pt>
                <c:pt idx="1">
                  <c:v>Більше стали цікавитись польською музикою</c:v>
                </c:pt>
                <c:pt idx="2">
                  <c:v>Більше стали цікавитись польськими інтернет-ресурсами</c:v>
                </c:pt>
                <c:pt idx="3">
                  <c:v>Більше стали цікавитись польськими фільмами</c:v>
                </c:pt>
                <c:pt idx="4">
                  <c:v>Більше стали цікавитись польською літературою</c:v>
                </c:pt>
                <c:pt idx="5">
                  <c:v>Інше: Стали цікавитись новинами і повсякденним життям в Польщі</c:v>
                </c:pt>
                <c:pt idx="6">
                  <c:v>Інше: Стали більше спілкуватись з поляками</c:v>
                </c:pt>
                <c:pt idx="7">
                  <c:v>Інше: Стали цікавитись польською культурою в цілому</c:v>
                </c:pt>
                <c:pt idx="8">
                  <c:v>Інше: Стали більше цікавитись польською політикою</c:v>
                </c:pt>
                <c:pt idx="9">
                  <c:v>Інше: Стали цікавитись польською історією</c:v>
                </c:pt>
                <c:pt idx="10">
                  <c:v>Інше</c:v>
                </c:pt>
                <c:pt idx="11">
                  <c:v>Важко сказати</c:v>
                </c:pt>
              </c:strCache>
            </c:strRef>
          </c:cat>
          <c:val>
            <c:numRef>
              <c:f>Лист1!$B$2:$B$13</c:f>
              <c:numCache>
                <c:formatCode>0%</c:formatCode>
                <c:ptCount val="12"/>
                <c:pt idx="0">
                  <c:v>0.37080000000000002</c:v>
                </c:pt>
                <c:pt idx="1">
                  <c:v>0.29580000000000001</c:v>
                </c:pt>
                <c:pt idx="2">
                  <c:v>0.28160000000000002</c:v>
                </c:pt>
                <c:pt idx="3">
                  <c:v>0.25240000000000001</c:v>
                </c:pt>
                <c:pt idx="4">
                  <c:v>0.1661</c:v>
                </c:pt>
                <c:pt idx="5">
                  <c:v>8.3099999999999993E-2</c:v>
                </c:pt>
                <c:pt idx="6">
                  <c:v>2.3199999999999998E-2</c:v>
                </c:pt>
                <c:pt idx="7">
                  <c:v>1.8100000000000002E-2</c:v>
                </c:pt>
                <c:pt idx="8">
                  <c:v>1.5100000000000001E-2</c:v>
                </c:pt>
                <c:pt idx="9">
                  <c:v>1.1299999999999999E-2</c:v>
                </c:pt>
                <c:pt idx="10">
                  <c:v>4.6699999999999998E-2</c:v>
                </c:pt>
                <c:pt idx="11">
                  <c:v>8.21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80-4846-AEBD-E832A91B20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0.60000000000000009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74941652369069"/>
          <c:y val="0.11593678437907591"/>
          <c:w val="0.70152409387585057"/>
          <c:h val="0.7873105859480300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3422</c:v>
                </c:pt>
                <c:pt idx="1">
                  <c:v>0.64649999999999996</c:v>
                </c:pt>
                <c:pt idx="2">
                  <c:v>1.12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C$2:$C$4</c:f>
              <c:numCache>
                <c:formatCode>0%</c:formatCode>
                <c:ptCount val="3"/>
                <c:pt idx="0">
                  <c:v>0.65779999999999994</c:v>
                </c:pt>
                <c:pt idx="1">
                  <c:v>0.35350000000000004</c:v>
                </c:pt>
                <c:pt idx="2">
                  <c:v>0.9887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аличин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D$2:$D$4</c:f>
              <c:numCache>
                <c:formatCode>0%</c:formatCode>
                <c:ptCount val="3"/>
                <c:pt idx="0">
                  <c:v>0.35389999999999999</c:v>
                </c:pt>
                <c:pt idx="1">
                  <c:v>0.6461000000000000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E$2:$E$4</c:f>
              <c:numCache>
                <c:formatCode>0%</c:formatCode>
                <c:ptCount val="3"/>
                <c:pt idx="0">
                  <c:v>0.64610000000000001</c:v>
                </c:pt>
                <c:pt idx="1">
                  <c:v>0.35389999999999999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авобережж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F$2:$F$4</c:f>
              <c:numCache>
                <c:formatCode>0%</c:formatCode>
                <c:ptCount val="3"/>
                <c:pt idx="0">
                  <c:v>0.36580000000000001</c:v>
                </c:pt>
                <c:pt idx="1">
                  <c:v>0.62050000000000005</c:v>
                </c:pt>
                <c:pt idx="2">
                  <c:v>1.3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G$2:$G$4</c:f>
              <c:numCache>
                <c:formatCode>0%</c:formatCode>
                <c:ptCount val="3"/>
                <c:pt idx="0">
                  <c:v>0.63419999999999999</c:v>
                </c:pt>
                <c:pt idx="1">
                  <c:v>0.37949999999999995</c:v>
                </c:pt>
                <c:pt idx="2">
                  <c:v>0.9862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Інші регіон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H$2:$H$4</c:f>
              <c:numCache>
                <c:formatCode>0%</c:formatCode>
                <c:ptCount val="3"/>
                <c:pt idx="0">
                  <c:v>0.32600000000000001</c:v>
                </c:pt>
                <c:pt idx="1">
                  <c:v>0.66149999999999998</c:v>
                </c:pt>
                <c:pt idx="2">
                  <c:v>1.25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D82-43E9-83BE-6E9CCBC900F0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4</c:f>
              <c:strCache>
                <c:ptCount val="3"/>
                <c:pt idx="0">
                  <c:v>Так</c:v>
                </c:pt>
                <c:pt idx="1">
                  <c:v>Ні</c:v>
                </c:pt>
                <c:pt idx="2">
                  <c:v>Важко сказати</c:v>
                </c:pt>
              </c:strCache>
            </c:strRef>
          </c:cat>
          <c:val>
            <c:numRef>
              <c:f>Лист1!$I$2:$I$4</c:f>
              <c:numCache>
                <c:formatCode>0%</c:formatCode>
                <c:ptCount val="3"/>
                <c:pt idx="0">
                  <c:v>0.67399999999999993</c:v>
                </c:pt>
                <c:pt idx="1">
                  <c:v>0.33850000000000002</c:v>
                </c:pt>
                <c:pt idx="2">
                  <c:v>0.9875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351-0C4D-957E-AEA3D39B90A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74941652369069"/>
          <c:y val="0.11593678437907591"/>
          <c:w val="0.70152409387585057"/>
          <c:h val="0.7873105859480300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ак</c:v>
                </c:pt>
                <c:pt idx="1">
                  <c:v>Ні</c:v>
                </c:pt>
                <c:pt idx="2">
                  <c:v>Не бачили таких у продажу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36199999999999999</c:v>
                </c:pt>
                <c:pt idx="1">
                  <c:v>0.44290000000000002</c:v>
                </c:pt>
                <c:pt idx="2">
                  <c:v>0.16689999999999999</c:v>
                </c:pt>
                <c:pt idx="3">
                  <c:v>2.81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Так</c:v>
                </c:pt>
                <c:pt idx="1">
                  <c:v>Ні</c:v>
                </c:pt>
                <c:pt idx="2">
                  <c:v>Не бачили таких у продажу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C$2:$C$5</c:f>
              <c:numCache>
                <c:formatCode>0%</c:formatCode>
                <c:ptCount val="4"/>
                <c:pt idx="0">
                  <c:v>0.63800000000000001</c:v>
                </c:pt>
                <c:pt idx="1">
                  <c:v>0.55709999999999993</c:v>
                </c:pt>
                <c:pt idx="2">
                  <c:v>0.83309999999999995</c:v>
                </c:pt>
                <c:pt idx="3">
                  <c:v>0.9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аличин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ак</c:v>
                </c:pt>
                <c:pt idx="1">
                  <c:v>Ні</c:v>
                </c:pt>
                <c:pt idx="2">
                  <c:v>Не бачили таких у продажу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D$2:$D$5</c:f>
              <c:numCache>
                <c:formatCode>0%</c:formatCode>
                <c:ptCount val="4"/>
                <c:pt idx="0">
                  <c:v>0.46479999999999999</c:v>
                </c:pt>
                <c:pt idx="1">
                  <c:v>0.4229</c:v>
                </c:pt>
                <c:pt idx="2">
                  <c:v>6.13E-2</c:v>
                </c:pt>
                <c:pt idx="3">
                  <c:v>5.1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Так</c:v>
                </c:pt>
                <c:pt idx="1">
                  <c:v>Ні</c:v>
                </c:pt>
                <c:pt idx="2">
                  <c:v>Не бачили таких у продажу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E$2:$E$5</c:f>
              <c:numCache>
                <c:formatCode>0%</c:formatCode>
                <c:ptCount val="4"/>
                <c:pt idx="0">
                  <c:v>0.53520000000000001</c:v>
                </c:pt>
                <c:pt idx="1">
                  <c:v>0.57709999999999995</c:v>
                </c:pt>
                <c:pt idx="2">
                  <c:v>0.93869999999999998</c:v>
                </c:pt>
                <c:pt idx="3">
                  <c:v>0.9488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авобережж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ак</c:v>
                </c:pt>
                <c:pt idx="1">
                  <c:v>Ні</c:v>
                </c:pt>
                <c:pt idx="2">
                  <c:v>Не бачили таких у продажу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F$2:$F$5</c:f>
              <c:numCache>
                <c:formatCode>0%</c:formatCode>
                <c:ptCount val="4"/>
                <c:pt idx="0">
                  <c:v>0.40410000000000001</c:v>
                </c:pt>
                <c:pt idx="1">
                  <c:v>0.44950000000000001</c:v>
                </c:pt>
                <c:pt idx="2">
                  <c:v>0.12920000000000001</c:v>
                </c:pt>
                <c:pt idx="3">
                  <c:v>1.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Так</c:v>
                </c:pt>
                <c:pt idx="1">
                  <c:v>Ні</c:v>
                </c:pt>
                <c:pt idx="2">
                  <c:v>Не бачили таких у продажу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G$2:$G$5</c:f>
              <c:numCache>
                <c:formatCode>0%</c:formatCode>
                <c:ptCount val="4"/>
                <c:pt idx="0">
                  <c:v>0.59589999999999999</c:v>
                </c:pt>
                <c:pt idx="1">
                  <c:v>0.55049999999999999</c:v>
                </c:pt>
                <c:pt idx="2">
                  <c:v>0.87080000000000002</c:v>
                </c:pt>
                <c:pt idx="3">
                  <c:v>0.982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Інші регіон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ак</c:v>
                </c:pt>
                <c:pt idx="1">
                  <c:v>Ні</c:v>
                </c:pt>
                <c:pt idx="2">
                  <c:v>Не бачили таких у продажу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H$2:$H$5</c:f>
              <c:numCache>
                <c:formatCode>0%</c:formatCode>
                <c:ptCount val="4"/>
                <c:pt idx="0">
                  <c:v>0.31380000000000002</c:v>
                </c:pt>
                <c:pt idx="1">
                  <c:v>0.44379999999999997</c:v>
                </c:pt>
                <c:pt idx="2">
                  <c:v>0.2132</c:v>
                </c:pt>
                <c:pt idx="3">
                  <c:v>2.91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D82-43E9-83BE-6E9CCBC900F0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C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5</c:f>
              <c:strCache>
                <c:ptCount val="4"/>
                <c:pt idx="0">
                  <c:v>Так</c:v>
                </c:pt>
                <c:pt idx="1">
                  <c:v>Ні</c:v>
                </c:pt>
                <c:pt idx="2">
                  <c:v>Не бачили таких у продажу</c:v>
                </c:pt>
                <c:pt idx="3">
                  <c:v>Важко сказати</c:v>
                </c:pt>
              </c:strCache>
            </c:strRef>
          </c:cat>
          <c:val>
            <c:numRef>
              <c:f>Лист1!$I$2:$I$5</c:f>
              <c:numCache>
                <c:formatCode>0%</c:formatCode>
                <c:ptCount val="4"/>
                <c:pt idx="0">
                  <c:v>0.68619999999999992</c:v>
                </c:pt>
                <c:pt idx="1">
                  <c:v>0.55620000000000003</c:v>
                </c:pt>
                <c:pt idx="2">
                  <c:v>0.78679999999999994</c:v>
                </c:pt>
                <c:pt idx="3">
                  <c:v>0.9708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351-0C4D-957E-AEA3D39B90A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74941652369069"/>
          <c:y val="0.11593678437907591"/>
          <c:w val="0.70152409387585057"/>
          <c:h val="0.863389344072582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8</c:f>
              <c:strCache>
                <c:ptCount val="17"/>
                <c:pt idx="0">
                  <c:v>Польщі</c:v>
                </c:pt>
                <c:pt idx="1">
                  <c:v>Німеччини</c:v>
                </c:pt>
                <c:pt idx="2">
                  <c:v>Англії</c:v>
                </c:pt>
                <c:pt idx="3">
                  <c:v>Італії</c:v>
                </c:pt>
                <c:pt idx="4">
                  <c:v>Франції</c:v>
                </c:pt>
                <c:pt idx="5">
                  <c:v>Іспанії</c:v>
                </c:pt>
                <c:pt idx="6">
                  <c:v>Туреччини</c:v>
                </c:pt>
                <c:pt idx="7">
                  <c:v>України</c:v>
                </c:pt>
                <c:pt idx="8">
                  <c:v>Чехії</c:v>
                </c:pt>
                <c:pt idx="9">
                  <c:v>Румунії</c:v>
                </c:pt>
                <c:pt idx="10">
                  <c:v>Росії</c:v>
                </c:pt>
                <c:pt idx="11">
                  <c:v>Швейцарії</c:v>
                </c:pt>
                <c:pt idx="12">
                  <c:v>США</c:v>
                </c:pt>
                <c:pt idx="13">
                  <c:v>Швеції</c:v>
                </c:pt>
                <c:pt idx="14">
                  <c:v>Словаччини</c:v>
                </c:pt>
                <c:pt idx="15">
                  <c:v>Інших країн</c:v>
                </c:pt>
                <c:pt idx="16">
                  <c:v>Важко сказати</c:v>
                </c:pt>
              </c:strCache>
            </c:strRef>
          </c:cat>
          <c:val>
            <c:numRef>
              <c:f>Лист1!$B$2:$B$18</c:f>
              <c:numCache>
                <c:formatCode>0%</c:formatCode>
                <c:ptCount val="17"/>
                <c:pt idx="0">
                  <c:v>0.42599999999999999</c:v>
                </c:pt>
                <c:pt idx="1">
                  <c:v>0.34870000000000001</c:v>
                </c:pt>
                <c:pt idx="2">
                  <c:v>0.33910000000000001</c:v>
                </c:pt>
                <c:pt idx="3">
                  <c:v>0.26569999999999999</c:v>
                </c:pt>
                <c:pt idx="4">
                  <c:v>0.24429999999999999</c:v>
                </c:pt>
                <c:pt idx="5">
                  <c:v>0.15790000000000001</c:v>
                </c:pt>
                <c:pt idx="6">
                  <c:v>8.4400000000000003E-2</c:v>
                </c:pt>
                <c:pt idx="7">
                  <c:v>6.13E-2</c:v>
                </c:pt>
                <c:pt idx="8">
                  <c:v>5.9200000000000003E-2</c:v>
                </c:pt>
                <c:pt idx="9">
                  <c:v>2.87E-2</c:v>
                </c:pt>
                <c:pt idx="10">
                  <c:v>2.1299999999999999E-2</c:v>
                </c:pt>
                <c:pt idx="11">
                  <c:v>2.0299999999999999E-2</c:v>
                </c:pt>
                <c:pt idx="12">
                  <c:v>0.02</c:v>
                </c:pt>
                <c:pt idx="13">
                  <c:v>1.8200000000000001E-2</c:v>
                </c:pt>
                <c:pt idx="14">
                  <c:v>1.7999999999999999E-2</c:v>
                </c:pt>
                <c:pt idx="15">
                  <c:v>0.12110000000000001</c:v>
                </c:pt>
                <c:pt idx="16">
                  <c:v>6.57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8</c:f>
              <c:strCache>
                <c:ptCount val="17"/>
                <c:pt idx="0">
                  <c:v>Польщі</c:v>
                </c:pt>
                <c:pt idx="1">
                  <c:v>Німеччини</c:v>
                </c:pt>
                <c:pt idx="2">
                  <c:v>Англії</c:v>
                </c:pt>
                <c:pt idx="3">
                  <c:v>Італії</c:v>
                </c:pt>
                <c:pt idx="4">
                  <c:v>Франції</c:v>
                </c:pt>
                <c:pt idx="5">
                  <c:v>Іспанії</c:v>
                </c:pt>
                <c:pt idx="6">
                  <c:v>Туреччини</c:v>
                </c:pt>
                <c:pt idx="7">
                  <c:v>України</c:v>
                </c:pt>
                <c:pt idx="8">
                  <c:v>Чехії</c:v>
                </c:pt>
                <c:pt idx="9">
                  <c:v>Румунії</c:v>
                </c:pt>
                <c:pt idx="10">
                  <c:v>Росії</c:v>
                </c:pt>
                <c:pt idx="11">
                  <c:v>Швейцарії</c:v>
                </c:pt>
                <c:pt idx="12">
                  <c:v>США</c:v>
                </c:pt>
                <c:pt idx="13">
                  <c:v>Швеції</c:v>
                </c:pt>
                <c:pt idx="14">
                  <c:v>Словаччини</c:v>
                </c:pt>
                <c:pt idx="15">
                  <c:v>Інших країн</c:v>
                </c:pt>
                <c:pt idx="16">
                  <c:v>Важко сказати</c:v>
                </c:pt>
              </c:strCache>
            </c:strRef>
          </c:cat>
          <c:val>
            <c:numRef>
              <c:f>Лист1!$C$2:$C$18</c:f>
              <c:numCache>
                <c:formatCode>0%</c:formatCode>
                <c:ptCount val="17"/>
                <c:pt idx="0">
                  <c:v>0.17399999999999999</c:v>
                </c:pt>
                <c:pt idx="1">
                  <c:v>0.25129999999999997</c:v>
                </c:pt>
                <c:pt idx="2">
                  <c:v>0.26089999999999997</c:v>
                </c:pt>
                <c:pt idx="3">
                  <c:v>0.33429999999999999</c:v>
                </c:pt>
                <c:pt idx="4">
                  <c:v>0.35570000000000002</c:v>
                </c:pt>
                <c:pt idx="5">
                  <c:v>0.44209999999999994</c:v>
                </c:pt>
                <c:pt idx="6">
                  <c:v>0.51559999999999995</c:v>
                </c:pt>
                <c:pt idx="7">
                  <c:v>0.53869999999999996</c:v>
                </c:pt>
                <c:pt idx="8">
                  <c:v>0.54079999999999995</c:v>
                </c:pt>
                <c:pt idx="9">
                  <c:v>0.57130000000000003</c:v>
                </c:pt>
                <c:pt idx="10">
                  <c:v>0.57869999999999999</c:v>
                </c:pt>
                <c:pt idx="11">
                  <c:v>0.57969999999999999</c:v>
                </c:pt>
                <c:pt idx="12">
                  <c:v>0.57999999999999996</c:v>
                </c:pt>
                <c:pt idx="13">
                  <c:v>0.58179999999999998</c:v>
                </c:pt>
                <c:pt idx="14">
                  <c:v>0.58199999999999996</c:v>
                </c:pt>
                <c:pt idx="15">
                  <c:v>0.47889999999999999</c:v>
                </c:pt>
                <c:pt idx="16">
                  <c:v>0.534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аличин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8</c:f>
              <c:strCache>
                <c:ptCount val="17"/>
                <c:pt idx="0">
                  <c:v>Польщі</c:v>
                </c:pt>
                <c:pt idx="1">
                  <c:v>Німеччини</c:v>
                </c:pt>
                <c:pt idx="2">
                  <c:v>Англії</c:v>
                </c:pt>
                <c:pt idx="3">
                  <c:v>Італії</c:v>
                </c:pt>
                <c:pt idx="4">
                  <c:v>Франції</c:v>
                </c:pt>
                <c:pt idx="5">
                  <c:v>Іспанії</c:v>
                </c:pt>
                <c:pt idx="6">
                  <c:v>Туреччини</c:v>
                </c:pt>
                <c:pt idx="7">
                  <c:v>України</c:v>
                </c:pt>
                <c:pt idx="8">
                  <c:v>Чехії</c:v>
                </c:pt>
                <c:pt idx="9">
                  <c:v>Румунії</c:v>
                </c:pt>
                <c:pt idx="10">
                  <c:v>Росії</c:v>
                </c:pt>
                <c:pt idx="11">
                  <c:v>Швейцарії</c:v>
                </c:pt>
                <c:pt idx="12">
                  <c:v>США</c:v>
                </c:pt>
                <c:pt idx="13">
                  <c:v>Швеції</c:v>
                </c:pt>
                <c:pt idx="14">
                  <c:v>Словаччини</c:v>
                </c:pt>
                <c:pt idx="15">
                  <c:v>Інших країн</c:v>
                </c:pt>
                <c:pt idx="16">
                  <c:v>Важко сказати</c:v>
                </c:pt>
              </c:strCache>
            </c:strRef>
          </c:cat>
          <c:val>
            <c:numRef>
              <c:f>Лист1!$D$2:$D$18</c:f>
              <c:numCache>
                <c:formatCode>0%</c:formatCode>
                <c:ptCount val="17"/>
                <c:pt idx="0">
                  <c:v>0.57520000000000004</c:v>
                </c:pt>
                <c:pt idx="1">
                  <c:v>0.30359999999999998</c:v>
                </c:pt>
                <c:pt idx="2">
                  <c:v>0.43240000000000001</c:v>
                </c:pt>
                <c:pt idx="3">
                  <c:v>0.23680000000000001</c:v>
                </c:pt>
                <c:pt idx="4">
                  <c:v>0.20849999999999999</c:v>
                </c:pt>
                <c:pt idx="5">
                  <c:v>0.13159999999999999</c:v>
                </c:pt>
                <c:pt idx="6">
                  <c:v>4.65E-2</c:v>
                </c:pt>
                <c:pt idx="7">
                  <c:v>4.7500000000000001E-2</c:v>
                </c:pt>
                <c:pt idx="8">
                  <c:v>9.5000000000000001E-2</c:v>
                </c:pt>
                <c:pt idx="9">
                  <c:v>5.4999999999999997E-3</c:v>
                </c:pt>
                <c:pt idx="10">
                  <c:v>0</c:v>
                </c:pt>
                <c:pt idx="11">
                  <c:v>1.0200000000000001E-2</c:v>
                </c:pt>
                <c:pt idx="12">
                  <c:v>3.1699999999999999E-2</c:v>
                </c:pt>
                <c:pt idx="13">
                  <c:v>3.1899999999999998E-2</c:v>
                </c:pt>
                <c:pt idx="14">
                  <c:v>1.2699999999999999E-2</c:v>
                </c:pt>
                <c:pt idx="15">
                  <c:v>0.15510000000000002</c:v>
                </c:pt>
                <c:pt idx="16">
                  <c:v>3.74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8</c:f>
              <c:strCache>
                <c:ptCount val="17"/>
                <c:pt idx="0">
                  <c:v>Польщі</c:v>
                </c:pt>
                <c:pt idx="1">
                  <c:v>Німеччини</c:v>
                </c:pt>
                <c:pt idx="2">
                  <c:v>Англії</c:v>
                </c:pt>
                <c:pt idx="3">
                  <c:v>Італії</c:v>
                </c:pt>
                <c:pt idx="4">
                  <c:v>Франції</c:v>
                </c:pt>
                <c:pt idx="5">
                  <c:v>Іспанії</c:v>
                </c:pt>
                <c:pt idx="6">
                  <c:v>Туреччини</c:v>
                </c:pt>
                <c:pt idx="7">
                  <c:v>України</c:v>
                </c:pt>
                <c:pt idx="8">
                  <c:v>Чехії</c:v>
                </c:pt>
                <c:pt idx="9">
                  <c:v>Румунії</c:v>
                </c:pt>
                <c:pt idx="10">
                  <c:v>Росії</c:v>
                </c:pt>
                <c:pt idx="11">
                  <c:v>Швейцарії</c:v>
                </c:pt>
                <c:pt idx="12">
                  <c:v>США</c:v>
                </c:pt>
                <c:pt idx="13">
                  <c:v>Швеції</c:v>
                </c:pt>
                <c:pt idx="14">
                  <c:v>Словаччини</c:v>
                </c:pt>
                <c:pt idx="15">
                  <c:v>Інших країн</c:v>
                </c:pt>
                <c:pt idx="16">
                  <c:v>Важко сказати</c:v>
                </c:pt>
              </c:strCache>
            </c:strRef>
          </c:cat>
          <c:val>
            <c:numRef>
              <c:f>Лист1!$E$2:$E$18</c:f>
              <c:numCache>
                <c:formatCode>0%</c:formatCode>
                <c:ptCount val="17"/>
                <c:pt idx="0">
                  <c:v>2.4799999999999933E-2</c:v>
                </c:pt>
                <c:pt idx="1">
                  <c:v>0.2964</c:v>
                </c:pt>
                <c:pt idx="2">
                  <c:v>0.16759999999999997</c:v>
                </c:pt>
                <c:pt idx="3">
                  <c:v>0.36319999999999997</c:v>
                </c:pt>
                <c:pt idx="4">
                  <c:v>0.39149999999999996</c:v>
                </c:pt>
                <c:pt idx="5">
                  <c:v>0.46839999999999998</c:v>
                </c:pt>
                <c:pt idx="6">
                  <c:v>0.55349999999999999</c:v>
                </c:pt>
                <c:pt idx="7">
                  <c:v>0.55249999999999999</c:v>
                </c:pt>
                <c:pt idx="8">
                  <c:v>0.505</c:v>
                </c:pt>
                <c:pt idx="9">
                  <c:v>0.59450000000000003</c:v>
                </c:pt>
                <c:pt idx="10">
                  <c:v>0.6</c:v>
                </c:pt>
                <c:pt idx="11">
                  <c:v>0.58979999999999999</c:v>
                </c:pt>
                <c:pt idx="12">
                  <c:v>0.56830000000000003</c:v>
                </c:pt>
                <c:pt idx="13">
                  <c:v>0.56809999999999994</c:v>
                </c:pt>
                <c:pt idx="14">
                  <c:v>0.58729999999999993</c:v>
                </c:pt>
                <c:pt idx="15">
                  <c:v>0.44489999999999996</c:v>
                </c:pt>
                <c:pt idx="16">
                  <c:v>0.562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авобережж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26F-43F3-9E5F-32DFDF8B413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26F-43F3-9E5F-32DFDF8B413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8</c:f>
              <c:strCache>
                <c:ptCount val="17"/>
                <c:pt idx="0">
                  <c:v>Польщі</c:v>
                </c:pt>
                <c:pt idx="1">
                  <c:v>Німеччини</c:v>
                </c:pt>
                <c:pt idx="2">
                  <c:v>Англії</c:v>
                </c:pt>
                <c:pt idx="3">
                  <c:v>Італії</c:v>
                </c:pt>
                <c:pt idx="4">
                  <c:v>Франції</c:v>
                </c:pt>
                <c:pt idx="5">
                  <c:v>Іспанії</c:v>
                </c:pt>
                <c:pt idx="6">
                  <c:v>Туреччини</c:v>
                </c:pt>
                <c:pt idx="7">
                  <c:v>України</c:v>
                </c:pt>
                <c:pt idx="8">
                  <c:v>Чехії</c:v>
                </c:pt>
                <c:pt idx="9">
                  <c:v>Румунії</c:v>
                </c:pt>
                <c:pt idx="10">
                  <c:v>Росії</c:v>
                </c:pt>
                <c:pt idx="11">
                  <c:v>Швейцарії</c:v>
                </c:pt>
                <c:pt idx="12">
                  <c:v>США</c:v>
                </c:pt>
                <c:pt idx="13">
                  <c:v>Швеції</c:v>
                </c:pt>
                <c:pt idx="14">
                  <c:v>Словаччини</c:v>
                </c:pt>
                <c:pt idx="15">
                  <c:v>Інших країн</c:v>
                </c:pt>
                <c:pt idx="16">
                  <c:v>Важко сказати</c:v>
                </c:pt>
              </c:strCache>
            </c:strRef>
          </c:cat>
          <c:val>
            <c:numRef>
              <c:f>Лист1!$F$2:$F$18</c:f>
              <c:numCache>
                <c:formatCode>0%</c:formatCode>
                <c:ptCount val="17"/>
                <c:pt idx="0">
                  <c:v>0.44590000000000002</c:v>
                </c:pt>
                <c:pt idx="1">
                  <c:v>0.31319999999999998</c:v>
                </c:pt>
                <c:pt idx="2">
                  <c:v>0.36570000000000003</c:v>
                </c:pt>
                <c:pt idx="3">
                  <c:v>0.26819999999999999</c:v>
                </c:pt>
                <c:pt idx="4">
                  <c:v>0.27760000000000001</c:v>
                </c:pt>
                <c:pt idx="5">
                  <c:v>0.18959999999999999</c:v>
                </c:pt>
                <c:pt idx="6">
                  <c:v>7.9600000000000004E-2</c:v>
                </c:pt>
                <c:pt idx="7">
                  <c:v>4.7600000000000003E-2</c:v>
                </c:pt>
                <c:pt idx="8">
                  <c:v>3.5900000000000001E-2</c:v>
                </c:pt>
                <c:pt idx="9">
                  <c:v>1.9800000000000002E-2</c:v>
                </c:pt>
                <c:pt idx="10">
                  <c:v>2.0299999999999999E-2</c:v>
                </c:pt>
                <c:pt idx="11">
                  <c:v>7.0000000000000001E-3</c:v>
                </c:pt>
                <c:pt idx="12">
                  <c:v>1.2200000000000001E-2</c:v>
                </c:pt>
                <c:pt idx="13">
                  <c:v>6.6E-3</c:v>
                </c:pt>
                <c:pt idx="14">
                  <c:v>1.9800000000000002E-2</c:v>
                </c:pt>
                <c:pt idx="15">
                  <c:v>0.11310000000000001</c:v>
                </c:pt>
                <c:pt idx="16">
                  <c:v>8.15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8</c:f>
              <c:strCache>
                <c:ptCount val="17"/>
                <c:pt idx="0">
                  <c:v>Польщі</c:v>
                </c:pt>
                <c:pt idx="1">
                  <c:v>Німеччини</c:v>
                </c:pt>
                <c:pt idx="2">
                  <c:v>Англії</c:v>
                </c:pt>
                <c:pt idx="3">
                  <c:v>Італії</c:v>
                </c:pt>
                <c:pt idx="4">
                  <c:v>Франції</c:v>
                </c:pt>
                <c:pt idx="5">
                  <c:v>Іспанії</c:v>
                </c:pt>
                <c:pt idx="6">
                  <c:v>Туреччини</c:v>
                </c:pt>
                <c:pt idx="7">
                  <c:v>України</c:v>
                </c:pt>
                <c:pt idx="8">
                  <c:v>Чехії</c:v>
                </c:pt>
                <c:pt idx="9">
                  <c:v>Румунії</c:v>
                </c:pt>
                <c:pt idx="10">
                  <c:v>Росії</c:v>
                </c:pt>
                <c:pt idx="11">
                  <c:v>Швейцарії</c:v>
                </c:pt>
                <c:pt idx="12">
                  <c:v>США</c:v>
                </c:pt>
                <c:pt idx="13">
                  <c:v>Швеції</c:v>
                </c:pt>
                <c:pt idx="14">
                  <c:v>Словаччини</c:v>
                </c:pt>
                <c:pt idx="15">
                  <c:v>Інших країн</c:v>
                </c:pt>
                <c:pt idx="16">
                  <c:v>Важко сказати</c:v>
                </c:pt>
              </c:strCache>
            </c:strRef>
          </c:cat>
          <c:val>
            <c:numRef>
              <c:f>Лист1!$G$2:$G$18</c:f>
              <c:numCache>
                <c:formatCode>0%</c:formatCode>
                <c:ptCount val="17"/>
                <c:pt idx="0">
                  <c:v>0.15409999999999996</c:v>
                </c:pt>
                <c:pt idx="1">
                  <c:v>0.2868</c:v>
                </c:pt>
                <c:pt idx="2">
                  <c:v>0.23429999999999995</c:v>
                </c:pt>
                <c:pt idx="3">
                  <c:v>0.33179999999999998</c:v>
                </c:pt>
                <c:pt idx="4">
                  <c:v>0.32239999999999996</c:v>
                </c:pt>
                <c:pt idx="5">
                  <c:v>0.41039999999999999</c:v>
                </c:pt>
                <c:pt idx="6">
                  <c:v>0.52039999999999997</c:v>
                </c:pt>
                <c:pt idx="7">
                  <c:v>0.5524</c:v>
                </c:pt>
                <c:pt idx="8">
                  <c:v>0.56409999999999993</c:v>
                </c:pt>
                <c:pt idx="9">
                  <c:v>0.58019999999999994</c:v>
                </c:pt>
                <c:pt idx="10">
                  <c:v>0.57969999999999999</c:v>
                </c:pt>
                <c:pt idx="11">
                  <c:v>0.59299999999999997</c:v>
                </c:pt>
                <c:pt idx="12">
                  <c:v>0.58779999999999999</c:v>
                </c:pt>
                <c:pt idx="13">
                  <c:v>0.59339999999999993</c:v>
                </c:pt>
                <c:pt idx="14">
                  <c:v>0.58019999999999994</c:v>
                </c:pt>
                <c:pt idx="15">
                  <c:v>0.4869</c:v>
                </c:pt>
                <c:pt idx="16">
                  <c:v>0.5184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інші регіон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8</c:f>
              <c:strCache>
                <c:ptCount val="17"/>
                <c:pt idx="0">
                  <c:v>Польщі</c:v>
                </c:pt>
                <c:pt idx="1">
                  <c:v>Німеччини</c:v>
                </c:pt>
                <c:pt idx="2">
                  <c:v>Англії</c:v>
                </c:pt>
                <c:pt idx="3">
                  <c:v>Італії</c:v>
                </c:pt>
                <c:pt idx="4">
                  <c:v>Франції</c:v>
                </c:pt>
                <c:pt idx="5">
                  <c:v>Іспанії</c:v>
                </c:pt>
                <c:pt idx="6">
                  <c:v>Туреччини</c:v>
                </c:pt>
                <c:pt idx="7">
                  <c:v>України</c:v>
                </c:pt>
                <c:pt idx="8">
                  <c:v>Чехії</c:v>
                </c:pt>
                <c:pt idx="9">
                  <c:v>Румунії</c:v>
                </c:pt>
                <c:pt idx="10">
                  <c:v>Росії</c:v>
                </c:pt>
                <c:pt idx="11">
                  <c:v>Швейцарії</c:v>
                </c:pt>
                <c:pt idx="12">
                  <c:v>США</c:v>
                </c:pt>
                <c:pt idx="13">
                  <c:v>Швеції</c:v>
                </c:pt>
                <c:pt idx="14">
                  <c:v>Словаччини</c:v>
                </c:pt>
                <c:pt idx="15">
                  <c:v>Інших країн</c:v>
                </c:pt>
                <c:pt idx="16">
                  <c:v>Важко сказати</c:v>
                </c:pt>
              </c:strCache>
            </c:strRef>
          </c:cat>
          <c:val>
            <c:numRef>
              <c:f>Лист1!$H$2:$H$18</c:f>
              <c:numCache>
                <c:formatCode>0%</c:formatCode>
                <c:ptCount val="17"/>
                <c:pt idx="0">
                  <c:v>0.37990000000000002</c:v>
                </c:pt>
                <c:pt idx="1">
                  <c:v>0.37959999999999999</c:v>
                </c:pt>
                <c:pt idx="2">
                  <c:v>0.30220000000000002</c:v>
                </c:pt>
                <c:pt idx="3">
                  <c:v>0.27100000000000002</c:v>
                </c:pt>
                <c:pt idx="4">
                  <c:v>0.23350000000000001</c:v>
                </c:pt>
                <c:pt idx="5">
                  <c:v>0.14580000000000001</c:v>
                </c:pt>
                <c:pt idx="6">
                  <c:v>9.6000000000000002E-2</c:v>
                </c:pt>
                <c:pt idx="7">
                  <c:v>7.2400000000000006E-2</c:v>
                </c:pt>
                <c:pt idx="8">
                  <c:v>6.4299999999999996E-2</c:v>
                </c:pt>
                <c:pt idx="9">
                  <c:v>3.9100000000000003E-2</c:v>
                </c:pt>
                <c:pt idx="10">
                  <c:v>2.69E-2</c:v>
                </c:pt>
                <c:pt idx="11">
                  <c:v>3.04E-2</c:v>
                </c:pt>
                <c:pt idx="12">
                  <c:v>2.18E-2</c:v>
                </c:pt>
                <c:pt idx="13">
                  <c:v>2.1600000000000001E-2</c:v>
                </c:pt>
                <c:pt idx="14">
                  <c:v>1.8100000000000002E-2</c:v>
                </c:pt>
                <c:pt idx="15">
                  <c:v>0.1179</c:v>
                </c:pt>
                <c:pt idx="16">
                  <c:v>6.35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D82-43E9-83BE-6E9CCBC900F0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Стовпець5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8</c:f>
              <c:strCache>
                <c:ptCount val="17"/>
                <c:pt idx="0">
                  <c:v>Польщі</c:v>
                </c:pt>
                <c:pt idx="1">
                  <c:v>Німеччини</c:v>
                </c:pt>
                <c:pt idx="2">
                  <c:v>Англії</c:v>
                </c:pt>
                <c:pt idx="3">
                  <c:v>Італії</c:v>
                </c:pt>
                <c:pt idx="4">
                  <c:v>Франції</c:v>
                </c:pt>
                <c:pt idx="5">
                  <c:v>Іспанії</c:v>
                </c:pt>
                <c:pt idx="6">
                  <c:v>Туреччини</c:v>
                </c:pt>
                <c:pt idx="7">
                  <c:v>України</c:v>
                </c:pt>
                <c:pt idx="8">
                  <c:v>Чехії</c:v>
                </c:pt>
                <c:pt idx="9">
                  <c:v>Румунії</c:v>
                </c:pt>
                <c:pt idx="10">
                  <c:v>Росії</c:v>
                </c:pt>
                <c:pt idx="11">
                  <c:v>Швейцарії</c:v>
                </c:pt>
                <c:pt idx="12">
                  <c:v>США</c:v>
                </c:pt>
                <c:pt idx="13">
                  <c:v>Швеції</c:v>
                </c:pt>
                <c:pt idx="14">
                  <c:v>Словаччини</c:v>
                </c:pt>
                <c:pt idx="15">
                  <c:v>Інших країн</c:v>
                </c:pt>
                <c:pt idx="16">
                  <c:v>Важко сказати</c:v>
                </c:pt>
              </c:strCache>
            </c:strRef>
          </c:cat>
          <c:val>
            <c:numRef>
              <c:f>Лист1!$I$2:$I$18</c:f>
              <c:numCache>
                <c:formatCode>0%</c:formatCode>
                <c:ptCount val="17"/>
                <c:pt idx="0">
                  <c:v>0.22009999999999996</c:v>
                </c:pt>
                <c:pt idx="1">
                  <c:v>0.22039999999999998</c:v>
                </c:pt>
                <c:pt idx="2">
                  <c:v>0.29779999999999995</c:v>
                </c:pt>
                <c:pt idx="3">
                  <c:v>0.32899999999999996</c:v>
                </c:pt>
                <c:pt idx="4">
                  <c:v>0.36649999999999994</c:v>
                </c:pt>
                <c:pt idx="5">
                  <c:v>0.45419999999999994</c:v>
                </c:pt>
                <c:pt idx="6">
                  <c:v>0.504</c:v>
                </c:pt>
                <c:pt idx="7">
                  <c:v>0.52759999999999996</c:v>
                </c:pt>
                <c:pt idx="8">
                  <c:v>0.53569999999999995</c:v>
                </c:pt>
                <c:pt idx="9">
                  <c:v>0.56089999999999995</c:v>
                </c:pt>
                <c:pt idx="10">
                  <c:v>0.57309999999999994</c:v>
                </c:pt>
                <c:pt idx="11">
                  <c:v>0.5696</c:v>
                </c:pt>
                <c:pt idx="12">
                  <c:v>0.57819999999999994</c:v>
                </c:pt>
                <c:pt idx="13">
                  <c:v>0.57840000000000003</c:v>
                </c:pt>
                <c:pt idx="14">
                  <c:v>0.58189999999999997</c:v>
                </c:pt>
                <c:pt idx="15">
                  <c:v>0.48209999999999997</c:v>
                </c:pt>
                <c:pt idx="16">
                  <c:v>0.5364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D82-43E9-83BE-6E9CCBC900F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74941652369069"/>
          <c:y val="0.11593678437907591"/>
          <c:w val="0.70152409387585057"/>
          <c:h val="0.7873105859480300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Поляки</c:v>
                </c:pt>
                <c:pt idx="1">
                  <c:v>Білоруси</c:v>
                </c:pt>
                <c:pt idx="2">
                  <c:v>Словаки</c:v>
                </c:pt>
                <c:pt idx="3">
                  <c:v>Молдовани</c:v>
                </c:pt>
                <c:pt idx="4">
                  <c:v>Росіяни</c:v>
                </c:pt>
                <c:pt idx="5">
                  <c:v>Румуни</c:v>
                </c:pt>
                <c:pt idx="6">
                  <c:v>Угорці</c:v>
                </c:pt>
                <c:pt idx="7">
                  <c:v>Жоден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B$2:$B$10</c:f>
              <c:numCache>
                <c:formatCode>0%</c:formatCode>
                <c:ptCount val="9"/>
                <c:pt idx="0">
                  <c:v>0.72489999999999999</c:v>
                </c:pt>
                <c:pt idx="1">
                  <c:v>6.83E-2</c:v>
                </c:pt>
                <c:pt idx="2">
                  <c:v>4.6300000000000001E-2</c:v>
                </c:pt>
                <c:pt idx="3">
                  <c:v>4.24E-2</c:v>
                </c:pt>
                <c:pt idx="4">
                  <c:v>4.1599999999999998E-2</c:v>
                </c:pt>
                <c:pt idx="5">
                  <c:v>1.2500000000000001E-2</c:v>
                </c:pt>
                <c:pt idx="6">
                  <c:v>6.1000000000000004E-3</c:v>
                </c:pt>
                <c:pt idx="7">
                  <c:v>1.49E-2</c:v>
                </c:pt>
                <c:pt idx="8">
                  <c:v>4.29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0</c:f>
              <c:strCache>
                <c:ptCount val="9"/>
                <c:pt idx="0">
                  <c:v>Поляки</c:v>
                </c:pt>
                <c:pt idx="1">
                  <c:v>Білоруси</c:v>
                </c:pt>
                <c:pt idx="2">
                  <c:v>Словаки</c:v>
                </c:pt>
                <c:pt idx="3">
                  <c:v>Молдовани</c:v>
                </c:pt>
                <c:pt idx="4">
                  <c:v>Росіяни</c:v>
                </c:pt>
                <c:pt idx="5">
                  <c:v>Румуни</c:v>
                </c:pt>
                <c:pt idx="6">
                  <c:v>Угорці</c:v>
                </c:pt>
                <c:pt idx="7">
                  <c:v>Жоден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C$2:$C$10</c:f>
              <c:numCache>
                <c:formatCode>0%</c:formatCode>
                <c:ptCount val="9"/>
                <c:pt idx="0">
                  <c:v>0.27510000000000001</c:v>
                </c:pt>
                <c:pt idx="1">
                  <c:v>0.93169999999999997</c:v>
                </c:pt>
                <c:pt idx="2">
                  <c:v>0.95369999999999999</c:v>
                </c:pt>
                <c:pt idx="3">
                  <c:v>0.95760000000000001</c:v>
                </c:pt>
                <c:pt idx="4">
                  <c:v>0.95840000000000003</c:v>
                </c:pt>
                <c:pt idx="5">
                  <c:v>0.98750000000000004</c:v>
                </c:pt>
                <c:pt idx="6">
                  <c:v>0.99390000000000001</c:v>
                </c:pt>
                <c:pt idx="7">
                  <c:v>0.98509999999999998</c:v>
                </c:pt>
                <c:pt idx="8">
                  <c:v>0.9570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аличин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Поляки</c:v>
                </c:pt>
                <c:pt idx="1">
                  <c:v>Білоруси</c:v>
                </c:pt>
                <c:pt idx="2">
                  <c:v>Словаки</c:v>
                </c:pt>
                <c:pt idx="3">
                  <c:v>Молдовани</c:v>
                </c:pt>
                <c:pt idx="4">
                  <c:v>Росіяни</c:v>
                </c:pt>
                <c:pt idx="5">
                  <c:v>Румуни</c:v>
                </c:pt>
                <c:pt idx="6">
                  <c:v>Угорці</c:v>
                </c:pt>
                <c:pt idx="7">
                  <c:v>Жоден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D$2:$D$10</c:f>
              <c:numCache>
                <c:formatCode>0%</c:formatCode>
                <c:ptCount val="9"/>
                <c:pt idx="0">
                  <c:v>0.91180000000000005</c:v>
                </c:pt>
                <c:pt idx="1">
                  <c:v>3.3000000000000002E-2</c:v>
                </c:pt>
                <c:pt idx="2">
                  <c:v>9.4000000000000004E-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9.4999999999999998E-3</c:v>
                </c:pt>
                <c:pt idx="7">
                  <c:v>6.3E-3</c:v>
                </c:pt>
                <c:pt idx="8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0</c:f>
              <c:strCache>
                <c:ptCount val="9"/>
                <c:pt idx="0">
                  <c:v>Поляки</c:v>
                </c:pt>
                <c:pt idx="1">
                  <c:v>Білоруси</c:v>
                </c:pt>
                <c:pt idx="2">
                  <c:v>Словаки</c:v>
                </c:pt>
                <c:pt idx="3">
                  <c:v>Молдовани</c:v>
                </c:pt>
                <c:pt idx="4">
                  <c:v>Росіяни</c:v>
                </c:pt>
                <c:pt idx="5">
                  <c:v>Румуни</c:v>
                </c:pt>
                <c:pt idx="6">
                  <c:v>Угорці</c:v>
                </c:pt>
                <c:pt idx="7">
                  <c:v>Жоден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E$2:$E$10</c:f>
              <c:numCache>
                <c:formatCode>0%</c:formatCode>
                <c:ptCount val="9"/>
                <c:pt idx="0">
                  <c:v>8.8199999999999945E-2</c:v>
                </c:pt>
                <c:pt idx="1">
                  <c:v>0.96699999999999997</c:v>
                </c:pt>
                <c:pt idx="2">
                  <c:v>0.99060000000000004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0.99050000000000005</c:v>
                </c:pt>
                <c:pt idx="7">
                  <c:v>0.99370000000000003</c:v>
                </c:pt>
                <c:pt idx="8">
                  <c:v>0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авобережж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26F-43F3-9E5F-32DFDF8B413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26F-43F3-9E5F-32DFDF8B413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Поляки</c:v>
                </c:pt>
                <c:pt idx="1">
                  <c:v>Білоруси</c:v>
                </c:pt>
                <c:pt idx="2">
                  <c:v>Словаки</c:v>
                </c:pt>
                <c:pt idx="3">
                  <c:v>Молдовани</c:v>
                </c:pt>
                <c:pt idx="4">
                  <c:v>Росіяни</c:v>
                </c:pt>
                <c:pt idx="5">
                  <c:v>Румуни</c:v>
                </c:pt>
                <c:pt idx="6">
                  <c:v>Угорці</c:v>
                </c:pt>
                <c:pt idx="7">
                  <c:v>Жоден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F$2:$F$10</c:f>
              <c:numCache>
                <c:formatCode>0%</c:formatCode>
                <c:ptCount val="9"/>
                <c:pt idx="0">
                  <c:v>0.80769999999999997</c:v>
                </c:pt>
                <c:pt idx="1">
                  <c:v>6.6799999999999998E-2</c:v>
                </c:pt>
                <c:pt idx="2">
                  <c:v>2.4799999999999999E-2</c:v>
                </c:pt>
                <c:pt idx="3">
                  <c:v>2.24E-2</c:v>
                </c:pt>
                <c:pt idx="4">
                  <c:v>2.2499999999999999E-2</c:v>
                </c:pt>
                <c:pt idx="5">
                  <c:v>2E-3</c:v>
                </c:pt>
                <c:pt idx="6">
                  <c:v>7.1999999999999998E-3</c:v>
                </c:pt>
                <c:pt idx="7">
                  <c:v>1.24E-2</c:v>
                </c:pt>
                <c:pt idx="8">
                  <c:v>3.42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0</c:f>
              <c:strCache>
                <c:ptCount val="9"/>
                <c:pt idx="0">
                  <c:v>Поляки</c:v>
                </c:pt>
                <c:pt idx="1">
                  <c:v>Білоруси</c:v>
                </c:pt>
                <c:pt idx="2">
                  <c:v>Словаки</c:v>
                </c:pt>
                <c:pt idx="3">
                  <c:v>Молдовани</c:v>
                </c:pt>
                <c:pt idx="4">
                  <c:v>Росіяни</c:v>
                </c:pt>
                <c:pt idx="5">
                  <c:v>Румуни</c:v>
                </c:pt>
                <c:pt idx="6">
                  <c:v>Угорці</c:v>
                </c:pt>
                <c:pt idx="7">
                  <c:v>Жоден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G$2:$G$10</c:f>
              <c:numCache>
                <c:formatCode>0%</c:formatCode>
                <c:ptCount val="9"/>
                <c:pt idx="0">
                  <c:v>0.19230000000000003</c:v>
                </c:pt>
                <c:pt idx="1">
                  <c:v>0.93320000000000003</c:v>
                </c:pt>
                <c:pt idx="2">
                  <c:v>0.97519999999999996</c:v>
                </c:pt>
                <c:pt idx="3">
                  <c:v>0.97760000000000002</c:v>
                </c:pt>
                <c:pt idx="4">
                  <c:v>0.97750000000000004</c:v>
                </c:pt>
                <c:pt idx="5">
                  <c:v>0.998</c:v>
                </c:pt>
                <c:pt idx="6">
                  <c:v>0.99280000000000002</c:v>
                </c:pt>
                <c:pt idx="7">
                  <c:v>0.98760000000000003</c:v>
                </c:pt>
                <c:pt idx="8">
                  <c:v>0.9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інші регіон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Поляки</c:v>
                </c:pt>
                <c:pt idx="1">
                  <c:v>Білоруси</c:v>
                </c:pt>
                <c:pt idx="2">
                  <c:v>Словаки</c:v>
                </c:pt>
                <c:pt idx="3">
                  <c:v>Молдовани</c:v>
                </c:pt>
                <c:pt idx="4">
                  <c:v>Росіяни</c:v>
                </c:pt>
                <c:pt idx="5">
                  <c:v>Румуни</c:v>
                </c:pt>
                <c:pt idx="6">
                  <c:v>Угорці</c:v>
                </c:pt>
                <c:pt idx="7">
                  <c:v>Жоден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H$2:$H$10</c:f>
              <c:numCache>
                <c:formatCode>0%</c:formatCode>
                <c:ptCount val="9"/>
                <c:pt idx="0">
                  <c:v>0.63390000000000002</c:v>
                </c:pt>
                <c:pt idx="1">
                  <c:v>7.7399999999999997E-2</c:v>
                </c:pt>
                <c:pt idx="2">
                  <c:v>6.7299999999999999E-2</c:v>
                </c:pt>
                <c:pt idx="3">
                  <c:v>6.3799999999999996E-2</c:v>
                </c:pt>
                <c:pt idx="4">
                  <c:v>6.2199999999999998E-2</c:v>
                </c:pt>
                <c:pt idx="5">
                  <c:v>2.1499999999999998E-2</c:v>
                </c:pt>
                <c:pt idx="6">
                  <c:v>4.7000000000000002E-3</c:v>
                </c:pt>
                <c:pt idx="7">
                  <c:v>1.83E-2</c:v>
                </c:pt>
                <c:pt idx="8">
                  <c:v>5.09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D82-43E9-83BE-6E9CCBC900F0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Стовпець5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0</c:f>
              <c:strCache>
                <c:ptCount val="9"/>
                <c:pt idx="0">
                  <c:v>Поляки</c:v>
                </c:pt>
                <c:pt idx="1">
                  <c:v>Білоруси</c:v>
                </c:pt>
                <c:pt idx="2">
                  <c:v>Словаки</c:v>
                </c:pt>
                <c:pt idx="3">
                  <c:v>Молдовани</c:v>
                </c:pt>
                <c:pt idx="4">
                  <c:v>Росіяни</c:v>
                </c:pt>
                <c:pt idx="5">
                  <c:v>Румуни</c:v>
                </c:pt>
                <c:pt idx="6">
                  <c:v>Угорці</c:v>
                </c:pt>
                <c:pt idx="7">
                  <c:v>Жоден</c:v>
                </c:pt>
                <c:pt idx="8">
                  <c:v>Важко сказати</c:v>
                </c:pt>
              </c:strCache>
            </c:strRef>
          </c:cat>
          <c:val>
            <c:numRef>
              <c:f>Лист1!$I$2:$I$10</c:f>
              <c:numCache>
                <c:formatCode>0%</c:formatCode>
                <c:ptCount val="9"/>
                <c:pt idx="0">
                  <c:v>0.36609999999999998</c:v>
                </c:pt>
                <c:pt idx="1">
                  <c:v>0.92259999999999998</c:v>
                </c:pt>
                <c:pt idx="2">
                  <c:v>0.93269999999999997</c:v>
                </c:pt>
                <c:pt idx="3">
                  <c:v>0.93620000000000003</c:v>
                </c:pt>
                <c:pt idx="4">
                  <c:v>0.93779999999999997</c:v>
                </c:pt>
                <c:pt idx="5">
                  <c:v>0.97850000000000004</c:v>
                </c:pt>
                <c:pt idx="6">
                  <c:v>0.99529999999999996</c:v>
                </c:pt>
                <c:pt idx="7">
                  <c:v>0.98170000000000002</c:v>
                </c:pt>
                <c:pt idx="8">
                  <c:v>0.9491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D82-43E9-83BE-6E9CCBC900F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692641255022834E-2"/>
          <c:y val="9.8646157532586709E-2"/>
          <c:w val="0.69867950687852509"/>
          <c:h val="0.6662761980226058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Я дуже зацікавлений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2:$E$2</c:f>
              <c:numCache>
                <c:formatCode>0%</c:formatCode>
                <c:ptCount val="4"/>
                <c:pt idx="0">
                  <c:v>6.3399999999999998E-2</c:v>
                </c:pt>
                <c:pt idx="1">
                  <c:v>4.7600000000000003E-2</c:v>
                </c:pt>
                <c:pt idx="2">
                  <c:v>7.9600000000000004E-2</c:v>
                </c:pt>
                <c:pt idx="3">
                  <c:v>5.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У мене є певний інтерес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3:$E$3</c:f>
              <c:numCache>
                <c:formatCode>0%</c:formatCode>
                <c:ptCount val="4"/>
                <c:pt idx="0">
                  <c:v>0.50070000000000003</c:v>
                </c:pt>
                <c:pt idx="1">
                  <c:v>0.54849999999999999</c:v>
                </c:pt>
                <c:pt idx="2">
                  <c:v>0.57050000000000001</c:v>
                </c:pt>
                <c:pt idx="3">
                  <c:v>0.4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Скоріше мене не цікавить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C28-485B-944A-C46793F8BF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4:$E$4</c:f>
              <c:numCache>
                <c:formatCode>0%</c:formatCode>
                <c:ptCount val="4"/>
                <c:pt idx="0">
                  <c:v>0.2878</c:v>
                </c:pt>
                <c:pt idx="1">
                  <c:v>0.30509999999999998</c:v>
                </c:pt>
                <c:pt idx="2">
                  <c:v>0.24030000000000001</c:v>
                </c:pt>
                <c:pt idx="3">
                  <c:v>0.311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Мені вона зовсім не цікава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5:$E$5</c:f>
              <c:numCache>
                <c:formatCode>0%</c:formatCode>
                <c:ptCount val="4"/>
                <c:pt idx="0">
                  <c:v>0.1149</c:v>
                </c:pt>
                <c:pt idx="1">
                  <c:v>7.1499999999999994E-2</c:v>
                </c:pt>
                <c:pt idx="2">
                  <c:v>9.6799999999999997E-2</c:v>
                </c:pt>
                <c:pt idx="3">
                  <c:v>0.1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0B-3542-A175-441719640240}"/>
            </c:ext>
          </c:extLst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Важко сказати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Загалом</c:v>
                </c:pt>
                <c:pt idx="1">
                  <c:v>Галичина</c:v>
                </c:pt>
                <c:pt idx="2">
                  <c:v>Правобережжя</c:v>
                </c:pt>
                <c:pt idx="3">
                  <c:v>Інші регіони</c:v>
                </c:pt>
              </c:strCache>
            </c:strRef>
          </c:cat>
          <c:val>
            <c:numRef>
              <c:f>Лист1!$B$6:$E$6</c:f>
              <c:numCache>
                <c:formatCode>0%</c:formatCode>
                <c:ptCount val="4"/>
                <c:pt idx="0">
                  <c:v>3.3099999999999997E-2</c:v>
                </c:pt>
                <c:pt idx="1">
                  <c:v>2.7400000000000001E-2</c:v>
                </c:pt>
                <c:pt idx="2">
                  <c:v>1.2800000000000001E-2</c:v>
                </c:pt>
                <c:pt idx="3">
                  <c:v>4.61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0B-3542-A175-44171964024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l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4894033534768911"/>
          <c:y val="0.13097200552210886"/>
          <c:w val="0.23714829033601964"/>
          <c:h val="0.614511601057587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74941652369069"/>
          <c:y val="0.11593678437907591"/>
          <c:w val="0.70152409387585057"/>
          <c:h val="0.7873105859480300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галом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2-43E9-83BE-6E9CCBC900F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2-43E9-83BE-6E9CCBC900F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2-43E9-83BE-6E9CCBC900F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2-43E9-83BE-6E9CCBC900F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D82-43E9-83BE-6E9CCBC900F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Від друзів і знайомих</c:v>
                </c:pt>
                <c:pt idx="1">
                  <c:v>З інтернету (крім соціальних мереж)</c:v>
                </c:pt>
                <c:pt idx="2">
                  <c:v>Через телебачення та радіо</c:v>
                </c:pt>
                <c:pt idx="3">
                  <c:v>Із соціальних мереж</c:v>
                </c:pt>
                <c:pt idx="4">
                  <c:v>Від родини</c:v>
                </c:pt>
                <c:pt idx="5">
                  <c:v>З художньої літератури і з фільмів</c:v>
                </c:pt>
                <c:pt idx="6">
                  <c:v>Я жив у Польщі</c:v>
                </c:pt>
                <c:pt idx="7">
                  <c:v>Зі шкільних підручників</c:v>
                </c:pt>
                <c:pt idx="8">
                  <c:v>Не отримую інформацію про Польщу</c:v>
                </c:pt>
                <c:pt idx="9">
                  <c:v>Важко сказати</c:v>
                </c:pt>
              </c:strCache>
            </c:strRef>
          </c:cat>
          <c:val>
            <c:numRef>
              <c:f>Лист1!$B$2:$B$11</c:f>
              <c:numCache>
                <c:formatCode>0%</c:formatCode>
                <c:ptCount val="10"/>
                <c:pt idx="0">
                  <c:v>0.48530000000000001</c:v>
                </c:pt>
                <c:pt idx="1">
                  <c:v>0.42980000000000002</c:v>
                </c:pt>
                <c:pt idx="2">
                  <c:v>0.30259999999999998</c:v>
                </c:pt>
                <c:pt idx="3">
                  <c:v>0.2984</c:v>
                </c:pt>
                <c:pt idx="4">
                  <c:v>0.2359</c:v>
                </c:pt>
                <c:pt idx="5">
                  <c:v>0.1479</c:v>
                </c:pt>
                <c:pt idx="6">
                  <c:v>0.1207</c:v>
                </c:pt>
                <c:pt idx="7">
                  <c:v>6.6299999999999998E-2</c:v>
                </c:pt>
                <c:pt idx="8">
                  <c:v>1.38E-2</c:v>
                </c:pt>
                <c:pt idx="9">
                  <c:v>5.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D82-43E9-83BE-6E9CCBC900F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впець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1</c:f>
              <c:strCache>
                <c:ptCount val="10"/>
                <c:pt idx="0">
                  <c:v>Від друзів і знайомих</c:v>
                </c:pt>
                <c:pt idx="1">
                  <c:v>З інтернету (крім соціальних мереж)</c:v>
                </c:pt>
                <c:pt idx="2">
                  <c:v>Через телебачення та радіо</c:v>
                </c:pt>
                <c:pt idx="3">
                  <c:v>Із соціальних мереж</c:v>
                </c:pt>
                <c:pt idx="4">
                  <c:v>Від родини</c:v>
                </c:pt>
                <c:pt idx="5">
                  <c:v>З художньої літератури і з фільмів</c:v>
                </c:pt>
                <c:pt idx="6">
                  <c:v>Я жив у Польщі</c:v>
                </c:pt>
                <c:pt idx="7">
                  <c:v>Зі шкільних підручників</c:v>
                </c:pt>
                <c:pt idx="8">
                  <c:v>Не отримую інформацію про Польщу</c:v>
                </c:pt>
                <c:pt idx="9">
                  <c:v>Важко сказати</c:v>
                </c:pt>
              </c:strCache>
            </c:strRef>
          </c:cat>
          <c:val>
            <c:numRef>
              <c:f>Лист1!$C$2:$C$11</c:f>
              <c:numCache>
                <c:formatCode>0%</c:formatCode>
                <c:ptCount val="10"/>
                <c:pt idx="0">
                  <c:v>0.11469999999999997</c:v>
                </c:pt>
                <c:pt idx="1">
                  <c:v>0.17019999999999996</c:v>
                </c:pt>
                <c:pt idx="2">
                  <c:v>0.2974</c:v>
                </c:pt>
                <c:pt idx="3">
                  <c:v>0.30159999999999998</c:v>
                </c:pt>
                <c:pt idx="4">
                  <c:v>0.36409999999999998</c:v>
                </c:pt>
                <c:pt idx="5">
                  <c:v>0.45209999999999995</c:v>
                </c:pt>
                <c:pt idx="6">
                  <c:v>0.47929999999999995</c:v>
                </c:pt>
                <c:pt idx="7">
                  <c:v>0.53369999999999995</c:v>
                </c:pt>
                <c:pt idx="8">
                  <c:v>0.58619999999999994</c:v>
                </c:pt>
                <c:pt idx="9">
                  <c:v>0.594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D82-43E9-83BE-6E9CCBC900F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галичин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Від друзів і знайомих</c:v>
                </c:pt>
                <c:pt idx="1">
                  <c:v>З інтернету (крім соціальних мереж)</c:v>
                </c:pt>
                <c:pt idx="2">
                  <c:v>Через телебачення та радіо</c:v>
                </c:pt>
                <c:pt idx="3">
                  <c:v>Із соціальних мереж</c:v>
                </c:pt>
                <c:pt idx="4">
                  <c:v>Від родини</c:v>
                </c:pt>
                <c:pt idx="5">
                  <c:v>З художньої літератури і з фільмів</c:v>
                </c:pt>
                <c:pt idx="6">
                  <c:v>Я жив у Польщі</c:v>
                </c:pt>
                <c:pt idx="7">
                  <c:v>Зі шкільних підручників</c:v>
                </c:pt>
                <c:pt idx="8">
                  <c:v>Не отримую інформацію про Польщу</c:v>
                </c:pt>
                <c:pt idx="9">
                  <c:v>Важко сказати</c:v>
                </c:pt>
              </c:strCache>
            </c:strRef>
          </c:cat>
          <c:val>
            <c:numRef>
              <c:f>Лист1!$D$2:$D$11</c:f>
              <c:numCache>
                <c:formatCode>0%</c:formatCode>
                <c:ptCount val="10"/>
                <c:pt idx="0">
                  <c:v>0.53</c:v>
                </c:pt>
                <c:pt idx="1">
                  <c:v>0.39</c:v>
                </c:pt>
                <c:pt idx="2">
                  <c:v>0.34</c:v>
                </c:pt>
                <c:pt idx="3">
                  <c:v>0.32</c:v>
                </c:pt>
                <c:pt idx="4">
                  <c:v>0.32</c:v>
                </c:pt>
                <c:pt idx="5">
                  <c:v>0.19</c:v>
                </c:pt>
                <c:pt idx="6">
                  <c:v>0.2</c:v>
                </c:pt>
                <c:pt idx="7">
                  <c:v>0.09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D82-43E9-83BE-6E9CCBC900F0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овпець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1</c:f>
              <c:strCache>
                <c:ptCount val="10"/>
                <c:pt idx="0">
                  <c:v>Від друзів і знайомих</c:v>
                </c:pt>
                <c:pt idx="1">
                  <c:v>З інтернету (крім соціальних мереж)</c:v>
                </c:pt>
                <c:pt idx="2">
                  <c:v>Через телебачення та радіо</c:v>
                </c:pt>
                <c:pt idx="3">
                  <c:v>Із соціальних мереж</c:v>
                </c:pt>
                <c:pt idx="4">
                  <c:v>Від родини</c:v>
                </c:pt>
                <c:pt idx="5">
                  <c:v>З художньої літератури і з фільмів</c:v>
                </c:pt>
                <c:pt idx="6">
                  <c:v>Я жив у Польщі</c:v>
                </c:pt>
                <c:pt idx="7">
                  <c:v>Зі шкільних підручників</c:v>
                </c:pt>
                <c:pt idx="8">
                  <c:v>Не отримую інформацію про Польщу</c:v>
                </c:pt>
                <c:pt idx="9">
                  <c:v>Важко сказати</c:v>
                </c:pt>
              </c:strCache>
            </c:strRef>
          </c:cat>
          <c:val>
            <c:numRef>
              <c:f>Лист1!$E$2:$E$11</c:f>
              <c:numCache>
                <c:formatCode>0%</c:formatCode>
                <c:ptCount val="10"/>
                <c:pt idx="0">
                  <c:v>6.9999999999999951E-2</c:v>
                </c:pt>
                <c:pt idx="1">
                  <c:v>0.20999999999999996</c:v>
                </c:pt>
                <c:pt idx="2">
                  <c:v>0.25999999999999995</c:v>
                </c:pt>
                <c:pt idx="3">
                  <c:v>0.27999999999999997</c:v>
                </c:pt>
                <c:pt idx="4">
                  <c:v>0.27999999999999997</c:v>
                </c:pt>
                <c:pt idx="5">
                  <c:v>0.41</c:v>
                </c:pt>
                <c:pt idx="6">
                  <c:v>0.39999999999999997</c:v>
                </c:pt>
                <c:pt idx="7">
                  <c:v>0.51</c:v>
                </c:pt>
                <c:pt idx="8">
                  <c:v>0.6</c:v>
                </c:pt>
                <c:pt idx="9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D82-43E9-83BE-6E9CCBC900F0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авобережж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26F-43F3-9E5F-32DFDF8B413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26F-43F3-9E5F-32DFDF8B413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Від друзів і знайомих</c:v>
                </c:pt>
                <c:pt idx="1">
                  <c:v>З інтернету (крім соціальних мереж)</c:v>
                </c:pt>
                <c:pt idx="2">
                  <c:v>Через телебачення та радіо</c:v>
                </c:pt>
                <c:pt idx="3">
                  <c:v>Із соціальних мереж</c:v>
                </c:pt>
                <c:pt idx="4">
                  <c:v>Від родини</c:v>
                </c:pt>
                <c:pt idx="5">
                  <c:v>З художньої літератури і з фільмів</c:v>
                </c:pt>
                <c:pt idx="6">
                  <c:v>Я жив у Польщі</c:v>
                </c:pt>
                <c:pt idx="7">
                  <c:v>Зі шкільних підручників</c:v>
                </c:pt>
                <c:pt idx="8">
                  <c:v>Не отримую інформацію про Польщу</c:v>
                </c:pt>
                <c:pt idx="9">
                  <c:v>Важко сказати</c:v>
                </c:pt>
              </c:strCache>
            </c:strRef>
          </c:cat>
          <c:val>
            <c:numRef>
              <c:f>Лист1!$F$2:$F$11</c:f>
              <c:numCache>
                <c:formatCode>0%</c:formatCode>
                <c:ptCount val="10"/>
                <c:pt idx="0">
                  <c:v>0.47370000000000001</c:v>
                </c:pt>
                <c:pt idx="1">
                  <c:v>0.46729999999999999</c:v>
                </c:pt>
                <c:pt idx="2">
                  <c:v>0.30709999999999998</c:v>
                </c:pt>
                <c:pt idx="3">
                  <c:v>0.28320000000000001</c:v>
                </c:pt>
                <c:pt idx="4">
                  <c:v>0.2823</c:v>
                </c:pt>
                <c:pt idx="5">
                  <c:v>0.15629999999999999</c:v>
                </c:pt>
                <c:pt idx="6">
                  <c:v>0.12839999999999999</c:v>
                </c:pt>
                <c:pt idx="7">
                  <c:v>7.8600000000000003E-2</c:v>
                </c:pt>
                <c:pt idx="8">
                  <c:v>1.1900000000000001E-2</c:v>
                </c:pt>
                <c:pt idx="9">
                  <c:v>4.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D82-43E9-83BE-6E9CCBC900F0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впець4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1</c:f>
              <c:strCache>
                <c:ptCount val="10"/>
                <c:pt idx="0">
                  <c:v>Від друзів і знайомих</c:v>
                </c:pt>
                <c:pt idx="1">
                  <c:v>З інтернету (крім соціальних мереж)</c:v>
                </c:pt>
                <c:pt idx="2">
                  <c:v>Через телебачення та радіо</c:v>
                </c:pt>
                <c:pt idx="3">
                  <c:v>Із соціальних мереж</c:v>
                </c:pt>
                <c:pt idx="4">
                  <c:v>Від родини</c:v>
                </c:pt>
                <c:pt idx="5">
                  <c:v>З художньої літератури і з фільмів</c:v>
                </c:pt>
                <c:pt idx="6">
                  <c:v>Я жив у Польщі</c:v>
                </c:pt>
                <c:pt idx="7">
                  <c:v>Зі шкільних підручників</c:v>
                </c:pt>
                <c:pt idx="8">
                  <c:v>Не отримую інформацію про Польщу</c:v>
                </c:pt>
                <c:pt idx="9">
                  <c:v>Важко сказати</c:v>
                </c:pt>
              </c:strCache>
            </c:strRef>
          </c:cat>
          <c:val>
            <c:numRef>
              <c:f>Лист1!$G$2:$G$11</c:f>
              <c:numCache>
                <c:formatCode>0%</c:formatCode>
                <c:ptCount val="10"/>
                <c:pt idx="0">
                  <c:v>0.12629999999999997</c:v>
                </c:pt>
                <c:pt idx="1">
                  <c:v>0.13269999999999998</c:v>
                </c:pt>
                <c:pt idx="2">
                  <c:v>0.29289999999999999</c:v>
                </c:pt>
                <c:pt idx="3">
                  <c:v>0.31679999999999997</c:v>
                </c:pt>
                <c:pt idx="4">
                  <c:v>0.31769999999999998</c:v>
                </c:pt>
                <c:pt idx="5">
                  <c:v>0.44369999999999998</c:v>
                </c:pt>
                <c:pt idx="6">
                  <c:v>0.47160000000000002</c:v>
                </c:pt>
                <c:pt idx="7">
                  <c:v>0.52139999999999997</c:v>
                </c:pt>
                <c:pt idx="8">
                  <c:v>0.58809999999999996</c:v>
                </c:pt>
                <c:pt idx="9">
                  <c:v>0.595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D82-43E9-83BE-6E9CCBC900F0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інші регіон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Від друзів і знайомих</c:v>
                </c:pt>
                <c:pt idx="1">
                  <c:v>З інтернету (крім соціальних мереж)</c:v>
                </c:pt>
                <c:pt idx="2">
                  <c:v>Через телебачення та радіо</c:v>
                </c:pt>
                <c:pt idx="3">
                  <c:v>Із соціальних мереж</c:v>
                </c:pt>
                <c:pt idx="4">
                  <c:v>Від родини</c:v>
                </c:pt>
                <c:pt idx="5">
                  <c:v>З художньої літератури і з фільмів</c:v>
                </c:pt>
                <c:pt idx="6">
                  <c:v>Я жив у Польщі</c:v>
                </c:pt>
                <c:pt idx="7">
                  <c:v>Зі шкільних підручників</c:v>
                </c:pt>
                <c:pt idx="8">
                  <c:v>Не отримую інформацію про Польщу</c:v>
                </c:pt>
                <c:pt idx="9">
                  <c:v>Важко сказати</c:v>
                </c:pt>
              </c:strCache>
            </c:strRef>
          </c:cat>
          <c:val>
            <c:numRef>
              <c:f>Лист1!$H$2:$H$11</c:f>
              <c:numCache>
                <c:formatCode>0%</c:formatCode>
                <c:ptCount val="10"/>
                <c:pt idx="0">
                  <c:v>0.48060000000000003</c:v>
                </c:pt>
                <c:pt idx="1">
                  <c:v>0.41649999999999998</c:v>
                </c:pt>
                <c:pt idx="2">
                  <c:v>0.29220000000000002</c:v>
                </c:pt>
                <c:pt idx="3">
                  <c:v>0.30099999999999999</c:v>
                </c:pt>
                <c:pt idx="4">
                  <c:v>0.18890000000000001</c:v>
                </c:pt>
                <c:pt idx="5">
                  <c:v>0.1328</c:v>
                </c:pt>
                <c:pt idx="6">
                  <c:v>9.8799999999999999E-2</c:v>
                </c:pt>
                <c:pt idx="7">
                  <c:v>5.3900000000000003E-2</c:v>
                </c:pt>
                <c:pt idx="8">
                  <c:v>1.8100000000000002E-2</c:v>
                </c:pt>
                <c:pt idx="9">
                  <c:v>7.1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7D82-43E9-83BE-6E9CCBC900F0}"/>
            </c:ext>
          </c:extLst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Стовпець5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Лист1!$A$2:$A$11</c:f>
              <c:strCache>
                <c:ptCount val="10"/>
                <c:pt idx="0">
                  <c:v>Від друзів і знайомих</c:v>
                </c:pt>
                <c:pt idx="1">
                  <c:v>З інтернету (крім соціальних мереж)</c:v>
                </c:pt>
                <c:pt idx="2">
                  <c:v>Через телебачення та радіо</c:v>
                </c:pt>
                <c:pt idx="3">
                  <c:v>Із соціальних мереж</c:v>
                </c:pt>
                <c:pt idx="4">
                  <c:v>Від родини</c:v>
                </c:pt>
                <c:pt idx="5">
                  <c:v>З художньої літератури і з фільмів</c:v>
                </c:pt>
                <c:pt idx="6">
                  <c:v>Я жив у Польщі</c:v>
                </c:pt>
                <c:pt idx="7">
                  <c:v>Зі шкільних підручників</c:v>
                </c:pt>
                <c:pt idx="8">
                  <c:v>Не отримую інформацію про Польщу</c:v>
                </c:pt>
                <c:pt idx="9">
                  <c:v>Важко сказати</c:v>
                </c:pt>
              </c:strCache>
            </c:strRef>
          </c:cat>
          <c:val>
            <c:numRef>
              <c:f>Лист1!$I$2:$I$11</c:f>
              <c:numCache>
                <c:formatCode>0%</c:formatCode>
                <c:ptCount val="10"/>
                <c:pt idx="0">
                  <c:v>0.11939999999999995</c:v>
                </c:pt>
                <c:pt idx="1">
                  <c:v>0.1835</c:v>
                </c:pt>
                <c:pt idx="2">
                  <c:v>0.30779999999999996</c:v>
                </c:pt>
                <c:pt idx="3">
                  <c:v>0.29899999999999999</c:v>
                </c:pt>
                <c:pt idx="4">
                  <c:v>0.41109999999999997</c:v>
                </c:pt>
                <c:pt idx="5">
                  <c:v>0.46719999999999995</c:v>
                </c:pt>
                <c:pt idx="6">
                  <c:v>0.50119999999999998</c:v>
                </c:pt>
                <c:pt idx="7">
                  <c:v>0.54610000000000003</c:v>
                </c:pt>
                <c:pt idx="8">
                  <c:v>0.58189999999999997</c:v>
                </c:pt>
                <c:pt idx="9">
                  <c:v>0.5928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D82-43E9-83BE-6E9CCBC900F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02863759"/>
        <c:axId val="55103615"/>
      </c:barChart>
      <c:catAx>
        <c:axId val="1702863759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3615"/>
        <c:crosses val="autoZero"/>
        <c:auto val="1"/>
        <c:lblAlgn val="ctr"/>
        <c:lblOffset val="100"/>
        <c:noMultiLvlLbl val="0"/>
      </c:catAx>
      <c:valAx>
        <c:axId val="55103615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7028637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559138" y="194745"/>
            <a:ext cx="795564" cy="79556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</a:t>
            </a:r>
            <a:fld id="{0B798607-B8D6-44E8-B6BA-DA2D673578FB}" type="datetime4">
              <a:rPr lang="en-US" smtClean="0"/>
              <a:t>December 13, 2022</a:t>
            </a:fld>
            <a:r>
              <a:rPr lang="en-US" dirty="0"/>
              <a:t> | T</a:t>
            </a:r>
            <a:r>
              <a:rPr lang="ru-RU" dirty="0"/>
              <a:t>і</a:t>
            </a:r>
            <a:r>
              <a:rPr lang="en-US" dirty="0" err="1"/>
              <a:t>tle</a:t>
            </a:r>
            <a:r>
              <a:rPr lang="en-US" dirty="0"/>
              <a:t> of </a:t>
            </a:r>
            <a:r>
              <a:rPr lang="en-US" dirty="0" err="1"/>
              <a:t>presentat</a:t>
            </a:r>
            <a:r>
              <a:rPr lang="ru-RU" dirty="0"/>
              <a:t>і</a:t>
            </a:r>
            <a:r>
              <a:rPr lang="en-US" dirty="0"/>
              <a:t>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51869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E3F4394-640C-4911-B77C-CE319E40E6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Rechteck 3">
            <a:extLst>
              <a:ext uri="{FF2B5EF4-FFF2-40B4-BE49-F238E27FC236}">
                <a16:creationId xmlns:a16="http://schemas.microsoft.com/office/drawing/2014/main" id="{25F63510-380B-4541-B731-9E9DED0256B7}"/>
              </a:ext>
            </a:extLst>
          </p:cNvPr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045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E3F4394-640C-4911-B77C-CE319E40E6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1" name="Rechteck 3">
            <a:extLst>
              <a:ext uri="{FF2B5EF4-FFF2-40B4-BE49-F238E27FC236}">
                <a16:creationId xmlns:a16="http://schemas.microsoft.com/office/drawing/2014/main" id="{25F63510-380B-4541-B731-9E9DED0256B7}"/>
              </a:ext>
            </a:extLst>
          </p:cNvPr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8836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1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2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4" name="Rechteck 2">
            <a:extLst>
              <a:ext uri="{FF2B5EF4-FFF2-40B4-BE49-F238E27FC236}">
                <a16:creationId xmlns:a16="http://schemas.microsoft.com/office/drawing/2014/main" id="{D18E50B0-D0C2-4A7B-A563-97736050C317}"/>
              </a:ext>
            </a:extLst>
          </p:cNvPr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5" name="Rechteck 58">
            <a:extLst>
              <a:ext uri="{FF2B5EF4-FFF2-40B4-BE49-F238E27FC236}">
                <a16:creationId xmlns:a16="http://schemas.microsoft.com/office/drawing/2014/main" id="{E08B5633-7734-4A91-ABDE-F2E21809732A}"/>
              </a:ext>
            </a:extLst>
          </p:cNvPr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6" name="Rechteck 59">
            <a:extLst>
              <a:ext uri="{FF2B5EF4-FFF2-40B4-BE49-F238E27FC236}">
                <a16:creationId xmlns:a16="http://schemas.microsoft.com/office/drawing/2014/main" id="{30790101-92B1-4CE2-9DD6-40CD3E95235E}"/>
              </a:ext>
            </a:extLst>
          </p:cNvPr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E214CB0-B01B-47A3-9457-C196F2FF6A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5935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4" name="Rechteck 2">
            <a:extLst>
              <a:ext uri="{FF2B5EF4-FFF2-40B4-BE49-F238E27FC236}">
                <a16:creationId xmlns:a16="http://schemas.microsoft.com/office/drawing/2014/main" id="{D18E50B0-D0C2-4A7B-A563-97736050C317}"/>
              </a:ext>
            </a:extLst>
          </p:cNvPr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5" name="Rechteck 58">
            <a:extLst>
              <a:ext uri="{FF2B5EF4-FFF2-40B4-BE49-F238E27FC236}">
                <a16:creationId xmlns:a16="http://schemas.microsoft.com/office/drawing/2014/main" id="{E08B5633-7734-4A91-ABDE-F2E21809732A}"/>
              </a:ext>
            </a:extLst>
          </p:cNvPr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6" name="Rechteck 59">
            <a:extLst>
              <a:ext uri="{FF2B5EF4-FFF2-40B4-BE49-F238E27FC236}">
                <a16:creationId xmlns:a16="http://schemas.microsoft.com/office/drawing/2014/main" id="{30790101-92B1-4CE2-9DD6-40CD3E95235E}"/>
              </a:ext>
            </a:extLst>
          </p:cNvPr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E214CB0-B01B-47A3-9457-C196F2FF6A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4227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85C990C-030F-4E51-9A48-2317129A4B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1" y="195420"/>
            <a:ext cx="7056979" cy="288040"/>
          </a:xfrm>
        </p:spPr>
        <p:txBody>
          <a:bodyPr anchor="ctr"/>
          <a:lstStyle>
            <a:lvl1pPr>
              <a:defRPr b="0" baseline="0">
                <a:solidFill>
                  <a:schemeClr val="accent6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r>
              <a:rPr lang="uk-UA" dirty="0"/>
              <a:t>Назва слайду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410" y="1595640"/>
            <a:ext cx="8497180" cy="3280430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  <a:latin typeface="+mn-lt"/>
                <a:ea typeface="Roboto" panose="02000000000000000000" pitchFamily="2" charset="0"/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uk-UA" noProof="0" dirty="0" err="1"/>
              <a:t>Click</a:t>
            </a:r>
            <a:r>
              <a:rPr lang="uk-UA" noProof="0" dirty="0"/>
              <a:t> </a:t>
            </a:r>
            <a:r>
              <a:rPr lang="uk-UA" noProof="0" dirty="0" err="1"/>
              <a:t>to</a:t>
            </a:r>
            <a:r>
              <a:rPr lang="uk-UA" noProof="0" dirty="0"/>
              <a:t> </a:t>
            </a:r>
            <a:r>
              <a:rPr lang="uk-UA" noProof="0" dirty="0" err="1"/>
              <a:t>add</a:t>
            </a:r>
            <a:r>
              <a:rPr lang="uk-UA" noProof="0" dirty="0"/>
              <a:t> </a:t>
            </a:r>
            <a:r>
              <a:rPr lang="uk-UA" noProof="0" dirty="0" err="1"/>
              <a:t>agenda</a:t>
            </a:r>
            <a:endParaRPr lang="uk-UA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411" y="555471"/>
            <a:ext cx="7056980" cy="671736"/>
          </a:xfrm>
        </p:spPr>
        <p:txBody>
          <a:bodyPr anchor="t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j-cs"/>
              </a:defRPr>
            </a:lvl1pPr>
            <a:lvl2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2pPr>
            <a:lvl3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3pPr>
            <a:lvl4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4pPr>
            <a:lvl5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409" y="1299219"/>
            <a:ext cx="8497179" cy="224408"/>
          </a:xfrm>
        </p:spPr>
        <p:txBody>
          <a:bodyPr anchor="b"/>
          <a:lstStyle>
            <a:lvl1pPr>
              <a:defRPr sz="1400" i="1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</a:lstStyle>
          <a:p>
            <a:pPr lvl="0"/>
            <a:r>
              <a:rPr lang="uk-UA" noProof="0" dirty="0"/>
              <a:t>Запитання</a:t>
            </a:r>
          </a:p>
        </p:txBody>
      </p:sp>
    </p:spTree>
    <p:extLst>
      <p:ext uri="{BB962C8B-B14F-4D97-AF65-F5344CB8AC3E}">
        <p14:creationId xmlns:p14="http://schemas.microsoft.com/office/powerpoint/2010/main" val="1512016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E3F4394-640C-4911-B77C-CE319E40E6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1" name="Rechteck 3">
            <a:extLst>
              <a:ext uri="{FF2B5EF4-FFF2-40B4-BE49-F238E27FC236}">
                <a16:creationId xmlns:a16="http://schemas.microsoft.com/office/drawing/2014/main" id="{25F63510-380B-4541-B731-9E9DED0256B7}"/>
              </a:ext>
            </a:extLst>
          </p:cNvPr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89454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1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2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4" name="Rechteck 2">
            <a:extLst>
              <a:ext uri="{FF2B5EF4-FFF2-40B4-BE49-F238E27FC236}">
                <a16:creationId xmlns:a16="http://schemas.microsoft.com/office/drawing/2014/main" id="{D18E50B0-D0C2-4A7B-A563-97736050C317}"/>
              </a:ext>
            </a:extLst>
          </p:cNvPr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5" name="Rechteck 58">
            <a:extLst>
              <a:ext uri="{FF2B5EF4-FFF2-40B4-BE49-F238E27FC236}">
                <a16:creationId xmlns:a16="http://schemas.microsoft.com/office/drawing/2014/main" id="{E08B5633-7734-4A91-ABDE-F2E21809732A}"/>
              </a:ext>
            </a:extLst>
          </p:cNvPr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6" name="Rechteck 59">
            <a:extLst>
              <a:ext uri="{FF2B5EF4-FFF2-40B4-BE49-F238E27FC236}">
                <a16:creationId xmlns:a16="http://schemas.microsoft.com/office/drawing/2014/main" id="{30790101-92B1-4CE2-9DD6-40CD3E95235E}"/>
              </a:ext>
            </a:extLst>
          </p:cNvPr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E214CB0-B01B-47A3-9457-C196F2FF6A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0906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E3F4394-640C-4911-B77C-CE319E40E6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1" name="Rechteck 3">
            <a:extLst>
              <a:ext uri="{FF2B5EF4-FFF2-40B4-BE49-F238E27FC236}">
                <a16:creationId xmlns:a16="http://schemas.microsoft.com/office/drawing/2014/main" id="{25F63510-380B-4541-B731-9E9DED0256B7}"/>
              </a:ext>
            </a:extLst>
          </p:cNvPr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1687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1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2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4" name="Rechteck 2">
            <a:extLst>
              <a:ext uri="{FF2B5EF4-FFF2-40B4-BE49-F238E27FC236}">
                <a16:creationId xmlns:a16="http://schemas.microsoft.com/office/drawing/2014/main" id="{D18E50B0-D0C2-4A7B-A563-97736050C317}"/>
              </a:ext>
            </a:extLst>
          </p:cNvPr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5" name="Rechteck 58">
            <a:extLst>
              <a:ext uri="{FF2B5EF4-FFF2-40B4-BE49-F238E27FC236}">
                <a16:creationId xmlns:a16="http://schemas.microsoft.com/office/drawing/2014/main" id="{E08B5633-7734-4A91-ABDE-F2E21809732A}"/>
              </a:ext>
            </a:extLst>
          </p:cNvPr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6" name="Rechteck 59">
            <a:extLst>
              <a:ext uri="{FF2B5EF4-FFF2-40B4-BE49-F238E27FC236}">
                <a16:creationId xmlns:a16="http://schemas.microsoft.com/office/drawing/2014/main" id="{30790101-92B1-4CE2-9DD6-40CD3E95235E}"/>
              </a:ext>
            </a:extLst>
          </p:cNvPr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E214CB0-B01B-47A3-9457-C196F2FF6A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7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E3F4394-640C-4911-B77C-CE319E40E6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+mj-lt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+mj-lt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1" name="Rechteck 3">
            <a:extLst>
              <a:ext uri="{FF2B5EF4-FFF2-40B4-BE49-F238E27FC236}">
                <a16:creationId xmlns:a16="http://schemas.microsoft.com/office/drawing/2014/main" id="{25F63510-380B-4541-B731-9E9DED0256B7}"/>
              </a:ext>
            </a:extLst>
          </p:cNvPr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66451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1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2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4" name="Rechteck 2">
            <a:extLst>
              <a:ext uri="{FF2B5EF4-FFF2-40B4-BE49-F238E27FC236}">
                <a16:creationId xmlns:a16="http://schemas.microsoft.com/office/drawing/2014/main" id="{D18E50B0-D0C2-4A7B-A563-97736050C317}"/>
              </a:ext>
            </a:extLst>
          </p:cNvPr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5" name="Rechteck 58">
            <a:extLst>
              <a:ext uri="{FF2B5EF4-FFF2-40B4-BE49-F238E27FC236}">
                <a16:creationId xmlns:a16="http://schemas.microsoft.com/office/drawing/2014/main" id="{E08B5633-7734-4A91-ABDE-F2E21809732A}"/>
              </a:ext>
            </a:extLst>
          </p:cNvPr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6" name="Rechteck 59">
            <a:extLst>
              <a:ext uri="{FF2B5EF4-FFF2-40B4-BE49-F238E27FC236}">
                <a16:creationId xmlns:a16="http://schemas.microsoft.com/office/drawing/2014/main" id="{30790101-92B1-4CE2-9DD6-40CD3E95235E}"/>
              </a:ext>
            </a:extLst>
          </p:cNvPr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E214CB0-B01B-47A3-9457-C196F2FF6A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117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2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3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vmlDrawing" Target="../drawings/vmlDrawing3.v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4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vmlDrawing" Target="../drawings/vmlDrawing4.v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5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vmlDrawing" Target="../drawings/vmlDrawing5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15467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9" imgW="353" imgH="353" progId="TCLayout.ActiveDocument.1">
                  <p:embed/>
                </p:oleObj>
              </mc:Choice>
              <mc:Fallback>
                <p:oleObj name="think-cell Folie" r:id="rId9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80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b="1" noProof="0" dirty="0">
                <a:solidFill>
                  <a:schemeClr val="tx2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Info </a:t>
            </a:r>
            <a:r>
              <a:rPr lang="en-US" sz="800" b="1" noProof="0" dirty="0" err="1">
                <a:solidFill>
                  <a:schemeClr val="tx2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Sapіens</a:t>
            </a:r>
            <a:r>
              <a:rPr lang="en-US" sz="800" baseline="0" noProof="0" dirty="0">
                <a:solidFill>
                  <a:schemeClr val="tx2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noProof="0" dirty="0">
                <a:solidFill>
                  <a:schemeClr val="tx2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|</a:t>
            </a:r>
            <a:r>
              <a:rPr lang="en-US" sz="800" noProof="0" dirty="0">
                <a:solidFill>
                  <a:schemeClr val="tx2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b="0" kern="1200" dirty="0">
                <a:solidFill>
                  <a:schemeClr val="tx2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Опитування</a:t>
            </a:r>
            <a:r>
              <a:rPr lang="en-US" sz="800" b="0" kern="1200" dirty="0">
                <a:solidFill>
                  <a:schemeClr val="tx2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b="0" kern="1200" dirty="0">
                <a:solidFill>
                  <a:schemeClr val="tx2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про ставлення українців до польської культури</a:t>
            </a:r>
            <a:endParaRPr lang="uk-UA" sz="800" b="0" kern="1200" noProof="0" dirty="0">
              <a:solidFill>
                <a:schemeClr val="tx2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600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Roboto" panose="02000000000000000000" pitchFamily="2" charset="0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620" userDrawn="1">
          <p15:clr>
            <a:srgbClr val="F26B43"/>
          </p15:clr>
        </p15:guide>
        <p15:guide id="6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8" imgW="353" imgH="353" progId="TCLayout.ActiveDocument.1">
                  <p:embed/>
                </p:oleObj>
              </mc:Choice>
              <mc:Fallback>
                <p:oleObj name="think-cell Folie" r:id="rId8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80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BC2E87-33EB-478A-988F-F7C865AFDA8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BDC3C7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BDC3C7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Info Sapіen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| Електоральні настрої мешканців Харківської області — вересень-жовтень 2020 р.</a:t>
            </a:r>
          </a:p>
        </p:txBody>
      </p:sp>
      <p:sp>
        <p:nvSpPr>
          <p:cNvPr id="4" name="VCT_Marker_ID_4" hidden="1"/>
          <p:cNvSpPr/>
          <p:nvPr>
            <p:custDataLst>
              <p:tags r:id="rId7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766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Roboto" panose="02000000000000000000" pitchFamily="2" charset="0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620">
          <p15:clr>
            <a:srgbClr val="F26B43"/>
          </p15:clr>
        </p15:guide>
        <p15:guide id="6" pos="2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8" imgW="353" imgH="353" progId="TCLayout.ActiveDocument.1">
                  <p:embed/>
                </p:oleObj>
              </mc:Choice>
              <mc:Fallback>
                <p:oleObj name="think-cell Folie" r:id="rId8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80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BC2E87-33EB-478A-988F-F7C865AFDA8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BDC3C7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BDC3C7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Info Sapіen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| Електоральні настрої мешканців Харківської області — вересень-жовтень 2020 р.</a:t>
            </a:r>
          </a:p>
        </p:txBody>
      </p:sp>
      <p:sp>
        <p:nvSpPr>
          <p:cNvPr id="4" name="VCT_Marker_ID_4" hidden="1"/>
          <p:cNvSpPr/>
          <p:nvPr>
            <p:custDataLst>
              <p:tags r:id="rId7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65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Roboto" panose="02000000000000000000" pitchFamily="2" charset="0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620">
          <p15:clr>
            <a:srgbClr val="F26B43"/>
          </p15:clr>
        </p15:guide>
        <p15:guide id="6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8" imgW="353" imgH="353" progId="TCLayout.ActiveDocument.1">
                  <p:embed/>
                </p:oleObj>
              </mc:Choice>
              <mc:Fallback>
                <p:oleObj name="think-cell Folie" r:id="rId8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80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BC2E87-33EB-478A-988F-F7C865AFDA8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BDC3C7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BDC3C7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Info Sapіen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| Електоральні настрої мешканців Харківської області — вересень-жовтень 2020 р.</a:t>
            </a:r>
          </a:p>
        </p:txBody>
      </p:sp>
      <p:sp>
        <p:nvSpPr>
          <p:cNvPr id="4" name="VCT_Marker_ID_4" hidden="1"/>
          <p:cNvSpPr/>
          <p:nvPr>
            <p:custDataLst>
              <p:tags r:id="rId7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979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Roboto" panose="02000000000000000000" pitchFamily="2" charset="0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620">
          <p15:clr>
            <a:srgbClr val="F26B43"/>
          </p15:clr>
        </p15:guide>
        <p15:guide id="6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8" imgW="353" imgH="353" progId="TCLayout.ActiveDocument.1">
                  <p:embed/>
                </p:oleObj>
              </mc:Choice>
              <mc:Fallback>
                <p:oleObj name="think-cell Folie" r:id="rId8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80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BC2E87-33EB-478A-988F-F7C865AFDA8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BDC3C7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BDC3C7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8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Info Sapіen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uk-UA" sz="800" b="0" i="0" u="none" strike="noStrike" kern="1200" cap="none" spc="0" normalizeH="0" baseline="0" noProof="0" dirty="0">
                <a:ln>
                  <a:noFill/>
                </a:ln>
                <a:solidFill>
                  <a:srgbClr val="7F8C8D"/>
                </a:solidFill>
                <a:effectLst/>
                <a:uLnTx/>
                <a:uFillTx/>
                <a:latin typeface="Tahoma"/>
                <a:ea typeface="Roboto" panose="02000000000000000000" pitchFamily="2" charset="0"/>
                <a:cs typeface="Times New Roman" panose="02020603050405020304" pitchFamily="18" charset="0"/>
              </a:rPr>
              <a:t>| Електоральні настрої мешканців Харківської області — вересень-жовтень 2020 р.</a:t>
            </a:r>
          </a:p>
        </p:txBody>
      </p:sp>
      <p:sp>
        <p:nvSpPr>
          <p:cNvPr id="4" name="VCT_Marker_ID_4" hidden="1"/>
          <p:cNvSpPr/>
          <p:nvPr>
            <p:custDataLst>
              <p:tags r:id="rId7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9971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Roboto" panose="02000000000000000000" pitchFamily="2" charset="0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Roboto" panose="02000000000000000000" pitchFamily="2" charset="0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1620">
          <p15:clr>
            <a:srgbClr val="F26B43"/>
          </p15:clr>
        </p15:guide>
        <p15:guide id="6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23849" y="1419537"/>
            <a:ext cx="8568751" cy="1008193"/>
          </a:xfrm>
        </p:spPr>
        <p:txBody>
          <a:bodyPr/>
          <a:lstStyle/>
          <a:p>
            <a:r>
              <a:rPr lang="uk-UA" sz="3000" dirty="0">
                <a:latin typeface="+mj-lt"/>
              </a:rPr>
              <a:t>Опитування</a:t>
            </a:r>
            <a:r>
              <a:rPr lang="en-US" sz="3000" dirty="0">
                <a:latin typeface="+mj-lt"/>
              </a:rPr>
              <a:t> </a:t>
            </a:r>
            <a:r>
              <a:rPr lang="uk-UA" sz="3000" dirty="0">
                <a:latin typeface="+mj-lt"/>
              </a:rPr>
              <a:t>про ставлення українців до польської культури</a:t>
            </a:r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23849" y="3363860"/>
            <a:ext cx="8496302" cy="935793"/>
          </a:xfrm>
        </p:spPr>
        <p:txBody>
          <a:bodyPr/>
          <a:lstStyle/>
          <a:p>
            <a:r>
              <a:rPr lang="uk-UA" sz="1200" i="1" dirty="0"/>
              <a:t>Проведено </a:t>
            </a:r>
            <a:r>
              <a:rPr lang="en-US" sz="1200" i="1" dirty="0"/>
              <a:t>Info Sapiens </a:t>
            </a:r>
            <a:r>
              <a:rPr lang="uk-UA" sz="1200" i="1" dirty="0"/>
              <a:t>на замовлення </a:t>
            </a:r>
            <a:r>
              <a:rPr lang="ru-RU" sz="1200" i="1" dirty="0"/>
              <a:t>Центру </a:t>
            </a:r>
            <a:r>
              <a:rPr lang="ru-RU" sz="1200" i="1" dirty="0" err="1"/>
              <a:t>діалогу</a:t>
            </a:r>
            <a:r>
              <a:rPr lang="ru-RU" sz="1200" i="1" dirty="0"/>
              <a:t> </a:t>
            </a:r>
            <a:r>
              <a:rPr lang="ru-RU" sz="1200" i="1" dirty="0" err="1"/>
              <a:t>ім</a:t>
            </a:r>
            <a:r>
              <a:rPr lang="ru-RU" sz="1200" i="1" dirty="0"/>
              <a:t>. Ю. </a:t>
            </a:r>
            <a:r>
              <a:rPr lang="ru-RU" sz="1200" i="1" dirty="0" err="1"/>
              <a:t>Мєрошевського</a:t>
            </a:r>
            <a:endParaRPr lang="ru-RU" sz="1200" i="1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323850" y="4011980"/>
            <a:ext cx="8496300" cy="216000"/>
          </a:xfrm>
        </p:spPr>
        <p:txBody>
          <a:bodyPr/>
          <a:lstStyle/>
          <a:p>
            <a:r>
              <a:rPr lang="ru-RU" dirty="0"/>
              <a:t>Контактна особа: </a:t>
            </a:r>
            <a:r>
              <a:rPr lang="uk-UA" dirty="0"/>
              <a:t>Інна Волосевич, </a:t>
            </a:r>
            <a:r>
              <a:rPr lang="en-US" dirty="0"/>
              <a:t>inna.volosevych@sapiens.com.ua</a:t>
            </a:r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11407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555470"/>
            <a:ext cx="6912959" cy="288040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uk-UA" sz="1600" b="1" dirty="0"/>
              <a:t>Культуру Польщі вважають найбільш цікавою серед європейських країн 43% українців (спонтанні відповіді). </a:t>
            </a:r>
            <a:br>
              <a:rPr lang="uk-UA" sz="1600" b="1" dirty="0"/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ультура яких європейських країн здається Вам найбільш цікавою?</a:t>
            </a:r>
            <a:endParaRPr lang="ru-RU" sz="1600" i="1" u="sng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2064037"/>
              </p:ext>
            </p:extLst>
          </p:nvPr>
        </p:nvGraphicFramePr>
        <p:xfrm>
          <a:off x="323410" y="1203560"/>
          <a:ext cx="8497179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746AF120-8AA2-C799-FDBE-B11128F300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6522901"/>
              </p:ext>
            </p:extLst>
          </p:nvPr>
        </p:nvGraphicFramePr>
        <p:xfrm>
          <a:off x="2699740" y="1264780"/>
          <a:ext cx="5976832" cy="3708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494208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494208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494208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  <a:gridCol w="1494208">
                  <a:extLst>
                    <a:ext uri="{9D8B030D-6E8A-4147-A177-3AD203B41FA5}">
                      <a16:colId xmlns:a16="http://schemas.microsoft.com/office/drawing/2014/main" val="1818648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личина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авобережжя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і регіони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4325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627480"/>
            <a:ext cx="6912959" cy="288040"/>
          </a:xfrm>
        </p:spPr>
        <p:txBody>
          <a:bodyPr/>
          <a:lstStyle/>
          <a:p>
            <a:r>
              <a:rPr lang="uk-UA" sz="1800" b="1" dirty="0"/>
              <a:t>72% вважають поляків найближчими для українців в культурному плані серед сусідніх народів. 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кий із сусідніх з Україною народів Ви вважаєте особливо близьким українцям у культурному плані?</a:t>
            </a:r>
            <a:endParaRPr lang="ru-RU" sz="1200" i="1" u="sng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01384974"/>
              </p:ext>
            </p:extLst>
          </p:nvPr>
        </p:nvGraphicFramePr>
        <p:xfrm>
          <a:off x="323410" y="1203560"/>
          <a:ext cx="8497179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746AF120-8AA2-C799-FDBE-B11128F300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8102407"/>
              </p:ext>
            </p:extLst>
          </p:nvPr>
        </p:nvGraphicFramePr>
        <p:xfrm>
          <a:off x="2699740" y="1264780"/>
          <a:ext cx="5976832" cy="3708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494208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494208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494208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  <a:gridCol w="1494208">
                  <a:extLst>
                    <a:ext uri="{9D8B030D-6E8A-4147-A177-3AD203B41FA5}">
                      <a16:colId xmlns:a16="http://schemas.microsoft.com/office/drawing/2014/main" val="1818648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личина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авобережжя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і регіони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01608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: округлені кути 2">
            <a:extLst>
              <a:ext uri="{FF2B5EF4-FFF2-40B4-BE49-F238E27FC236}">
                <a16:creationId xmlns:a16="http://schemas.microsoft.com/office/drawing/2014/main" id="{8E0EEC7B-841B-236B-D19E-D7B80297EBD8}"/>
              </a:ext>
            </a:extLst>
          </p:cNvPr>
          <p:cNvSpPr/>
          <p:nvPr/>
        </p:nvSpPr>
        <p:spPr bwMode="gray">
          <a:xfrm>
            <a:off x="539440" y="1347580"/>
            <a:ext cx="1584219" cy="3240450"/>
          </a:xfrm>
          <a:prstGeom prst="roundRect">
            <a:avLst>
              <a:gd name="adj" fmla="val 663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uk-UA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2007552"/>
              </p:ext>
            </p:extLst>
          </p:nvPr>
        </p:nvGraphicFramePr>
        <p:xfrm>
          <a:off x="107380" y="1203560"/>
          <a:ext cx="8929240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555470"/>
            <a:ext cx="7417029" cy="288040"/>
          </a:xfrm>
        </p:spPr>
        <p:txBody>
          <a:bodyPr/>
          <a:lstStyle/>
          <a:p>
            <a:r>
              <a:rPr lang="uk-UA" sz="1800" b="1" dirty="0"/>
              <a:t>Половина респондентів (50%) зазначили, що загалом мають інтерес до польської культури, ще 6% – є дуже зацікавленими. </a:t>
            </a:r>
            <a:r>
              <a:rPr lang="uk-UA" sz="1800" dirty="0"/>
              <a:t/>
            </a:r>
            <a:br>
              <a:rPr lang="uk-UA" sz="1800" dirty="0"/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скільки Ви цікавитеся польською культурою, наприклад, польськими книгами чи фільмами?</a:t>
            </a:r>
            <a:endParaRPr lang="uk-UA" i="1" u="sng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7694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627480"/>
            <a:ext cx="6912959" cy="288040"/>
          </a:xfrm>
        </p:spPr>
        <p:txBody>
          <a:bodyPr/>
          <a:lstStyle/>
          <a:p>
            <a:r>
              <a:rPr lang="uk-UA" sz="1800" b="1" dirty="0"/>
              <a:t>Найпопулярнішими джерелами інформації про Польщу є друзі і знайомі (49%) та інтернет (43%). </a:t>
            </a:r>
            <a:br>
              <a:rPr lang="uk-UA" sz="1800" b="1" dirty="0"/>
            </a:br>
            <a:r>
              <a:rPr lang="uk-UA" sz="1200" i="1" dirty="0">
                <a:solidFill>
                  <a:schemeClr val="tx2"/>
                </a:solidFill>
              </a:rPr>
              <a:t>Звідки Ви отримуєте інформацію про Польщу?</a:t>
            </a:r>
            <a:endParaRPr lang="uk-UA" i="1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86167980"/>
              </p:ext>
            </p:extLst>
          </p:nvPr>
        </p:nvGraphicFramePr>
        <p:xfrm>
          <a:off x="323410" y="1203560"/>
          <a:ext cx="8497179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746AF120-8AA2-C799-FDBE-B11128F300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390323"/>
              </p:ext>
            </p:extLst>
          </p:nvPr>
        </p:nvGraphicFramePr>
        <p:xfrm>
          <a:off x="2699739" y="1264780"/>
          <a:ext cx="6120848" cy="3708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530212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530212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530212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  <a:gridCol w="1530212">
                  <a:extLst>
                    <a:ext uri="{9D8B030D-6E8A-4147-A177-3AD203B41FA5}">
                      <a16:colId xmlns:a16="http://schemas.microsoft.com/office/drawing/2014/main" val="1818648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личина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авобережжя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і регіони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47969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: округлені кути 2">
            <a:extLst>
              <a:ext uri="{FF2B5EF4-FFF2-40B4-BE49-F238E27FC236}">
                <a16:creationId xmlns:a16="http://schemas.microsoft.com/office/drawing/2014/main" id="{AB8AA5F4-3871-EF10-0F3B-67DE924D4E5C}"/>
              </a:ext>
            </a:extLst>
          </p:cNvPr>
          <p:cNvSpPr/>
          <p:nvPr/>
        </p:nvSpPr>
        <p:spPr bwMode="gray">
          <a:xfrm>
            <a:off x="395420" y="3507880"/>
            <a:ext cx="8497180" cy="792110"/>
          </a:xfrm>
          <a:prstGeom prst="roundRect">
            <a:avLst>
              <a:gd name="adj" fmla="val 663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uk-UA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483460"/>
            <a:ext cx="7273009" cy="288040"/>
          </a:xfrm>
        </p:spPr>
        <p:txBody>
          <a:bodyPr/>
          <a:lstStyle/>
          <a:p>
            <a:r>
              <a:rPr lang="uk-UA" sz="1800" b="1" dirty="0"/>
              <a:t>Широко доступною польську культуру в Україні вважають 60% українців, проте вона доступна здебільшого завдяки репрезентації в ЗМІ і не представлена на глибшому рівні.</a:t>
            </a:r>
            <a:r>
              <a:rPr lang="uk-UA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 буду зачитувати Вам певні речення: скажіть, будь ласка, чи Ви з ними </a:t>
            </a:r>
            <a:r>
              <a:rPr lang="uk-UA" sz="1200" i="1" dirty="0">
                <a:solidFill>
                  <a:schemeClr val="tx2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годні</a:t>
            </a: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7" name="Объект 7">
            <a:extLst>
              <a:ext uri="{FF2B5EF4-FFF2-40B4-BE49-F238E27FC236}">
                <a16:creationId xmlns:a16="http://schemas.microsoft.com/office/drawing/2014/main" id="{258294B2-BC13-486A-B4D6-9AD39FD02D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2013914"/>
              </p:ext>
            </p:extLst>
          </p:nvPr>
        </p:nvGraphicFramePr>
        <p:xfrm>
          <a:off x="251400" y="1275570"/>
          <a:ext cx="8641200" cy="386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547162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411450"/>
            <a:ext cx="7128989" cy="288040"/>
          </a:xfrm>
        </p:spPr>
        <p:txBody>
          <a:bodyPr/>
          <a:lstStyle/>
          <a:p>
            <a:r>
              <a:rPr lang="uk-UA" sz="1500" b="1" dirty="0"/>
              <a:t>Майже половина опитаних (49%) змогли спонтанно назвати імена відомих поляків. Найчастіше згадували діючого президента Польщі – Анджея Дуду (22%).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ли Ви думаєте про Польщу, імена яких поляків спонтанно спадають Вам на думку?</a:t>
            </a:r>
            <a:endParaRPr lang="ru-RU" i="1" u="sng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0765042"/>
              </p:ext>
            </p:extLst>
          </p:nvPr>
        </p:nvGraphicFramePr>
        <p:xfrm>
          <a:off x="0" y="1059540"/>
          <a:ext cx="8820589" cy="3960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746AF120-8AA2-C799-FDBE-B11128F300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663331"/>
              </p:ext>
            </p:extLst>
          </p:nvPr>
        </p:nvGraphicFramePr>
        <p:xfrm>
          <a:off x="2555720" y="976740"/>
          <a:ext cx="5256732" cy="3708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314183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314183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404194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  <a:gridCol w="1224172">
                  <a:extLst>
                    <a:ext uri="{9D8B030D-6E8A-4147-A177-3AD203B41FA5}">
                      <a16:colId xmlns:a16="http://schemas.microsoft.com/office/drawing/2014/main" val="1818648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личина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авобережжя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і регіони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71214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483460"/>
            <a:ext cx="7273009" cy="288040"/>
          </a:xfrm>
        </p:spPr>
        <p:txBody>
          <a:bodyPr/>
          <a:lstStyle/>
          <a:p>
            <a:r>
              <a:rPr lang="uk-UA" sz="1600" b="1" dirty="0"/>
              <a:t>Серед діячів польської культури найбільш відомим серед українців є композитор і піаніст Фридерик Шопен. На «другому місці» – поет Адам Міцкевич</a:t>
            </a:r>
            <a:r>
              <a:rPr lang="uk-UA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 вам прочитаю короткий список поляків відомих в сфері культури. Скажіть, будь ласка, чи чули Ви про них?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7" name="Объект 7">
            <a:extLst>
              <a:ext uri="{FF2B5EF4-FFF2-40B4-BE49-F238E27FC236}">
                <a16:creationId xmlns:a16="http://schemas.microsoft.com/office/drawing/2014/main" id="{258294B2-BC13-486A-B4D6-9AD39FD02D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8932202"/>
              </p:ext>
            </p:extLst>
          </p:nvPr>
        </p:nvGraphicFramePr>
        <p:xfrm>
          <a:off x="251400" y="1275570"/>
          <a:ext cx="8641200" cy="3744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865299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C5E27310-2714-46B5-A85E-51DBFD11E3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0" y="1779588"/>
            <a:ext cx="7561050" cy="1439862"/>
          </a:xfrm>
        </p:spPr>
        <p:txBody>
          <a:bodyPr/>
          <a:lstStyle/>
          <a:p>
            <a:r>
              <a:rPr lang="uk-UA" dirty="0"/>
              <a:t>Ставлення до окремих питань щодо української та польської культури</a:t>
            </a:r>
          </a:p>
        </p:txBody>
      </p:sp>
    </p:spTree>
    <p:extLst>
      <p:ext uri="{BB962C8B-B14F-4D97-AF65-F5344CB8AC3E}">
        <p14:creationId xmlns:p14="http://schemas.microsoft.com/office/powerpoint/2010/main" val="33903047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555470"/>
            <a:ext cx="7273009" cy="288040"/>
          </a:xfrm>
        </p:spPr>
        <p:txBody>
          <a:bodyPr/>
          <a:lstStyle/>
          <a:p>
            <a:r>
              <a:rPr lang="uk-UA" sz="1800" b="1" dirty="0"/>
              <a:t>Українці мають переважно позитивні або нейтральні асоціації з термінами, пов'язаними з історією польсько-українських відносин.</a:t>
            </a:r>
            <a:r>
              <a:rPr lang="uk-UA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ажіть, будь ласка, чи терміни, які я Вам зараз зачитаю, викликають у Вас асоціації: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7" name="Объект 7">
            <a:extLst>
              <a:ext uri="{FF2B5EF4-FFF2-40B4-BE49-F238E27FC236}">
                <a16:creationId xmlns:a16="http://schemas.microsoft.com/office/drawing/2014/main" id="{258294B2-BC13-486A-B4D6-9AD39FD02D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9058390"/>
              </p:ext>
            </p:extLst>
          </p:nvPr>
        </p:nvGraphicFramePr>
        <p:xfrm>
          <a:off x="251400" y="1347580"/>
          <a:ext cx="8641200" cy="3795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935127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555470"/>
            <a:ext cx="7345019" cy="288040"/>
          </a:xfrm>
        </p:spPr>
        <p:txBody>
          <a:bodyPr/>
          <a:lstStyle/>
          <a:p>
            <a:r>
              <a:rPr lang="uk-UA" sz="1800" b="1" dirty="0"/>
              <a:t>Понад половину (65%) українців вважають римо-католицькі храми, палаци та замки в Правобережній Україні спільною культурною спадщиною українців та поляків.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ажіть, будь ласка, чи римо-католицькі храми, палаци та замки, які можна зустріти по всій Правобережній Україні, наприклад у Кам'янці-Подільському, переважно є: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19226343"/>
              </p:ext>
            </p:extLst>
          </p:nvPr>
        </p:nvGraphicFramePr>
        <p:xfrm>
          <a:off x="107380" y="1264780"/>
          <a:ext cx="8929240" cy="3611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C44857C4-73BC-2192-5A05-6BE5F7C303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595651"/>
              </p:ext>
            </p:extLst>
          </p:nvPr>
        </p:nvGraphicFramePr>
        <p:xfrm>
          <a:off x="2627730" y="1347580"/>
          <a:ext cx="6120852" cy="3708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530213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1818648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личина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авобережжя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і регіони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3108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06DA9D-C0E9-4B5E-AFB4-BD45457F0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/>
              <a:t>Методологі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85783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: округлені кути 2">
            <a:extLst>
              <a:ext uri="{FF2B5EF4-FFF2-40B4-BE49-F238E27FC236}">
                <a16:creationId xmlns:a16="http://schemas.microsoft.com/office/drawing/2014/main" id="{8E0EEC7B-841B-236B-D19E-D7B80297EBD8}"/>
              </a:ext>
            </a:extLst>
          </p:cNvPr>
          <p:cNvSpPr/>
          <p:nvPr/>
        </p:nvSpPr>
        <p:spPr bwMode="gray">
          <a:xfrm>
            <a:off x="539440" y="1347580"/>
            <a:ext cx="1584219" cy="3240450"/>
          </a:xfrm>
          <a:prstGeom prst="roundRect">
            <a:avLst>
              <a:gd name="adj" fmla="val 663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uk-UA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75681773"/>
              </p:ext>
            </p:extLst>
          </p:nvPr>
        </p:nvGraphicFramePr>
        <p:xfrm>
          <a:off x="107380" y="1203560"/>
          <a:ext cx="8929240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555470"/>
            <a:ext cx="7345019" cy="288040"/>
          </a:xfrm>
        </p:spPr>
        <p:txBody>
          <a:bodyPr/>
          <a:lstStyle/>
          <a:p>
            <a:r>
              <a:rPr lang="uk-UA" sz="1800" b="1" dirty="0"/>
              <a:t>Заміну у шкільній програмі Олександра Пушкіна на польського поета Адама Міцкевича скоріше або повністю підтримує переважна більшість українців (69%).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к Ви вважаєте, чи варто було б ввести до шкільної програми замість Олександра Пушкіна Адама Міцкевича - великого польського поета</a:t>
            </a:r>
            <a:r>
              <a:rPr lang="en-US" sz="1200" i="1" dirty="0">
                <a:solidFill>
                  <a:schemeClr val="tx2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?</a:t>
            </a:r>
            <a:endParaRPr lang="uk-UA" i="1" u="sng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8190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кутник: округлені кути 2">
            <a:extLst>
              <a:ext uri="{FF2B5EF4-FFF2-40B4-BE49-F238E27FC236}">
                <a16:creationId xmlns:a16="http://schemas.microsoft.com/office/drawing/2014/main" id="{8E0EEC7B-841B-236B-D19E-D7B80297EBD8}"/>
              </a:ext>
            </a:extLst>
          </p:cNvPr>
          <p:cNvSpPr/>
          <p:nvPr/>
        </p:nvSpPr>
        <p:spPr bwMode="gray">
          <a:xfrm>
            <a:off x="539440" y="1347580"/>
            <a:ext cx="1584219" cy="3240450"/>
          </a:xfrm>
          <a:prstGeom prst="roundRect">
            <a:avLst>
              <a:gd name="adj" fmla="val 6631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uk-UA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3825744"/>
              </p:ext>
            </p:extLst>
          </p:nvPr>
        </p:nvGraphicFramePr>
        <p:xfrm>
          <a:off x="107380" y="1203560"/>
          <a:ext cx="8929240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555470"/>
            <a:ext cx="7345019" cy="288040"/>
          </a:xfrm>
        </p:spPr>
        <p:txBody>
          <a:bodyPr/>
          <a:lstStyle/>
          <a:p>
            <a:r>
              <a:rPr lang="uk-UA" sz="1800" b="1" dirty="0"/>
              <a:t>Більшість з тих, хто бачи</a:t>
            </a:r>
            <a:r>
              <a:rPr lang="uk-UA" b="1" dirty="0"/>
              <a:t>в фільм «Вогнем і мечем»,</a:t>
            </a:r>
            <a:r>
              <a:rPr lang="uk-UA" sz="1800" b="1" dirty="0"/>
              <a:t> </a:t>
            </a:r>
            <a:r>
              <a:rPr lang="uk-UA" b="1" dirty="0"/>
              <a:t>оцінили його схвально</a:t>
            </a:r>
            <a:r>
              <a:rPr lang="uk-UA" sz="1800" b="1" dirty="0"/>
              <a:t>.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и бачили фільм Єжи Гофмана «Вогнем і мечем» про війну Речі Посполитої з козаками Хмельницького? Якщо так, то як Ви цей фільм оцінюєте?</a:t>
            </a:r>
            <a:endParaRPr lang="uk-UA" i="1" u="sng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2445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627480"/>
            <a:ext cx="7056979" cy="288040"/>
          </a:xfrm>
        </p:spPr>
        <p:txBody>
          <a:bodyPr/>
          <a:lstStyle/>
          <a:p>
            <a:r>
              <a:rPr lang="uk-UA" sz="1800" b="1" dirty="0"/>
              <a:t>21% опитаних вважають за доцільне використовувати в українській мові кириличну та латинську абетки паралельно.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Україні точиться дискусія про те, чи варто писати українською латинськими літерами. А яка є ваша думка з цього питання?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80063713"/>
              </p:ext>
            </p:extLst>
          </p:nvPr>
        </p:nvGraphicFramePr>
        <p:xfrm>
          <a:off x="107380" y="1203560"/>
          <a:ext cx="8929240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C44857C4-73BC-2192-5A05-6BE5F7C303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61221"/>
              </p:ext>
            </p:extLst>
          </p:nvPr>
        </p:nvGraphicFramePr>
        <p:xfrm>
          <a:off x="4211950" y="1264780"/>
          <a:ext cx="4536632" cy="3708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080150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224170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224170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  <a:gridCol w="1008142">
                  <a:extLst>
                    <a:ext uri="{9D8B030D-6E8A-4147-A177-3AD203B41FA5}">
                      <a16:colId xmlns:a16="http://schemas.microsoft.com/office/drawing/2014/main" val="1818648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личина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авобережжя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і регіони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98145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555470"/>
            <a:ext cx="7417029" cy="288040"/>
          </a:xfrm>
        </p:spPr>
        <p:txBody>
          <a:bodyPr/>
          <a:lstStyle/>
          <a:p>
            <a:r>
              <a:rPr lang="uk-UA" sz="1800" b="1" dirty="0"/>
              <a:t>Російськомовні респонденти частіше сприймали слово «руський» як те саме що і «російський» – 41%</a:t>
            </a:r>
            <a:r>
              <a:rPr lang="en-US" b="1" dirty="0"/>
              <a:t>. </a:t>
            </a:r>
            <a:r>
              <a:rPr lang="uk-UA" b="1" dirty="0"/>
              <a:t>Ще </a:t>
            </a:r>
            <a:r>
              <a:rPr lang="uk-UA" sz="1800" b="1" dirty="0"/>
              <a:t>8% з них зрозуміли цей термін як позначення етнічних росіян.</a:t>
            </a:r>
            <a:r>
              <a:rPr lang="en-US" sz="1800" b="1" dirty="0"/>
              <a:t>*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ажіть, будь ласка, що для Вас означає термін 'руський’?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30584"/>
              </p:ext>
            </p:extLst>
          </p:nvPr>
        </p:nvGraphicFramePr>
        <p:xfrm>
          <a:off x="107380" y="1203560"/>
          <a:ext cx="8929240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C44857C4-73BC-2192-5A05-6BE5F7C303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8546930"/>
              </p:ext>
            </p:extLst>
          </p:nvPr>
        </p:nvGraphicFramePr>
        <p:xfrm>
          <a:off x="4211950" y="1264780"/>
          <a:ext cx="4752660" cy="41148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512210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656230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584220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терв'ю українською</a:t>
                      </a:r>
                    </a:p>
                    <a:p>
                      <a:pPr algn="ctr" fontAlgn="ctr"/>
                      <a:r>
                        <a:rPr lang="en-US" sz="1000" b="0" i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 = 857</a:t>
                      </a:r>
                      <a:endParaRPr lang="uk-UA" sz="1000" b="0" i="1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терв'ю російською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US" sz="1000" b="0" i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 = 159</a:t>
                      </a:r>
                      <a:endParaRPr lang="uk-UA" sz="1000" b="0" i="1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1AB5C087-885D-A754-E9DE-73CA78BABFC4}"/>
              </a:ext>
            </a:extLst>
          </p:cNvPr>
          <p:cNvSpPr txBox="1"/>
          <p:nvPr/>
        </p:nvSpPr>
        <p:spPr bwMode="gray">
          <a:xfrm>
            <a:off x="323411" y="4578748"/>
            <a:ext cx="86411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  <a:cs typeface="Arial" pitchFamily="34" charset="0"/>
              </a:rPr>
              <a:t>* </a:t>
            </a:r>
            <a:r>
              <a:rPr lang="uk-UA" sz="800" dirty="0">
                <a:solidFill>
                  <a:schemeClr val="tx2"/>
                </a:solidFill>
                <a:cs typeface="Arial" pitchFamily="34" charset="0"/>
              </a:rPr>
              <a:t>Особливості перекладу могли спричинити відмінності у відповідях. У версії анкети російською мовою запитання було сформульовано як «</a:t>
            </a:r>
            <a:r>
              <a:rPr lang="ru-RU" sz="800" i="1" dirty="0">
                <a:solidFill>
                  <a:schemeClr val="tx2"/>
                </a:solidFill>
                <a:cs typeface="Arial" pitchFamily="34" charset="0"/>
              </a:rPr>
              <a:t>Скажите, пожалуйста, что для Вас означает термин "русский"?</a:t>
            </a:r>
            <a:r>
              <a:rPr lang="uk-UA" sz="800" dirty="0">
                <a:solidFill>
                  <a:schemeClr val="tx2"/>
                </a:solidFill>
                <a:cs typeface="Arial" pitchFamily="34" charset="0"/>
              </a:rPr>
              <a:t>». </a:t>
            </a:r>
            <a:endParaRPr lang="en-US" sz="800" dirty="0">
              <a:solidFill>
                <a:schemeClr val="tx2"/>
              </a:solidFill>
              <a:cs typeface="Arial" pitchFamily="34" charset="0"/>
            </a:endParaRPr>
          </a:p>
          <a:p>
            <a:r>
              <a:rPr lang="uk-UA" sz="800" dirty="0">
                <a:solidFill>
                  <a:schemeClr val="tx2"/>
                </a:solidFill>
                <a:cs typeface="Arial" pitchFamily="34" charset="0"/>
              </a:rPr>
              <a:t>Частка російськомовних інтерв'ю у вибірці загалом складає 16% (</a:t>
            </a:r>
            <a:r>
              <a:rPr lang="uk-UA" sz="800" dirty="0" err="1">
                <a:solidFill>
                  <a:schemeClr val="tx2"/>
                </a:solidFill>
                <a:cs typeface="Arial" pitchFamily="34" charset="0"/>
              </a:rPr>
              <a:t>n</a:t>
            </a:r>
            <a:r>
              <a:rPr lang="en-US" sz="800" dirty="0">
                <a:solidFill>
                  <a:schemeClr val="tx2"/>
                </a:solidFill>
                <a:cs typeface="Arial" pitchFamily="34" charset="0"/>
              </a:rPr>
              <a:t> = 159)</a:t>
            </a:r>
            <a:r>
              <a:rPr lang="uk-UA" sz="800" dirty="0">
                <a:solidFill>
                  <a:schemeClr val="tx2"/>
                </a:solidFill>
                <a:cs typeface="Arial" pitchFamily="34" charset="0"/>
              </a:rPr>
              <a:t>. В Галичині – 0%, на Правобережжі – 7%</a:t>
            </a:r>
            <a:r>
              <a:rPr lang="en-US" sz="800" dirty="0">
                <a:solidFill>
                  <a:schemeClr val="tx2"/>
                </a:solidFill>
                <a:cs typeface="Arial" pitchFamily="34" charset="0"/>
              </a:rPr>
              <a:t> (n = 22)</a:t>
            </a:r>
            <a:r>
              <a:rPr lang="uk-UA" sz="800" dirty="0">
                <a:solidFill>
                  <a:schemeClr val="tx2"/>
                </a:solidFill>
                <a:cs typeface="Arial" pitchFamily="34" charset="0"/>
              </a:rPr>
              <a:t>, в інших регіонах –24%</a:t>
            </a:r>
            <a:r>
              <a:rPr lang="en-US" sz="800" dirty="0">
                <a:solidFill>
                  <a:schemeClr val="tx2"/>
                </a:solidFill>
                <a:cs typeface="Arial" pitchFamily="34" charset="0"/>
              </a:rPr>
              <a:t> (n = 137)</a:t>
            </a:r>
            <a:r>
              <a:rPr lang="uk-UA" sz="800" dirty="0">
                <a:solidFill>
                  <a:schemeClr val="tx2"/>
                </a:solidFill>
                <a:cs typeface="Arial" pitchFamily="34" charset="0"/>
              </a:rPr>
              <a:t>.</a:t>
            </a:r>
            <a:endParaRPr lang="en-UA" sz="800" dirty="0" err="1">
              <a:solidFill>
                <a:schemeClr val="tx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697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FE8BC9-E6C7-4A14-B357-A51B9A4981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0" y="267430"/>
            <a:ext cx="7056979" cy="288040"/>
          </a:xfrm>
        </p:spPr>
        <p:txBody>
          <a:bodyPr/>
          <a:lstStyle/>
          <a:p>
            <a:r>
              <a:rPr lang="uk-UA"/>
              <a:t>Методологія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D0613B6-BB11-4BA5-A492-F900C2535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390" y="771500"/>
            <a:ext cx="3794129" cy="3928520"/>
          </a:xfrm>
        </p:spPr>
        <p:txBody>
          <a:bodyPr/>
          <a:lstStyle/>
          <a:p>
            <a:pPr marL="269875" indent="-171450">
              <a:buClr>
                <a:schemeClr val="accent5"/>
              </a:buClr>
              <a:buSzPct val="131000"/>
              <a:buFont typeface="Arial" panose="020B0604020202020204" pitchFamily="34" charset="0"/>
              <a:buChar char="•"/>
            </a:pPr>
            <a:r>
              <a:rPr lang="uk-UA" sz="1100" dirty="0"/>
              <a:t>Обсяг вибірки: </a:t>
            </a:r>
            <a:r>
              <a:rPr lang="uk-UA" sz="1100" b="1" dirty="0"/>
              <a:t>10</a:t>
            </a:r>
            <a:r>
              <a:rPr lang="en-US" sz="1100" b="1" dirty="0"/>
              <a:t>1</a:t>
            </a:r>
            <a:r>
              <a:rPr lang="uk-UA" sz="1100" b="1" dirty="0"/>
              <a:t>6</a:t>
            </a:r>
            <a:r>
              <a:rPr lang="uk-UA" sz="1100" dirty="0"/>
              <a:t> інтерв’ю.</a:t>
            </a:r>
          </a:p>
          <a:p>
            <a:pPr marL="269875" indent="-171450">
              <a:buClr>
                <a:schemeClr val="accent5"/>
              </a:buClr>
              <a:buSzPct val="131000"/>
              <a:buFont typeface="Arial" panose="020B0604020202020204" pitchFamily="34" charset="0"/>
              <a:buChar char="•"/>
            </a:pPr>
            <a:r>
              <a:rPr lang="uk-UA" sz="1100" dirty="0"/>
              <a:t>Респонденти: доросле населення України (старше 18 років).</a:t>
            </a:r>
          </a:p>
          <a:p>
            <a:pPr marL="269875" indent="-171450">
              <a:buClr>
                <a:schemeClr val="accent5"/>
              </a:buClr>
              <a:buSzPct val="131000"/>
              <a:buFont typeface="Arial" panose="020B0604020202020204" pitchFamily="34" charset="0"/>
              <a:buChar char="•"/>
            </a:pPr>
            <a:r>
              <a:rPr lang="uk-UA" sz="1100" dirty="0"/>
              <a:t>Спосіб проведення: телефонні інтервʼю з дзвінками на номери мобільних телефонів за допомогою комп'ютеру (</a:t>
            </a:r>
            <a:r>
              <a:rPr lang="uk-UA" sz="1100" b="1" dirty="0" err="1"/>
              <a:t>САТІ</a:t>
            </a:r>
            <a:r>
              <a:rPr lang="uk-UA" sz="1100" dirty="0"/>
              <a:t>).</a:t>
            </a:r>
          </a:p>
          <a:p>
            <a:pPr marL="269875" indent="-171450">
              <a:buClr>
                <a:schemeClr val="accent5"/>
              </a:buClr>
              <a:buSzPct val="131000"/>
              <a:buFont typeface="Arial" panose="020B0604020202020204" pitchFamily="34" charset="0"/>
              <a:buChar char="•"/>
            </a:pPr>
            <a:r>
              <a:rPr lang="uk-UA" sz="1100" dirty="0"/>
              <a:t>Опитування проводилося </a:t>
            </a:r>
            <a:r>
              <a:rPr lang="en-US" sz="1100" b="1" dirty="0"/>
              <a:t>20 </a:t>
            </a:r>
            <a:r>
              <a:rPr lang="uk-UA" sz="1100" b="1" dirty="0"/>
              <a:t>жовтня - 8 листопада 2022 р. </a:t>
            </a:r>
            <a:endParaRPr lang="uk-UA" sz="1100" dirty="0"/>
          </a:p>
          <a:p>
            <a:pPr marL="269875" indent="-171450">
              <a:buClr>
                <a:schemeClr val="accent5"/>
              </a:buClr>
              <a:buSzPct val="131000"/>
              <a:buFont typeface="Arial" panose="020B0604020202020204" pitchFamily="34" charset="0"/>
              <a:buChar char="•"/>
            </a:pPr>
            <a:r>
              <a:rPr lang="uk-UA" sz="1100" dirty="0"/>
              <a:t>Географія:  </a:t>
            </a:r>
            <a:r>
              <a:rPr lang="uk-UA" sz="1100" b="1" dirty="0"/>
              <a:t>Україна</a:t>
            </a:r>
            <a:r>
              <a:rPr lang="uk-UA" sz="1100" dirty="0"/>
              <a:t> (опитування не проводилося у АР Крим, м. Севастополь, а також інших тимчасово окупованих Росією територіях України, де українські оператори не надають послуги мобільного телефонного зв’язку. Також опитування не включає українців, які виїхали за кордон). </a:t>
            </a:r>
          </a:p>
          <a:p>
            <a:pPr marL="269875" indent="-171450">
              <a:buClr>
                <a:schemeClr val="accent5"/>
              </a:buClr>
              <a:buSzPct val="131000"/>
              <a:buFont typeface="Arial" panose="020B0604020202020204" pitchFamily="34" charset="0"/>
              <a:buChar char="•"/>
            </a:pPr>
            <a:r>
              <a:rPr lang="uk-UA" sz="1100" dirty="0"/>
              <a:t>Для даного дослідження ми виділили регіони, які мали багатовікові історичні зв’язки з Польщею, – це Галичина і Правобережжя (без Галичини, Закарпаття та Буковини). Далі у звіті бази відповідей дорівнюють наведеним на графіку.</a:t>
            </a:r>
          </a:p>
          <a:p>
            <a:pPr marL="98425" indent="0">
              <a:spcBef>
                <a:spcPts val="0"/>
              </a:spcBef>
              <a:buClr>
                <a:schemeClr val="accent5"/>
              </a:buClr>
              <a:buSzPct val="131000"/>
              <a:buNone/>
            </a:pPr>
            <a:endParaRPr lang="en-US" sz="1100" dirty="0"/>
          </a:p>
          <a:p>
            <a:pPr marL="98425" indent="0">
              <a:buClr>
                <a:schemeClr val="accent5"/>
              </a:buClr>
              <a:buSzPct val="131000"/>
              <a:buNone/>
            </a:pPr>
            <a:r>
              <a:rPr lang="uk-UA" sz="1100" dirty="0"/>
              <a:t> </a:t>
            </a:r>
          </a:p>
        </p:txBody>
      </p:sp>
      <p:grpSp>
        <p:nvGrpSpPr>
          <p:cNvPr id="4" name="Группа 94">
            <a:extLst>
              <a:ext uri="{FF2B5EF4-FFF2-40B4-BE49-F238E27FC236}">
                <a16:creationId xmlns:a16="http://schemas.microsoft.com/office/drawing/2014/main" id="{5230C941-E11A-E113-1C02-D2D5D08FB50F}"/>
              </a:ext>
            </a:extLst>
          </p:cNvPr>
          <p:cNvGrpSpPr/>
          <p:nvPr/>
        </p:nvGrpSpPr>
        <p:grpSpPr>
          <a:xfrm>
            <a:off x="4067930" y="1306261"/>
            <a:ext cx="5009440" cy="3281769"/>
            <a:chOff x="3995920" y="1538074"/>
            <a:chExt cx="5009440" cy="3281769"/>
          </a:xfrm>
        </p:grpSpPr>
        <p:grpSp>
          <p:nvGrpSpPr>
            <p:cNvPr id="5" name="Группа 95">
              <a:extLst>
                <a:ext uri="{FF2B5EF4-FFF2-40B4-BE49-F238E27FC236}">
                  <a16:creationId xmlns:a16="http://schemas.microsoft.com/office/drawing/2014/main" id="{393923F7-C7A0-F2E6-5DA8-8B25124AE896}"/>
                </a:ext>
              </a:extLst>
            </p:cNvPr>
            <p:cNvGrpSpPr/>
            <p:nvPr/>
          </p:nvGrpSpPr>
          <p:grpSpPr>
            <a:xfrm>
              <a:off x="3995920" y="1563610"/>
              <a:ext cx="5009440" cy="3256233"/>
              <a:chOff x="433675" y="1694374"/>
              <a:chExt cx="5009440" cy="3256233"/>
            </a:xfrm>
          </p:grpSpPr>
          <p:sp>
            <p:nvSpPr>
              <p:cNvPr id="13" name="Freeform 506">
                <a:extLst>
                  <a:ext uri="{FF2B5EF4-FFF2-40B4-BE49-F238E27FC236}">
                    <a16:creationId xmlns:a16="http://schemas.microsoft.com/office/drawing/2014/main" id="{A2D9F552-0334-0A87-F628-033EB738070D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4409390" y="2833849"/>
                <a:ext cx="759678" cy="960120"/>
              </a:xfrm>
              <a:custGeom>
                <a:avLst/>
                <a:gdLst>
                  <a:gd name="T0" fmla="*/ 2147483647 w 489"/>
                  <a:gd name="T1" fmla="*/ 2147483647 h 645"/>
                  <a:gd name="T2" fmla="*/ 2147483647 w 489"/>
                  <a:gd name="T3" fmla="*/ 2147483647 h 645"/>
                  <a:gd name="T4" fmla="*/ 2147483647 w 489"/>
                  <a:gd name="T5" fmla="*/ 2147483647 h 645"/>
                  <a:gd name="T6" fmla="*/ 2147483647 w 489"/>
                  <a:gd name="T7" fmla="*/ 2147483647 h 645"/>
                  <a:gd name="T8" fmla="*/ 2147483647 w 489"/>
                  <a:gd name="T9" fmla="*/ 2147483647 h 645"/>
                  <a:gd name="T10" fmla="*/ 2147483647 w 489"/>
                  <a:gd name="T11" fmla="*/ 2147483647 h 645"/>
                  <a:gd name="T12" fmla="*/ 2147483647 w 489"/>
                  <a:gd name="T13" fmla="*/ 2147483647 h 645"/>
                  <a:gd name="T14" fmla="*/ 2147483647 w 489"/>
                  <a:gd name="T15" fmla="*/ 2147483647 h 645"/>
                  <a:gd name="T16" fmla="*/ 2147483647 w 489"/>
                  <a:gd name="T17" fmla="*/ 2147483647 h 645"/>
                  <a:gd name="T18" fmla="*/ 2147483647 w 489"/>
                  <a:gd name="T19" fmla="*/ 2147483647 h 645"/>
                  <a:gd name="T20" fmla="*/ 2147483647 w 489"/>
                  <a:gd name="T21" fmla="*/ 2147483647 h 645"/>
                  <a:gd name="T22" fmla="*/ 2147483647 w 489"/>
                  <a:gd name="T23" fmla="*/ 2147483647 h 645"/>
                  <a:gd name="T24" fmla="*/ 2147483647 w 489"/>
                  <a:gd name="T25" fmla="*/ 2147483647 h 645"/>
                  <a:gd name="T26" fmla="*/ 2147483647 w 489"/>
                  <a:gd name="T27" fmla="*/ 2147483647 h 645"/>
                  <a:gd name="T28" fmla="*/ 2147483647 w 489"/>
                  <a:gd name="T29" fmla="*/ 2147483647 h 645"/>
                  <a:gd name="T30" fmla="*/ 2147483647 w 489"/>
                  <a:gd name="T31" fmla="*/ 2147483647 h 645"/>
                  <a:gd name="T32" fmla="*/ 2147483647 w 489"/>
                  <a:gd name="T33" fmla="*/ 2147483647 h 645"/>
                  <a:gd name="T34" fmla="*/ 2147483647 w 489"/>
                  <a:gd name="T35" fmla="*/ 2147483647 h 645"/>
                  <a:gd name="T36" fmla="*/ 2147483647 w 489"/>
                  <a:gd name="T37" fmla="*/ 2147483647 h 645"/>
                  <a:gd name="T38" fmla="*/ 2147483647 w 489"/>
                  <a:gd name="T39" fmla="*/ 2147483647 h 645"/>
                  <a:gd name="T40" fmla="*/ 2147483647 w 489"/>
                  <a:gd name="T41" fmla="*/ 2147483647 h 645"/>
                  <a:gd name="T42" fmla="*/ 2147483647 w 489"/>
                  <a:gd name="T43" fmla="*/ 2147483647 h 645"/>
                  <a:gd name="T44" fmla="*/ 2147483647 w 489"/>
                  <a:gd name="T45" fmla="*/ 2147483647 h 645"/>
                  <a:gd name="T46" fmla="*/ 2147483647 w 489"/>
                  <a:gd name="T47" fmla="*/ 2147483647 h 645"/>
                  <a:gd name="T48" fmla="*/ 2147483647 w 489"/>
                  <a:gd name="T49" fmla="*/ 2147483647 h 645"/>
                  <a:gd name="T50" fmla="*/ 2147483647 w 489"/>
                  <a:gd name="T51" fmla="*/ 2147483647 h 645"/>
                  <a:gd name="T52" fmla="*/ 2147483647 w 489"/>
                  <a:gd name="T53" fmla="*/ 2147483647 h 645"/>
                  <a:gd name="T54" fmla="*/ 2147483647 w 489"/>
                  <a:gd name="T55" fmla="*/ 2147483647 h 645"/>
                  <a:gd name="T56" fmla="*/ 2147483647 w 489"/>
                  <a:gd name="T57" fmla="*/ 2147483647 h 645"/>
                  <a:gd name="T58" fmla="*/ 2147483647 w 489"/>
                  <a:gd name="T59" fmla="*/ 2147483647 h 645"/>
                  <a:gd name="T60" fmla="*/ 2147483647 w 489"/>
                  <a:gd name="T61" fmla="*/ 2147483647 h 645"/>
                  <a:gd name="T62" fmla="*/ 2147483647 w 489"/>
                  <a:gd name="T63" fmla="*/ 2147483647 h 645"/>
                  <a:gd name="T64" fmla="*/ 2147483647 w 489"/>
                  <a:gd name="T65" fmla="*/ 2147483647 h 645"/>
                  <a:gd name="T66" fmla="*/ 2147483647 w 489"/>
                  <a:gd name="T67" fmla="*/ 2147483647 h 645"/>
                  <a:gd name="T68" fmla="*/ 2147483647 w 489"/>
                  <a:gd name="T69" fmla="*/ 2147483647 h 645"/>
                  <a:gd name="T70" fmla="*/ 2147483647 w 489"/>
                  <a:gd name="T71" fmla="*/ 2147483647 h 645"/>
                  <a:gd name="T72" fmla="*/ 2147483647 w 489"/>
                  <a:gd name="T73" fmla="*/ 2147483647 h 645"/>
                  <a:gd name="T74" fmla="*/ 2147483647 w 489"/>
                  <a:gd name="T75" fmla="*/ 2147483647 h 645"/>
                  <a:gd name="T76" fmla="*/ 2147483647 w 489"/>
                  <a:gd name="T77" fmla="*/ 2147483647 h 645"/>
                  <a:gd name="T78" fmla="*/ 2147483647 w 489"/>
                  <a:gd name="T79" fmla="*/ 2147483647 h 645"/>
                  <a:gd name="T80" fmla="*/ 2147483647 w 489"/>
                  <a:gd name="T81" fmla="*/ 2147483647 h 645"/>
                  <a:gd name="T82" fmla="*/ 2147483647 w 489"/>
                  <a:gd name="T83" fmla="*/ 2147483647 h 645"/>
                  <a:gd name="T84" fmla="*/ 2147483647 w 489"/>
                  <a:gd name="T85" fmla="*/ 2147483647 h 645"/>
                  <a:gd name="T86" fmla="*/ 2147483647 w 489"/>
                  <a:gd name="T87" fmla="*/ 2147483647 h 645"/>
                  <a:gd name="T88" fmla="*/ 2147483647 w 489"/>
                  <a:gd name="T89" fmla="*/ 2147483647 h 645"/>
                  <a:gd name="T90" fmla="*/ 2147483647 w 489"/>
                  <a:gd name="T91" fmla="*/ 2147483647 h 645"/>
                  <a:gd name="T92" fmla="*/ 2147483647 w 489"/>
                  <a:gd name="T93" fmla="*/ 2147483647 h 645"/>
                  <a:gd name="T94" fmla="*/ 2147483647 w 489"/>
                  <a:gd name="T95" fmla="*/ 2147483647 h 645"/>
                  <a:gd name="T96" fmla="*/ 2147483647 w 489"/>
                  <a:gd name="T97" fmla="*/ 2147483647 h 645"/>
                  <a:gd name="T98" fmla="*/ 2147483647 w 489"/>
                  <a:gd name="T99" fmla="*/ 2147483647 h 645"/>
                  <a:gd name="T100" fmla="*/ 2147483647 w 489"/>
                  <a:gd name="T101" fmla="*/ 2147483647 h 645"/>
                  <a:gd name="T102" fmla="*/ 2147483647 w 489"/>
                  <a:gd name="T103" fmla="*/ 2147483647 h 645"/>
                  <a:gd name="T104" fmla="*/ 2147483647 w 489"/>
                  <a:gd name="T105" fmla="*/ 2147483647 h 645"/>
                  <a:gd name="T106" fmla="*/ 2147483647 w 489"/>
                  <a:gd name="T107" fmla="*/ 2147483647 h 645"/>
                  <a:gd name="T108" fmla="*/ 2147483647 w 489"/>
                  <a:gd name="T109" fmla="*/ 2147483647 h 645"/>
                  <a:gd name="T110" fmla="*/ 2147483647 w 489"/>
                  <a:gd name="T111" fmla="*/ 2147483647 h 645"/>
                  <a:gd name="T112" fmla="*/ 2147483647 w 489"/>
                  <a:gd name="T113" fmla="*/ 2147483647 h 645"/>
                  <a:gd name="T114" fmla="*/ 2147483647 w 489"/>
                  <a:gd name="T115" fmla="*/ 2147483647 h 645"/>
                  <a:gd name="T116" fmla="*/ 2147483647 w 489"/>
                  <a:gd name="T117" fmla="*/ 2147483647 h 64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89"/>
                  <a:gd name="T178" fmla="*/ 0 h 645"/>
                  <a:gd name="T179" fmla="*/ 489 w 489"/>
                  <a:gd name="T180" fmla="*/ 645 h 645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89" h="645">
                    <a:moveTo>
                      <a:pt x="247" y="645"/>
                    </a:moveTo>
                    <a:lnTo>
                      <a:pt x="237" y="640"/>
                    </a:lnTo>
                    <a:lnTo>
                      <a:pt x="247" y="619"/>
                    </a:lnTo>
                    <a:lnTo>
                      <a:pt x="247" y="624"/>
                    </a:lnTo>
                    <a:lnTo>
                      <a:pt x="252" y="614"/>
                    </a:lnTo>
                    <a:lnTo>
                      <a:pt x="242" y="609"/>
                    </a:lnTo>
                    <a:lnTo>
                      <a:pt x="242" y="599"/>
                    </a:lnTo>
                    <a:lnTo>
                      <a:pt x="237" y="594"/>
                    </a:lnTo>
                    <a:lnTo>
                      <a:pt x="232" y="604"/>
                    </a:lnTo>
                    <a:lnTo>
                      <a:pt x="217" y="599"/>
                    </a:lnTo>
                    <a:lnTo>
                      <a:pt x="217" y="594"/>
                    </a:lnTo>
                    <a:lnTo>
                      <a:pt x="217" y="589"/>
                    </a:lnTo>
                    <a:lnTo>
                      <a:pt x="212" y="589"/>
                    </a:lnTo>
                    <a:lnTo>
                      <a:pt x="207" y="589"/>
                    </a:lnTo>
                    <a:lnTo>
                      <a:pt x="207" y="584"/>
                    </a:lnTo>
                    <a:lnTo>
                      <a:pt x="202" y="584"/>
                    </a:lnTo>
                    <a:lnTo>
                      <a:pt x="197" y="584"/>
                    </a:lnTo>
                    <a:lnTo>
                      <a:pt x="192" y="584"/>
                    </a:lnTo>
                    <a:lnTo>
                      <a:pt x="187" y="584"/>
                    </a:lnTo>
                    <a:lnTo>
                      <a:pt x="182" y="579"/>
                    </a:lnTo>
                    <a:lnTo>
                      <a:pt x="187" y="579"/>
                    </a:lnTo>
                    <a:lnTo>
                      <a:pt x="187" y="574"/>
                    </a:lnTo>
                    <a:lnTo>
                      <a:pt x="192" y="574"/>
                    </a:lnTo>
                    <a:lnTo>
                      <a:pt x="202" y="574"/>
                    </a:lnTo>
                    <a:lnTo>
                      <a:pt x="182" y="544"/>
                    </a:lnTo>
                    <a:lnTo>
                      <a:pt x="187" y="539"/>
                    </a:lnTo>
                    <a:lnTo>
                      <a:pt x="187" y="544"/>
                    </a:lnTo>
                    <a:lnTo>
                      <a:pt x="197" y="539"/>
                    </a:lnTo>
                    <a:lnTo>
                      <a:pt x="202" y="539"/>
                    </a:lnTo>
                    <a:lnTo>
                      <a:pt x="207" y="534"/>
                    </a:lnTo>
                    <a:lnTo>
                      <a:pt x="207" y="529"/>
                    </a:lnTo>
                    <a:lnTo>
                      <a:pt x="212" y="529"/>
                    </a:lnTo>
                    <a:lnTo>
                      <a:pt x="207" y="519"/>
                    </a:lnTo>
                    <a:lnTo>
                      <a:pt x="212" y="514"/>
                    </a:lnTo>
                    <a:lnTo>
                      <a:pt x="222" y="524"/>
                    </a:lnTo>
                    <a:lnTo>
                      <a:pt x="227" y="519"/>
                    </a:lnTo>
                    <a:lnTo>
                      <a:pt x="222" y="514"/>
                    </a:lnTo>
                    <a:lnTo>
                      <a:pt x="222" y="488"/>
                    </a:lnTo>
                    <a:lnTo>
                      <a:pt x="217" y="488"/>
                    </a:lnTo>
                    <a:lnTo>
                      <a:pt x="212" y="488"/>
                    </a:lnTo>
                    <a:lnTo>
                      <a:pt x="212" y="483"/>
                    </a:lnTo>
                    <a:lnTo>
                      <a:pt x="207" y="483"/>
                    </a:lnTo>
                    <a:lnTo>
                      <a:pt x="207" y="493"/>
                    </a:lnTo>
                    <a:lnTo>
                      <a:pt x="192" y="493"/>
                    </a:lnTo>
                    <a:lnTo>
                      <a:pt x="172" y="478"/>
                    </a:lnTo>
                    <a:lnTo>
                      <a:pt x="172" y="483"/>
                    </a:lnTo>
                    <a:lnTo>
                      <a:pt x="167" y="478"/>
                    </a:lnTo>
                    <a:lnTo>
                      <a:pt x="162" y="478"/>
                    </a:lnTo>
                    <a:lnTo>
                      <a:pt x="152" y="488"/>
                    </a:lnTo>
                    <a:lnTo>
                      <a:pt x="137" y="473"/>
                    </a:lnTo>
                    <a:lnTo>
                      <a:pt x="126" y="483"/>
                    </a:lnTo>
                    <a:lnTo>
                      <a:pt x="126" y="478"/>
                    </a:lnTo>
                    <a:lnTo>
                      <a:pt x="121" y="473"/>
                    </a:lnTo>
                    <a:lnTo>
                      <a:pt x="116" y="478"/>
                    </a:lnTo>
                    <a:lnTo>
                      <a:pt x="116" y="473"/>
                    </a:lnTo>
                    <a:lnTo>
                      <a:pt x="116" y="468"/>
                    </a:lnTo>
                    <a:lnTo>
                      <a:pt x="121" y="468"/>
                    </a:lnTo>
                    <a:lnTo>
                      <a:pt x="126" y="463"/>
                    </a:lnTo>
                    <a:lnTo>
                      <a:pt x="121" y="458"/>
                    </a:lnTo>
                    <a:lnTo>
                      <a:pt x="111" y="468"/>
                    </a:lnTo>
                    <a:lnTo>
                      <a:pt x="101" y="453"/>
                    </a:lnTo>
                    <a:lnTo>
                      <a:pt x="91" y="443"/>
                    </a:lnTo>
                    <a:lnTo>
                      <a:pt x="81" y="448"/>
                    </a:lnTo>
                    <a:lnTo>
                      <a:pt x="76" y="438"/>
                    </a:lnTo>
                    <a:lnTo>
                      <a:pt x="76" y="433"/>
                    </a:lnTo>
                    <a:lnTo>
                      <a:pt x="71" y="433"/>
                    </a:lnTo>
                    <a:lnTo>
                      <a:pt x="66" y="428"/>
                    </a:lnTo>
                    <a:lnTo>
                      <a:pt x="61" y="428"/>
                    </a:lnTo>
                    <a:lnTo>
                      <a:pt x="61" y="423"/>
                    </a:lnTo>
                    <a:lnTo>
                      <a:pt x="66" y="418"/>
                    </a:lnTo>
                    <a:lnTo>
                      <a:pt x="66" y="413"/>
                    </a:lnTo>
                    <a:lnTo>
                      <a:pt x="71" y="413"/>
                    </a:lnTo>
                    <a:lnTo>
                      <a:pt x="66" y="403"/>
                    </a:lnTo>
                    <a:lnTo>
                      <a:pt x="61" y="403"/>
                    </a:lnTo>
                    <a:lnTo>
                      <a:pt x="56" y="398"/>
                    </a:lnTo>
                    <a:lnTo>
                      <a:pt x="56" y="393"/>
                    </a:lnTo>
                    <a:lnTo>
                      <a:pt x="56" y="388"/>
                    </a:lnTo>
                    <a:lnTo>
                      <a:pt x="51" y="377"/>
                    </a:lnTo>
                    <a:lnTo>
                      <a:pt x="51" y="372"/>
                    </a:lnTo>
                    <a:lnTo>
                      <a:pt x="51" y="367"/>
                    </a:lnTo>
                    <a:lnTo>
                      <a:pt x="56" y="367"/>
                    </a:lnTo>
                    <a:lnTo>
                      <a:pt x="61" y="362"/>
                    </a:lnTo>
                    <a:lnTo>
                      <a:pt x="61" y="367"/>
                    </a:lnTo>
                    <a:lnTo>
                      <a:pt x="66" y="362"/>
                    </a:lnTo>
                    <a:lnTo>
                      <a:pt x="71" y="362"/>
                    </a:lnTo>
                    <a:lnTo>
                      <a:pt x="76" y="367"/>
                    </a:lnTo>
                    <a:lnTo>
                      <a:pt x="81" y="367"/>
                    </a:lnTo>
                    <a:lnTo>
                      <a:pt x="81" y="372"/>
                    </a:lnTo>
                    <a:lnTo>
                      <a:pt x="81" y="367"/>
                    </a:lnTo>
                    <a:lnTo>
                      <a:pt x="86" y="367"/>
                    </a:lnTo>
                    <a:lnTo>
                      <a:pt x="91" y="367"/>
                    </a:lnTo>
                    <a:lnTo>
                      <a:pt x="96" y="367"/>
                    </a:lnTo>
                    <a:lnTo>
                      <a:pt x="96" y="357"/>
                    </a:lnTo>
                    <a:lnTo>
                      <a:pt x="101" y="362"/>
                    </a:lnTo>
                    <a:lnTo>
                      <a:pt x="101" y="357"/>
                    </a:lnTo>
                    <a:lnTo>
                      <a:pt x="101" y="352"/>
                    </a:lnTo>
                    <a:lnTo>
                      <a:pt x="96" y="347"/>
                    </a:lnTo>
                    <a:lnTo>
                      <a:pt x="91" y="332"/>
                    </a:lnTo>
                    <a:lnTo>
                      <a:pt x="96" y="322"/>
                    </a:lnTo>
                    <a:lnTo>
                      <a:pt x="86" y="297"/>
                    </a:lnTo>
                    <a:lnTo>
                      <a:pt x="76" y="297"/>
                    </a:lnTo>
                    <a:lnTo>
                      <a:pt x="71" y="297"/>
                    </a:lnTo>
                    <a:lnTo>
                      <a:pt x="66" y="297"/>
                    </a:lnTo>
                    <a:lnTo>
                      <a:pt x="61" y="292"/>
                    </a:lnTo>
                    <a:lnTo>
                      <a:pt x="61" y="287"/>
                    </a:lnTo>
                    <a:lnTo>
                      <a:pt x="56" y="277"/>
                    </a:lnTo>
                    <a:lnTo>
                      <a:pt x="61" y="277"/>
                    </a:lnTo>
                    <a:lnTo>
                      <a:pt x="61" y="272"/>
                    </a:lnTo>
                    <a:lnTo>
                      <a:pt x="56" y="267"/>
                    </a:lnTo>
                    <a:lnTo>
                      <a:pt x="51" y="257"/>
                    </a:lnTo>
                    <a:lnTo>
                      <a:pt x="56" y="257"/>
                    </a:lnTo>
                    <a:lnTo>
                      <a:pt x="51" y="252"/>
                    </a:lnTo>
                    <a:lnTo>
                      <a:pt x="61" y="246"/>
                    </a:lnTo>
                    <a:lnTo>
                      <a:pt x="56" y="241"/>
                    </a:lnTo>
                    <a:lnTo>
                      <a:pt x="51" y="236"/>
                    </a:lnTo>
                    <a:lnTo>
                      <a:pt x="41" y="236"/>
                    </a:lnTo>
                    <a:lnTo>
                      <a:pt x="36" y="231"/>
                    </a:lnTo>
                    <a:lnTo>
                      <a:pt x="31" y="231"/>
                    </a:lnTo>
                    <a:lnTo>
                      <a:pt x="26" y="236"/>
                    </a:lnTo>
                    <a:lnTo>
                      <a:pt x="21" y="231"/>
                    </a:lnTo>
                    <a:lnTo>
                      <a:pt x="16" y="221"/>
                    </a:lnTo>
                    <a:lnTo>
                      <a:pt x="11" y="216"/>
                    </a:lnTo>
                    <a:lnTo>
                      <a:pt x="16" y="206"/>
                    </a:lnTo>
                    <a:lnTo>
                      <a:pt x="0" y="191"/>
                    </a:lnTo>
                    <a:lnTo>
                      <a:pt x="0" y="186"/>
                    </a:lnTo>
                    <a:lnTo>
                      <a:pt x="5" y="181"/>
                    </a:lnTo>
                    <a:lnTo>
                      <a:pt x="11" y="181"/>
                    </a:lnTo>
                    <a:lnTo>
                      <a:pt x="16" y="186"/>
                    </a:lnTo>
                    <a:lnTo>
                      <a:pt x="21" y="186"/>
                    </a:lnTo>
                    <a:lnTo>
                      <a:pt x="26" y="186"/>
                    </a:lnTo>
                    <a:lnTo>
                      <a:pt x="26" y="176"/>
                    </a:lnTo>
                    <a:lnTo>
                      <a:pt x="41" y="176"/>
                    </a:lnTo>
                    <a:lnTo>
                      <a:pt x="41" y="171"/>
                    </a:lnTo>
                    <a:lnTo>
                      <a:pt x="46" y="176"/>
                    </a:lnTo>
                    <a:lnTo>
                      <a:pt x="56" y="181"/>
                    </a:lnTo>
                    <a:lnTo>
                      <a:pt x="61" y="176"/>
                    </a:lnTo>
                    <a:lnTo>
                      <a:pt x="56" y="176"/>
                    </a:lnTo>
                    <a:lnTo>
                      <a:pt x="56" y="171"/>
                    </a:lnTo>
                    <a:lnTo>
                      <a:pt x="51" y="171"/>
                    </a:lnTo>
                    <a:lnTo>
                      <a:pt x="46" y="171"/>
                    </a:lnTo>
                    <a:lnTo>
                      <a:pt x="46" y="166"/>
                    </a:lnTo>
                    <a:lnTo>
                      <a:pt x="51" y="161"/>
                    </a:lnTo>
                    <a:lnTo>
                      <a:pt x="56" y="161"/>
                    </a:lnTo>
                    <a:lnTo>
                      <a:pt x="61" y="146"/>
                    </a:lnTo>
                    <a:lnTo>
                      <a:pt x="66" y="151"/>
                    </a:lnTo>
                    <a:lnTo>
                      <a:pt x="71" y="151"/>
                    </a:lnTo>
                    <a:lnTo>
                      <a:pt x="76" y="151"/>
                    </a:lnTo>
                    <a:lnTo>
                      <a:pt x="76" y="141"/>
                    </a:lnTo>
                    <a:lnTo>
                      <a:pt x="71" y="141"/>
                    </a:lnTo>
                    <a:lnTo>
                      <a:pt x="76" y="131"/>
                    </a:lnTo>
                    <a:lnTo>
                      <a:pt x="76" y="126"/>
                    </a:lnTo>
                    <a:lnTo>
                      <a:pt x="81" y="126"/>
                    </a:lnTo>
                    <a:lnTo>
                      <a:pt x="81" y="121"/>
                    </a:lnTo>
                    <a:lnTo>
                      <a:pt x="91" y="115"/>
                    </a:lnTo>
                    <a:lnTo>
                      <a:pt x="91" y="110"/>
                    </a:lnTo>
                    <a:lnTo>
                      <a:pt x="86" y="110"/>
                    </a:lnTo>
                    <a:lnTo>
                      <a:pt x="81" y="110"/>
                    </a:lnTo>
                    <a:lnTo>
                      <a:pt x="81" y="105"/>
                    </a:lnTo>
                    <a:lnTo>
                      <a:pt x="81" y="100"/>
                    </a:lnTo>
                    <a:lnTo>
                      <a:pt x="81" y="105"/>
                    </a:lnTo>
                    <a:lnTo>
                      <a:pt x="86" y="100"/>
                    </a:lnTo>
                    <a:lnTo>
                      <a:pt x="81" y="95"/>
                    </a:lnTo>
                    <a:lnTo>
                      <a:pt x="86" y="95"/>
                    </a:lnTo>
                    <a:lnTo>
                      <a:pt x="91" y="95"/>
                    </a:lnTo>
                    <a:lnTo>
                      <a:pt x="91" y="85"/>
                    </a:lnTo>
                    <a:lnTo>
                      <a:pt x="86" y="80"/>
                    </a:lnTo>
                    <a:lnTo>
                      <a:pt x="91" y="75"/>
                    </a:lnTo>
                    <a:lnTo>
                      <a:pt x="101" y="70"/>
                    </a:lnTo>
                    <a:lnTo>
                      <a:pt x="101" y="65"/>
                    </a:lnTo>
                    <a:lnTo>
                      <a:pt x="101" y="60"/>
                    </a:lnTo>
                    <a:lnTo>
                      <a:pt x="96" y="60"/>
                    </a:lnTo>
                    <a:lnTo>
                      <a:pt x="101" y="60"/>
                    </a:lnTo>
                    <a:lnTo>
                      <a:pt x="101" y="55"/>
                    </a:lnTo>
                    <a:lnTo>
                      <a:pt x="106" y="55"/>
                    </a:lnTo>
                    <a:lnTo>
                      <a:pt x="111" y="45"/>
                    </a:lnTo>
                    <a:lnTo>
                      <a:pt x="106" y="45"/>
                    </a:lnTo>
                    <a:lnTo>
                      <a:pt x="101" y="40"/>
                    </a:lnTo>
                    <a:lnTo>
                      <a:pt x="106" y="40"/>
                    </a:lnTo>
                    <a:lnTo>
                      <a:pt x="101" y="35"/>
                    </a:lnTo>
                    <a:lnTo>
                      <a:pt x="96" y="35"/>
                    </a:lnTo>
                    <a:lnTo>
                      <a:pt x="91" y="35"/>
                    </a:lnTo>
                    <a:lnTo>
                      <a:pt x="96" y="30"/>
                    </a:lnTo>
                    <a:lnTo>
                      <a:pt x="96" y="20"/>
                    </a:lnTo>
                    <a:lnTo>
                      <a:pt x="101" y="20"/>
                    </a:lnTo>
                    <a:lnTo>
                      <a:pt x="111" y="15"/>
                    </a:lnTo>
                    <a:lnTo>
                      <a:pt x="137" y="15"/>
                    </a:lnTo>
                    <a:lnTo>
                      <a:pt x="137" y="10"/>
                    </a:lnTo>
                    <a:lnTo>
                      <a:pt x="142" y="10"/>
                    </a:lnTo>
                    <a:lnTo>
                      <a:pt x="147" y="10"/>
                    </a:lnTo>
                    <a:lnTo>
                      <a:pt x="147" y="0"/>
                    </a:lnTo>
                    <a:lnTo>
                      <a:pt x="152" y="0"/>
                    </a:lnTo>
                    <a:lnTo>
                      <a:pt x="152" y="5"/>
                    </a:lnTo>
                    <a:lnTo>
                      <a:pt x="157" y="5"/>
                    </a:lnTo>
                    <a:lnTo>
                      <a:pt x="162" y="5"/>
                    </a:lnTo>
                    <a:lnTo>
                      <a:pt x="162" y="10"/>
                    </a:lnTo>
                    <a:lnTo>
                      <a:pt x="157" y="15"/>
                    </a:lnTo>
                    <a:lnTo>
                      <a:pt x="162" y="15"/>
                    </a:lnTo>
                    <a:lnTo>
                      <a:pt x="162" y="20"/>
                    </a:lnTo>
                    <a:lnTo>
                      <a:pt x="167" y="20"/>
                    </a:lnTo>
                    <a:lnTo>
                      <a:pt x="172" y="20"/>
                    </a:lnTo>
                    <a:lnTo>
                      <a:pt x="177" y="20"/>
                    </a:lnTo>
                    <a:lnTo>
                      <a:pt x="187" y="20"/>
                    </a:lnTo>
                    <a:lnTo>
                      <a:pt x="187" y="15"/>
                    </a:lnTo>
                    <a:lnTo>
                      <a:pt x="187" y="10"/>
                    </a:lnTo>
                    <a:lnTo>
                      <a:pt x="192" y="10"/>
                    </a:lnTo>
                    <a:lnTo>
                      <a:pt x="197" y="30"/>
                    </a:lnTo>
                    <a:lnTo>
                      <a:pt x="197" y="35"/>
                    </a:lnTo>
                    <a:lnTo>
                      <a:pt x="207" y="45"/>
                    </a:lnTo>
                    <a:lnTo>
                      <a:pt x="202" y="50"/>
                    </a:lnTo>
                    <a:lnTo>
                      <a:pt x="202" y="55"/>
                    </a:lnTo>
                    <a:lnTo>
                      <a:pt x="197" y="55"/>
                    </a:lnTo>
                    <a:lnTo>
                      <a:pt x="197" y="65"/>
                    </a:lnTo>
                    <a:lnTo>
                      <a:pt x="202" y="65"/>
                    </a:lnTo>
                    <a:lnTo>
                      <a:pt x="207" y="60"/>
                    </a:lnTo>
                    <a:lnTo>
                      <a:pt x="207" y="65"/>
                    </a:lnTo>
                    <a:lnTo>
                      <a:pt x="212" y="65"/>
                    </a:lnTo>
                    <a:lnTo>
                      <a:pt x="217" y="60"/>
                    </a:lnTo>
                    <a:lnTo>
                      <a:pt x="222" y="60"/>
                    </a:lnTo>
                    <a:lnTo>
                      <a:pt x="222" y="55"/>
                    </a:lnTo>
                    <a:lnTo>
                      <a:pt x="227" y="55"/>
                    </a:lnTo>
                    <a:lnTo>
                      <a:pt x="232" y="55"/>
                    </a:lnTo>
                    <a:lnTo>
                      <a:pt x="237" y="60"/>
                    </a:lnTo>
                    <a:lnTo>
                      <a:pt x="242" y="65"/>
                    </a:lnTo>
                    <a:lnTo>
                      <a:pt x="242" y="75"/>
                    </a:lnTo>
                    <a:lnTo>
                      <a:pt x="252" y="70"/>
                    </a:lnTo>
                    <a:lnTo>
                      <a:pt x="257" y="75"/>
                    </a:lnTo>
                    <a:lnTo>
                      <a:pt x="263" y="75"/>
                    </a:lnTo>
                    <a:lnTo>
                      <a:pt x="257" y="80"/>
                    </a:lnTo>
                    <a:lnTo>
                      <a:pt x="263" y="90"/>
                    </a:lnTo>
                    <a:lnTo>
                      <a:pt x="263" y="95"/>
                    </a:lnTo>
                    <a:lnTo>
                      <a:pt x="268" y="100"/>
                    </a:lnTo>
                    <a:lnTo>
                      <a:pt x="273" y="95"/>
                    </a:lnTo>
                    <a:lnTo>
                      <a:pt x="278" y="105"/>
                    </a:lnTo>
                    <a:lnTo>
                      <a:pt x="273" y="105"/>
                    </a:lnTo>
                    <a:lnTo>
                      <a:pt x="278" y="110"/>
                    </a:lnTo>
                    <a:lnTo>
                      <a:pt x="268" y="115"/>
                    </a:lnTo>
                    <a:lnTo>
                      <a:pt x="273" y="121"/>
                    </a:lnTo>
                    <a:lnTo>
                      <a:pt x="268" y="121"/>
                    </a:lnTo>
                    <a:lnTo>
                      <a:pt x="268" y="126"/>
                    </a:lnTo>
                    <a:lnTo>
                      <a:pt x="273" y="126"/>
                    </a:lnTo>
                    <a:lnTo>
                      <a:pt x="288" y="146"/>
                    </a:lnTo>
                    <a:lnTo>
                      <a:pt x="283" y="146"/>
                    </a:lnTo>
                    <a:lnTo>
                      <a:pt x="288" y="151"/>
                    </a:lnTo>
                    <a:lnTo>
                      <a:pt x="298" y="151"/>
                    </a:lnTo>
                    <a:lnTo>
                      <a:pt x="298" y="156"/>
                    </a:lnTo>
                    <a:lnTo>
                      <a:pt x="293" y="156"/>
                    </a:lnTo>
                    <a:lnTo>
                      <a:pt x="298" y="161"/>
                    </a:lnTo>
                    <a:lnTo>
                      <a:pt x="303" y="166"/>
                    </a:lnTo>
                    <a:lnTo>
                      <a:pt x="308" y="166"/>
                    </a:lnTo>
                    <a:lnTo>
                      <a:pt x="313" y="166"/>
                    </a:lnTo>
                    <a:lnTo>
                      <a:pt x="318" y="166"/>
                    </a:lnTo>
                    <a:lnTo>
                      <a:pt x="323" y="161"/>
                    </a:lnTo>
                    <a:lnTo>
                      <a:pt x="328" y="166"/>
                    </a:lnTo>
                    <a:lnTo>
                      <a:pt x="328" y="171"/>
                    </a:lnTo>
                    <a:lnTo>
                      <a:pt x="333" y="171"/>
                    </a:lnTo>
                    <a:lnTo>
                      <a:pt x="338" y="176"/>
                    </a:lnTo>
                    <a:lnTo>
                      <a:pt x="343" y="176"/>
                    </a:lnTo>
                    <a:lnTo>
                      <a:pt x="338" y="186"/>
                    </a:lnTo>
                    <a:lnTo>
                      <a:pt x="338" y="191"/>
                    </a:lnTo>
                    <a:lnTo>
                      <a:pt x="333" y="191"/>
                    </a:lnTo>
                    <a:lnTo>
                      <a:pt x="338" y="201"/>
                    </a:lnTo>
                    <a:lnTo>
                      <a:pt x="348" y="196"/>
                    </a:lnTo>
                    <a:lnTo>
                      <a:pt x="353" y="196"/>
                    </a:lnTo>
                    <a:lnTo>
                      <a:pt x="363" y="191"/>
                    </a:lnTo>
                    <a:lnTo>
                      <a:pt x="368" y="196"/>
                    </a:lnTo>
                    <a:lnTo>
                      <a:pt x="373" y="201"/>
                    </a:lnTo>
                    <a:lnTo>
                      <a:pt x="378" y="206"/>
                    </a:lnTo>
                    <a:lnTo>
                      <a:pt x="378" y="211"/>
                    </a:lnTo>
                    <a:lnTo>
                      <a:pt x="383" y="216"/>
                    </a:lnTo>
                    <a:lnTo>
                      <a:pt x="389" y="216"/>
                    </a:lnTo>
                    <a:lnTo>
                      <a:pt x="389" y="211"/>
                    </a:lnTo>
                    <a:lnTo>
                      <a:pt x="394" y="211"/>
                    </a:lnTo>
                    <a:lnTo>
                      <a:pt x="399" y="216"/>
                    </a:lnTo>
                    <a:lnTo>
                      <a:pt x="404" y="216"/>
                    </a:lnTo>
                    <a:lnTo>
                      <a:pt x="409" y="216"/>
                    </a:lnTo>
                    <a:lnTo>
                      <a:pt x="419" y="216"/>
                    </a:lnTo>
                    <a:lnTo>
                      <a:pt x="424" y="216"/>
                    </a:lnTo>
                    <a:lnTo>
                      <a:pt x="424" y="221"/>
                    </a:lnTo>
                    <a:lnTo>
                      <a:pt x="419" y="226"/>
                    </a:lnTo>
                    <a:lnTo>
                      <a:pt x="424" y="226"/>
                    </a:lnTo>
                    <a:lnTo>
                      <a:pt x="429" y="221"/>
                    </a:lnTo>
                    <a:lnTo>
                      <a:pt x="429" y="226"/>
                    </a:lnTo>
                    <a:lnTo>
                      <a:pt x="429" y="231"/>
                    </a:lnTo>
                    <a:lnTo>
                      <a:pt x="434" y="236"/>
                    </a:lnTo>
                    <a:lnTo>
                      <a:pt x="439" y="236"/>
                    </a:lnTo>
                    <a:lnTo>
                      <a:pt x="469" y="221"/>
                    </a:lnTo>
                    <a:lnTo>
                      <a:pt x="474" y="231"/>
                    </a:lnTo>
                    <a:lnTo>
                      <a:pt x="474" y="236"/>
                    </a:lnTo>
                    <a:lnTo>
                      <a:pt x="479" y="236"/>
                    </a:lnTo>
                    <a:lnTo>
                      <a:pt x="484" y="241"/>
                    </a:lnTo>
                    <a:lnTo>
                      <a:pt x="484" y="252"/>
                    </a:lnTo>
                    <a:lnTo>
                      <a:pt x="489" y="262"/>
                    </a:lnTo>
                    <a:lnTo>
                      <a:pt x="484" y="262"/>
                    </a:lnTo>
                    <a:lnTo>
                      <a:pt x="474" y="262"/>
                    </a:lnTo>
                    <a:lnTo>
                      <a:pt x="469" y="267"/>
                    </a:lnTo>
                    <a:lnTo>
                      <a:pt x="464" y="267"/>
                    </a:lnTo>
                    <a:lnTo>
                      <a:pt x="459" y="272"/>
                    </a:lnTo>
                    <a:lnTo>
                      <a:pt x="459" y="267"/>
                    </a:lnTo>
                    <a:lnTo>
                      <a:pt x="454" y="272"/>
                    </a:lnTo>
                    <a:lnTo>
                      <a:pt x="454" y="277"/>
                    </a:lnTo>
                    <a:lnTo>
                      <a:pt x="449" y="277"/>
                    </a:lnTo>
                    <a:lnTo>
                      <a:pt x="449" y="282"/>
                    </a:lnTo>
                    <a:lnTo>
                      <a:pt x="449" y="287"/>
                    </a:lnTo>
                    <a:lnTo>
                      <a:pt x="454" y="287"/>
                    </a:lnTo>
                    <a:lnTo>
                      <a:pt x="449" y="292"/>
                    </a:lnTo>
                    <a:lnTo>
                      <a:pt x="449" y="297"/>
                    </a:lnTo>
                    <a:lnTo>
                      <a:pt x="454" y="302"/>
                    </a:lnTo>
                    <a:lnTo>
                      <a:pt x="454" y="307"/>
                    </a:lnTo>
                    <a:lnTo>
                      <a:pt x="454" y="312"/>
                    </a:lnTo>
                    <a:lnTo>
                      <a:pt x="454" y="317"/>
                    </a:lnTo>
                    <a:lnTo>
                      <a:pt x="454" y="322"/>
                    </a:lnTo>
                    <a:lnTo>
                      <a:pt x="454" y="327"/>
                    </a:lnTo>
                    <a:lnTo>
                      <a:pt x="449" y="327"/>
                    </a:lnTo>
                    <a:lnTo>
                      <a:pt x="444" y="327"/>
                    </a:lnTo>
                    <a:lnTo>
                      <a:pt x="439" y="327"/>
                    </a:lnTo>
                    <a:lnTo>
                      <a:pt x="439" y="332"/>
                    </a:lnTo>
                    <a:lnTo>
                      <a:pt x="439" y="337"/>
                    </a:lnTo>
                    <a:lnTo>
                      <a:pt x="439" y="342"/>
                    </a:lnTo>
                    <a:lnTo>
                      <a:pt x="434" y="342"/>
                    </a:lnTo>
                    <a:lnTo>
                      <a:pt x="434" y="347"/>
                    </a:lnTo>
                    <a:lnTo>
                      <a:pt x="409" y="357"/>
                    </a:lnTo>
                    <a:lnTo>
                      <a:pt x="409" y="362"/>
                    </a:lnTo>
                    <a:lnTo>
                      <a:pt x="414" y="367"/>
                    </a:lnTo>
                    <a:lnTo>
                      <a:pt x="409" y="367"/>
                    </a:lnTo>
                    <a:lnTo>
                      <a:pt x="404" y="367"/>
                    </a:lnTo>
                    <a:lnTo>
                      <a:pt x="399" y="372"/>
                    </a:lnTo>
                    <a:lnTo>
                      <a:pt x="394" y="372"/>
                    </a:lnTo>
                    <a:lnTo>
                      <a:pt x="394" y="377"/>
                    </a:lnTo>
                    <a:lnTo>
                      <a:pt x="399" y="383"/>
                    </a:lnTo>
                    <a:lnTo>
                      <a:pt x="394" y="383"/>
                    </a:lnTo>
                    <a:lnTo>
                      <a:pt x="394" y="388"/>
                    </a:lnTo>
                    <a:lnTo>
                      <a:pt x="394" y="393"/>
                    </a:lnTo>
                    <a:lnTo>
                      <a:pt x="394" y="398"/>
                    </a:lnTo>
                    <a:lnTo>
                      <a:pt x="394" y="403"/>
                    </a:lnTo>
                    <a:lnTo>
                      <a:pt x="399" y="408"/>
                    </a:lnTo>
                    <a:lnTo>
                      <a:pt x="399" y="413"/>
                    </a:lnTo>
                    <a:lnTo>
                      <a:pt x="404" y="413"/>
                    </a:lnTo>
                    <a:lnTo>
                      <a:pt x="404" y="418"/>
                    </a:lnTo>
                    <a:lnTo>
                      <a:pt x="409" y="423"/>
                    </a:lnTo>
                    <a:lnTo>
                      <a:pt x="409" y="428"/>
                    </a:lnTo>
                    <a:lnTo>
                      <a:pt x="409" y="433"/>
                    </a:lnTo>
                    <a:lnTo>
                      <a:pt x="409" y="438"/>
                    </a:lnTo>
                    <a:lnTo>
                      <a:pt x="404" y="438"/>
                    </a:lnTo>
                    <a:lnTo>
                      <a:pt x="404" y="443"/>
                    </a:lnTo>
                    <a:lnTo>
                      <a:pt x="404" y="448"/>
                    </a:lnTo>
                    <a:lnTo>
                      <a:pt x="404" y="453"/>
                    </a:lnTo>
                    <a:lnTo>
                      <a:pt x="404" y="458"/>
                    </a:lnTo>
                    <a:lnTo>
                      <a:pt x="409" y="458"/>
                    </a:lnTo>
                    <a:lnTo>
                      <a:pt x="414" y="453"/>
                    </a:lnTo>
                    <a:lnTo>
                      <a:pt x="419" y="453"/>
                    </a:lnTo>
                    <a:lnTo>
                      <a:pt x="424" y="453"/>
                    </a:lnTo>
                    <a:lnTo>
                      <a:pt x="424" y="458"/>
                    </a:lnTo>
                    <a:lnTo>
                      <a:pt x="429" y="463"/>
                    </a:lnTo>
                    <a:lnTo>
                      <a:pt x="424" y="468"/>
                    </a:lnTo>
                    <a:lnTo>
                      <a:pt x="424" y="473"/>
                    </a:lnTo>
                    <a:lnTo>
                      <a:pt x="419" y="473"/>
                    </a:lnTo>
                    <a:lnTo>
                      <a:pt x="414" y="478"/>
                    </a:lnTo>
                    <a:lnTo>
                      <a:pt x="419" y="483"/>
                    </a:lnTo>
                    <a:lnTo>
                      <a:pt x="419" y="488"/>
                    </a:lnTo>
                    <a:lnTo>
                      <a:pt x="424" y="493"/>
                    </a:lnTo>
                    <a:lnTo>
                      <a:pt x="424" y="498"/>
                    </a:lnTo>
                    <a:lnTo>
                      <a:pt x="424" y="503"/>
                    </a:lnTo>
                    <a:lnTo>
                      <a:pt x="424" y="509"/>
                    </a:lnTo>
                    <a:lnTo>
                      <a:pt x="424" y="514"/>
                    </a:lnTo>
                    <a:lnTo>
                      <a:pt x="419" y="519"/>
                    </a:lnTo>
                    <a:lnTo>
                      <a:pt x="419" y="524"/>
                    </a:lnTo>
                    <a:lnTo>
                      <a:pt x="414" y="534"/>
                    </a:lnTo>
                    <a:lnTo>
                      <a:pt x="414" y="539"/>
                    </a:lnTo>
                    <a:lnTo>
                      <a:pt x="409" y="539"/>
                    </a:lnTo>
                    <a:lnTo>
                      <a:pt x="414" y="534"/>
                    </a:lnTo>
                    <a:lnTo>
                      <a:pt x="414" y="529"/>
                    </a:lnTo>
                    <a:lnTo>
                      <a:pt x="414" y="524"/>
                    </a:lnTo>
                    <a:lnTo>
                      <a:pt x="404" y="519"/>
                    </a:lnTo>
                    <a:lnTo>
                      <a:pt x="399" y="519"/>
                    </a:lnTo>
                    <a:lnTo>
                      <a:pt x="394" y="519"/>
                    </a:lnTo>
                    <a:lnTo>
                      <a:pt x="394" y="524"/>
                    </a:lnTo>
                    <a:lnTo>
                      <a:pt x="394" y="529"/>
                    </a:lnTo>
                    <a:lnTo>
                      <a:pt x="389" y="529"/>
                    </a:lnTo>
                    <a:lnTo>
                      <a:pt x="383" y="529"/>
                    </a:lnTo>
                    <a:lnTo>
                      <a:pt x="373" y="529"/>
                    </a:lnTo>
                    <a:lnTo>
                      <a:pt x="368" y="529"/>
                    </a:lnTo>
                    <a:lnTo>
                      <a:pt x="368" y="534"/>
                    </a:lnTo>
                    <a:lnTo>
                      <a:pt x="363" y="534"/>
                    </a:lnTo>
                    <a:lnTo>
                      <a:pt x="358" y="539"/>
                    </a:lnTo>
                    <a:lnTo>
                      <a:pt x="353" y="544"/>
                    </a:lnTo>
                    <a:lnTo>
                      <a:pt x="343" y="549"/>
                    </a:lnTo>
                    <a:lnTo>
                      <a:pt x="338" y="549"/>
                    </a:lnTo>
                    <a:lnTo>
                      <a:pt x="333" y="554"/>
                    </a:lnTo>
                    <a:lnTo>
                      <a:pt x="328" y="554"/>
                    </a:lnTo>
                    <a:lnTo>
                      <a:pt x="323" y="554"/>
                    </a:lnTo>
                    <a:lnTo>
                      <a:pt x="318" y="554"/>
                    </a:lnTo>
                    <a:lnTo>
                      <a:pt x="313" y="559"/>
                    </a:lnTo>
                    <a:lnTo>
                      <a:pt x="308" y="564"/>
                    </a:lnTo>
                    <a:lnTo>
                      <a:pt x="308" y="569"/>
                    </a:lnTo>
                    <a:lnTo>
                      <a:pt x="308" y="574"/>
                    </a:lnTo>
                    <a:lnTo>
                      <a:pt x="308" y="579"/>
                    </a:lnTo>
                    <a:lnTo>
                      <a:pt x="303" y="579"/>
                    </a:lnTo>
                    <a:lnTo>
                      <a:pt x="303" y="589"/>
                    </a:lnTo>
                    <a:lnTo>
                      <a:pt x="303" y="594"/>
                    </a:lnTo>
                    <a:lnTo>
                      <a:pt x="298" y="604"/>
                    </a:lnTo>
                    <a:lnTo>
                      <a:pt x="298" y="609"/>
                    </a:lnTo>
                    <a:lnTo>
                      <a:pt x="298" y="619"/>
                    </a:lnTo>
                    <a:lnTo>
                      <a:pt x="293" y="624"/>
                    </a:lnTo>
                    <a:lnTo>
                      <a:pt x="293" y="629"/>
                    </a:lnTo>
                    <a:lnTo>
                      <a:pt x="293" y="634"/>
                    </a:lnTo>
                    <a:lnTo>
                      <a:pt x="288" y="634"/>
                    </a:lnTo>
                    <a:lnTo>
                      <a:pt x="293" y="629"/>
                    </a:lnTo>
                    <a:lnTo>
                      <a:pt x="293" y="624"/>
                    </a:lnTo>
                    <a:lnTo>
                      <a:pt x="288" y="619"/>
                    </a:lnTo>
                    <a:lnTo>
                      <a:pt x="283" y="619"/>
                    </a:lnTo>
                    <a:lnTo>
                      <a:pt x="278" y="614"/>
                    </a:lnTo>
                    <a:lnTo>
                      <a:pt x="273" y="614"/>
                    </a:lnTo>
                    <a:lnTo>
                      <a:pt x="268" y="624"/>
                    </a:lnTo>
                    <a:lnTo>
                      <a:pt x="263" y="624"/>
                    </a:lnTo>
                    <a:lnTo>
                      <a:pt x="263" y="634"/>
                    </a:lnTo>
                    <a:lnTo>
                      <a:pt x="257" y="634"/>
                    </a:lnTo>
                    <a:lnTo>
                      <a:pt x="252" y="640"/>
                    </a:lnTo>
                    <a:lnTo>
                      <a:pt x="247" y="645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Полилиния 104">
                <a:extLst>
                  <a:ext uri="{FF2B5EF4-FFF2-40B4-BE49-F238E27FC236}">
                    <a16:creationId xmlns:a16="http://schemas.microsoft.com/office/drawing/2014/main" id="{18F20DB9-E303-0F64-FEE5-73EB90FC8A09}"/>
                  </a:ext>
                </a:extLst>
              </p:cNvPr>
              <p:cNvSpPr/>
              <p:nvPr/>
            </p:nvSpPr>
            <p:spPr bwMode="gray">
              <a:xfrm rot="694472">
                <a:off x="4710459" y="3106297"/>
                <a:ext cx="442246" cy="620236"/>
              </a:xfrm>
              <a:custGeom>
                <a:avLst/>
                <a:gdLst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14905 w 754275"/>
                  <a:gd name="connsiteY101" fmla="*/ 897545 h 1101217"/>
                  <a:gd name="connsiteX102" fmla="*/ 202263 w 754275"/>
                  <a:gd name="connsiteY102" fmla="*/ 922827 h 1101217"/>
                  <a:gd name="connsiteX103" fmla="*/ 189622 w 754275"/>
                  <a:gd name="connsiteY103" fmla="*/ 931255 h 1101217"/>
                  <a:gd name="connsiteX104" fmla="*/ 189622 w 754275"/>
                  <a:gd name="connsiteY104" fmla="*/ 973393 h 1101217"/>
                  <a:gd name="connsiteX105" fmla="*/ 202263 w 754275"/>
                  <a:gd name="connsiteY105" fmla="*/ 981821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14905 w 754275"/>
                  <a:gd name="connsiteY101" fmla="*/ 897545 h 1101217"/>
                  <a:gd name="connsiteX102" fmla="*/ 202263 w 754275"/>
                  <a:gd name="connsiteY102" fmla="*/ 922827 h 1101217"/>
                  <a:gd name="connsiteX103" fmla="*/ 210691 w 754275"/>
                  <a:gd name="connsiteY103" fmla="*/ 927041 h 1101217"/>
                  <a:gd name="connsiteX104" fmla="*/ 189622 w 754275"/>
                  <a:gd name="connsiteY104" fmla="*/ 973393 h 1101217"/>
                  <a:gd name="connsiteX105" fmla="*/ 202263 w 754275"/>
                  <a:gd name="connsiteY105" fmla="*/ 981821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02263 w 754275"/>
                  <a:gd name="connsiteY102" fmla="*/ 922827 h 1101217"/>
                  <a:gd name="connsiteX103" fmla="*/ 210691 w 754275"/>
                  <a:gd name="connsiteY103" fmla="*/ 927041 h 1101217"/>
                  <a:gd name="connsiteX104" fmla="*/ 189622 w 754275"/>
                  <a:gd name="connsiteY104" fmla="*/ 973393 h 1101217"/>
                  <a:gd name="connsiteX105" fmla="*/ 202263 w 754275"/>
                  <a:gd name="connsiteY105" fmla="*/ 981821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02263 w 754275"/>
                  <a:gd name="connsiteY102" fmla="*/ 922827 h 1101217"/>
                  <a:gd name="connsiteX103" fmla="*/ 223333 w 754275"/>
                  <a:gd name="connsiteY103" fmla="*/ 927041 h 1101217"/>
                  <a:gd name="connsiteX104" fmla="*/ 189622 w 754275"/>
                  <a:gd name="connsiteY104" fmla="*/ 973393 h 1101217"/>
                  <a:gd name="connsiteX105" fmla="*/ 202263 w 754275"/>
                  <a:gd name="connsiteY105" fmla="*/ 981821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40187 w 754275"/>
                  <a:gd name="connsiteY102" fmla="*/ 922827 h 1101217"/>
                  <a:gd name="connsiteX103" fmla="*/ 223333 w 754275"/>
                  <a:gd name="connsiteY103" fmla="*/ 927041 h 1101217"/>
                  <a:gd name="connsiteX104" fmla="*/ 189622 w 754275"/>
                  <a:gd name="connsiteY104" fmla="*/ 973393 h 1101217"/>
                  <a:gd name="connsiteX105" fmla="*/ 202263 w 754275"/>
                  <a:gd name="connsiteY105" fmla="*/ 981821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23333 w 754275"/>
                  <a:gd name="connsiteY103" fmla="*/ 927041 h 1101217"/>
                  <a:gd name="connsiteX104" fmla="*/ 189622 w 754275"/>
                  <a:gd name="connsiteY104" fmla="*/ 973393 h 1101217"/>
                  <a:gd name="connsiteX105" fmla="*/ 202263 w 754275"/>
                  <a:gd name="connsiteY105" fmla="*/ 981821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23333 w 754275"/>
                  <a:gd name="connsiteY103" fmla="*/ 927041 h 1101217"/>
                  <a:gd name="connsiteX104" fmla="*/ 189622 w 754275"/>
                  <a:gd name="connsiteY104" fmla="*/ 97339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23333 w 754275"/>
                  <a:gd name="connsiteY103" fmla="*/ 927041 h 1101217"/>
                  <a:gd name="connsiteX104" fmla="*/ 244402 w 754275"/>
                  <a:gd name="connsiteY104" fmla="*/ 95232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23333 w 754275"/>
                  <a:gd name="connsiteY103" fmla="*/ 927041 h 1101217"/>
                  <a:gd name="connsiteX104" fmla="*/ 244402 w 754275"/>
                  <a:gd name="connsiteY104" fmla="*/ 95232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57044 w 754275"/>
                  <a:gd name="connsiteY103" fmla="*/ 939682 h 1101217"/>
                  <a:gd name="connsiteX104" fmla="*/ 244402 w 754275"/>
                  <a:gd name="connsiteY104" fmla="*/ 95232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96918 w 754275"/>
                  <a:gd name="connsiteY97" fmla="*/ 792199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57044 w 754275"/>
                  <a:gd name="connsiteY103" fmla="*/ 939682 h 1101217"/>
                  <a:gd name="connsiteX104" fmla="*/ 265471 w 754275"/>
                  <a:gd name="connsiteY104" fmla="*/ 95232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130629 w 754275"/>
                  <a:gd name="connsiteY97" fmla="*/ 775344 h 1101217"/>
                  <a:gd name="connsiteX98" fmla="*/ 101132 w 754275"/>
                  <a:gd name="connsiteY98" fmla="*/ 804840 h 1101217"/>
                  <a:gd name="connsiteX99" fmla="*/ 126415 w 754275"/>
                  <a:gd name="connsiteY99" fmla="*/ 813268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57044 w 754275"/>
                  <a:gd name="connsiteY103" fmla="*/ 939682 h 1101217"/>
                  <a:gd name="connsiteX104" fmla="*/ 265471 w 754275"/>
                  <a:gd name="connsiteY104" fmla="*/ 95232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92704 w 754275"/>
                  <a:gd name="connsiteY96" fmla="*/ 775344 h 1101217"/>
                  <a:gd name="connsiteX97" fmla="*/ 130629 w 754275"/>
                  <a:gd name="connsiteY97" fmla="*/ 775344 h 1101217"/>
                  <a:gd name="connsiteX98" fmla="*/ 101132 w 754275"/>
                  <a:gd name="connsiteY98" fmla="*/ 804840 h 1101217"/>
                  <a:gd name="connsiteX99" fmla="*/ 185409 w 754275"/>
                  <a:gd name="connsiteY99" fmla="*/ 783771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57044 w 754275"/>
                  <a:gd name="connsiteY103" fmla="*/ 939682 h 1101217"/>
                  <a:gd name="connsiteX104" fmla="*/ 265471 w 754275"/>
                  <a:gd name="connsiteY104" fmla="*/ 95232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143270 w 754275"/>
                  <a:gd name="connsiteY96" fmla="*/ 750062 h 1101217"/>
                  <a:gd name="connsiteX97" fmla="*/ 130629 w 754275"/>
                  <a:gd name="connsiteY97" fmla="*/ 775344 h 1101217"/>
                  <a:gd name="connsiteX98" fmla="*/ 101132 w 754275"/>
                  <a:gd name="connsiteY98" fmla="*/ 804840 h 1101217"/>
                  <a:gd name="connsiteX99" fmla="*/ 185409 w 754275"/>
                  <a:gd name="connsiteY99" fmla="*/ 783771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57044 w 754275"/>
                  <a:gd name="connsiteY103" fmla="*/ 939682 h 1101217"/>
                  <a:gd name="connsiteX104" fmla="*/ 265471 w 754275"/>
                  <a:gd name="connsiteY104" fmla="*/ 95232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143270 w 754275"/>
                  <a:gd name="connsiteY96" fmla="*/ 750062 h 1101217"/>
                  <a:gd name="connsiteX97" fmla="*/ 130629 w 754275"/>
                  <a:gd name="connsiteY97" fmla="*/ 775344 h 1101217"/>
                  <a:gd name="connsiteX98" fmla="*/ 155912 w 754275"/>
                  <a:gd name="connsiteY98" fmla="*/ 766916 h 1101217"/>
                  <a:gd name="connsiteX99" fmla="*/ 185409 w 754275"/>
                  <a:gd name="connsiteY99" fmla="*/ 783771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57044 w 754275"/>
                  <a:gd name="connsiteY103" fmla="*/ 939682 h 1101217"/>
                  <a:gd name="connsiteX104" fmla="*/ 265471 w 754275"/>
                  <a:gd name="connsiteY104" fmla="*/ 95232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3899 w 754275"/>
                  <a:gd name="connsiteY0" fmla="*/ 1099808 h 1101217"/>
                  <a:gd name="connsiteX1" fmla="*/ 294968 w 754275"/>
                  <a:gd name="connsiteY1" fmla="*/ 1082953 h 1101217"/>
                  <a:gd name="connsiteX2" fmla="*/ 311823 w 754275"/>
                  <a:gd name="connsiteY2" fmla="*/ 1061884 h 1101217"/>
                  <a:gd name="connsiteX3" fmla="*/ 358175 w 754275"/>
                  <a:gd name="connsiteY3" fmla="*/ 1049242 h 1101217"/>
                  <a:gd name="connsiteX4" fmla="*/ 370816 w 754275"/>
                  <a:gd name="connsiteY4" fmla="*/ 1040815 h 1101217"/>
                  <a:gd name="connsiteX5" fmla="*/ 396099 w 754275"/>
                  <a:gd name="connsiteY5" fmla="*/ 1032387 h 1101217"/>
                  <a:gd name="connsiteX6" fmla="*/ 425596 w 754275"/>
                  <a:gd name="connsiteY6" fmla="*/ 1002890 h 1101217"/>
                  <a:gd name="connsiteX7" fmla="*/ 438238 w 754275"/>
                  <a:gd name="connsiteY7" fmla="*/ 994463 h 1101217"/>
                  <a:gd name="connsiteX8" fmla="*/ 446665 w 754275"/>
                  <a:gd name="connsiteY8" fmla="*/ 981821 h 1101217"/>
                  <a:gd name="connsiteX9" fmla="*/ 471948 w 754275"/>
                  <a:gd name="connsiteY9" fmla="*/ 969180 h 1101217"/>
                  <a:gd name="connsiteX10" fmla="*/ 497231 w 754275"/>
                  <a:gd name="connsiteY10" fmla="*/ 973393 h 1101217"/>
                  <a:gd name="connsiteX11" fmla="*/ 543583 w 754275"/>
                  <a:gd name="connsiteY11" fmla="*/ 960752 h 1101217"/>
                  <a:gd name="connsiteX12" fmla="*/ 581508 w 754275"/>
                  <a:gd name="connsiteY12" fmla="*/ 952324 h 1101217"/>
                  <a:gd name="connsiteX13" fmla="*/ 598363 w 754275"/>
                  <a:gd name="connsiteY13" fmla="*/ 927041 h 1101217"/>
                  <a:gd name="connsiteX14" fmla="*/ 585722 w 754275"/>
                  <a:gd name="connsiteY14" fmla="*/ 876475 h 1101217"/>
                  <a:gd name="connsiteX15" fmla="*/ 581508 w 754275"/>
                  <a:gd name="connsiteY15" fmla="*/ 863834 h 1101217"/>
                  <a:gd name="connsiteX16" fmla="*/ 568866 w 754275"/>
                  <a:gd name="connsiteY16" fmla="*/ 855406 h 1101217"/>
                  <a:gd name="connsiteX17" fmla="*/ 564652 w 754275"/>
                  <a:gd name="connsiteY17" fmla="*/ 842765 h 1101217"/>
                  <a:gd name="connsiteX18" fmla="*/ 585722 w 754275"/>
                  <a:gd name="connsiteY18" fmla="*/ 821696 h 1101217"/>
                  <a:gd name="connsiteX19" fmla="*/ 581508 w 754275"/>
                  <a:gd name="connsiteY19" fmla="*/ 796413 h 1101217"/>
                  <a:gd name="connsiteX20" fmla="*/ 539369 w 754275"/>
                  <a:gd name="connsiteY20" fmla="*/ 792199 h 1101217"/>
                  <a:gd name="connsiteX21" fmla="*/ 547797 w 754275"/>
                  <a:gd name="connsiteY21" fmla="*/ 712136 h 1101217"/>
                  <a:gd name="connsiteX22" fmla="*/ 543583 w 754275"/>
                  <a:gd name="connsiteY22" fmla="*/ 695281 h 1101217"/>
                  <a:gd name="connsiteX23" fmla="*/ 518300 w 754275"/>
                  <a:gd name="connsiteY23" fmla="*/ 669998 h 1101217"/>
                  <a:gd name="connsiteX24" fmla="*/ 514087 w 754275"/>
                  <a:gd name="connsiteY24" fmla="*/ 657357 h 1101217"/>
                  <a:gd name="connsiteX25" fmla="*/ 518300 w 754275"/>
                  <a:gd name="connsiteY25" fmla="*/ 577294 h 1101217"/>
                  <a:gd name="connsiteX26" fmla="*/ 543583 w 754275"/>
                  <a:gd name="connsiteY26" fmla="*/ 552011 h 1101217"/>
                  <a:gd name="connsiteX27" fmla="*/ 568866 w 754275"/>
                  <a:gd name="connsiteY27" fmla="*/ 543583 h 1101217"/>
                  <a:gd name="connsiteX28" fmla="*/ 581508 w 754275"/>
                  <a:gd name="connsiteY28" fmla="*/ 539369 h 1101217"/>
                  <a:gd name="connsiteX29" fmla="*/ 615218 w 754275"/>
                  <a:gd name="connsiteY29" fmla="*/ 530942 h 1101217"/>
                  <a:gd name="connsiteX30" fmla="*/ 623646 w 754275"/>
                  <a:gd name="connsiteY30" fmla="*/ 505659 h 1101217"/>
                  <a:gd name="connsiteX31" fmla="*/ 627860 w 754275"/>
                  <a:gd name="connsiteY31" fmla="*/ 484590 h 1101217"/>
                  <a:gd name="connsiteX32" fmla="*/ 653143 w 754275"/>
                  <a:gd name="connsiteY32" fmla="*/ 467734 h 1101217"/>
                  <a:gd name="connsiteX33" fmla="*/ 657357 w 754275"/>
                  <a:gd name="connsiteY33" fmla="*/ 387672 h 1101217"/>
                  <a:gd name="connsiteX34" fmla="*/ 648929 w 754275"/>
                  <a:gd name="connsiteY34" fmla="*/ 362389 h 1101217"/>
                  <a:gd name="connsiteX35" fmla="*/ 661570 w 754275"/>
                  <a:gd name="connsiteY35" fmla="*/ 316037 h 1101217"/>
                  <a:gd name="connsiteX36" fmla="*/ 686853 w 754275"/>
                  <a:gd name="connsiteY36" fmla="*/ 307609 h 1101217"/>
                  <a:gd name="connsiteX37" fmla="*/ 712136 w 754275"/>
                  <a:gd name="connsiteY37" fmla="*/ 299181 h 1101217"/>
                  <a:gd name="connsiteX38" fmla="*/ 724778 w 754275"/>
                  <a:gd name="connsiteY38" fmla="*/ 294968 h 1101217"/>
                  <a:gd name="connsiteX39" fmla="*/ 754275 w 754275"/>
                  <a:gd name="connsiteY39" fmla="*/ 286540 h 1101217"/>
                  <a:gd name="connsiteX40" fmla="*/ 750061 w 754275"/>
                  <a:gd name="connsiteY40" fmla="*/ 257043 h 1101217"/>
                  <a:gd name="connsiteX41" fmla="*/ 737419 w 754275"/>
                  <a:gd name="connsiteY41" fmla="*/ 252829 h 1101217"/>
                  <a:gd name="connsiteX42" fmla="*/ 707922 w 754275"/>
                  <a:gd name="connsiteY42" fmla="*/ 219119 h 1101217"/>
                  <a:gd name="connsiteX43" fmla="*/ 678426 w 754275"/>
                  <a:gd name="connsiteY43" fmla="*/ 214905 h 1101217"/>
                  <a:gd name="connsiteX44" fmla="*/ 644715 w 754275"/>
                  <a:gd name="connsiteY44" fmla="*/ 219119 h 1101217"/>
                  <a:gd name="connsiteX45" fmla="*/ 632074 w 754275"/>
                  <a:gd name="connsiteY45" fmla="*/ 231760 h 1101217"/>
                  <a:gd name="connsiteX46" fmla="*/ 619432 w 754275"/>
                  <a:gd name="connsiteY46" fmla="*/ 240188 h 1101217"/>
                  <a:gd name="connsiteX47" fmla="*/ 585722 w 754275"/>
                  <a:gd name="connsiteY47" fmla="*/ 223333 h 1101217"/>
                  <a:gd name="connsiteX48" fmla="*/ 581508 w 754275"/>
                  <a:gd name="connsiteY48" fmla="*/ 202263 h 1101217"/>
                  <a:gd name="connsiteX49" fmla="*/ 556225 w 754275"/>
                  <a:gd name="connsiteY49" fmla="*/ 193836 h 1101217"/>
                  <a:gd name="connsiteX50" fmla="*/ 488804 w 754275"/>
                  <a:gd name="connsiteY50" fmla="*/ 185408 h 1101217"/>
                  <a:gd name="connsiteX51" fmla="*/ 476162 w 754275"/>
                  <a:gd name="connsiteY51" fmla="*/ 172767 h 1101217"/>
                  <a:gd name="connsiteX52" fmla="*/ 463521 w 754275"/>
                  <a:gd name="connsiteY52" fmla="*/ 164339 h 1101217"/>
                  <a:gd name="connsiteX53" fmla="*/ 459307 w 754275"/>
                  <a:gd name="connsiteY53" fmla="*/ 151698 h 1101217"/>
                  <a:gd name="connsiteX54" fmla="*/ 434024 w 754275"/>
                  <a:gd name="connsiteY54" fmla="*/ 139056 h 1101217"/>
                  <a:gd name="connsiteX55" fmla="*/ 404527 w 754275"/>
                  <a:gd name="connsiteY55" fmla="*/ 143270 h 1101217"/>
                  <a:gd name="connsiteX56" fmla="*/ 391886 w 754275"/>
                  <a:gd name="connsiteY56" fmla="*/ 147484 h 1101217"/>
                  <a:gd name="connsiteX57" fmla="*/ 345534 w 754275"/>
                  <a:gd name="connsiteY57" fmla="*/ 143270 h 1101217"/>
                  <a:gd name="connsiteX58" fmla="*/ 362389 w 754275"/>
                  <a:gd name="connsiteY58" fmla="*/ 117987 h 1101217"/>
                  <a:gd name="connsiteX59" fmla="*/ 358175 w 754275"/>
                  <a:gd name="connsiteY59" fmla="*/ 71635 h 1101217"/>
                  <a:gd name="connsiteX60" fmla="*/ 332892 w 754275"/>
                  <a:gd name="connsiteY60" fmla="*/ 58993 h 1101217"/>
                  <a:gd name="connsiteX61" fmla="*/ 278112 w 754275"/>
                  <a:gd name="connsiteY61" fmla="*/ 54780 h 1101217"/>
                  <a:gd name="connsiteX62" fmla="*/ 265471 w 754275"/>
                  <a:gd name="connsiteY62" fmla="*/ 50566 h 1101217"/>
                  <a:gd name="connsiteX63" fmla="*/ 261257 w 754275"/>
                  <a:gd name="connsiteY63" fmla="*/ 37924 h 1101217"/>
                  <a:gd name="connsiteX64" fmla="*/ 252829 w 754275"/>
                  <a:gd name="connsiteY64" fmla="*/ 25283 h 1101217"/>
                  <a:gd name="connsiteX65" fmla="*/ 240188 w 754275"/>
                  <a:gd name="connsiteY65" fmla="*/ 16855 h 1101217"/>
                  <a:gd name="connsiteX66" fmla="*/ 214905 w 754275"/>
                  <a:gd name="connsiteY66" fmla="*/ 0 h 1101217"/>
                  <a:gd name="connsiteX67" fmla="*/ 168553 w 754275"/>
                  <a:gd name="connsiteY67" fmla="*/ 29497 h 1101217"/>
                  <a:gd name="connsiteX68" fmla="*/ 164339 w 754275"/>
                  <a:gd name="connsiteY68" fmla="*/ 42138 h 1101217"/>
                  <a:gd name="connsiteX69" fmla="*/ 160125 w 754275"/>
                  <a:gd name="connsiteY69" fmla="*/ 113773 h 1101217"/>
                  <a:gd name="connsiteX70" fmla="*/ 155911 w 754275"/>
                  <a:gd name="connsiteY70" fmla="*/ 126415 h 1101217"/>
                  <a:gd name="connsiteX71" fmla="*/ 143270 w 754275"/>
                  <a:gd name="connsiteY71" fmla="*/ 134842 h 1101217"/>
                  <a:gd name="connsiteX72" fmla="*/ 130628 w 754275"/>
                  <a:gd name="connsiteY72" fmla="*/ 160125 h 1101217"/>
                  <a:gd name="connsiteX73" fmla="*/ 117987 w 754275"/>
                  <a:gd name="connsiteY73" fmla="*/ 168553 h 1101217"/>
                  <a:gd name="connsiteX74" fmla="*/ 109559 w 754275"/>
                  <a:gd name="connsiteY74" fmla="*/ 248616 h 1101217"/>
                  <a:gd name="connsiteX75" fmla="*/ 101132 w 754275"/>
                  <a:gd name="connsiteY75" fmla="*/ 261257 h 1101217"/>
                  <a:gd name="connsiteX76" fmla="*/ 96918 w 754275"/>
                  <a:gd name="connsiteY76" fmla="*/ 273898 h 1101217"/>
                  <a:gd name="connsiteX77" fmla="*/ 84276 w 754275"/>
                  <a:gd name="connsiteY77" fmla="*/ 324464 h 1101217"/>
                  <a:gd name="connsiteX78" fmla="*/ 71635 w 754275"/>
                  <a:gd name="connsiteY78" fmla="*/ 328678 h 1101217"/>
                  <a:gd name="connsiteX79" fmla="*/ 42138 w 754275"/>
                  <a:gd name="connsiteY79" fmla="*/ 358175 h 1101217"/>
                  <a:gd name="connsiteX80" fmla="*/ 29497 w 754275"/>
                  <a:gd name="connsiteY80" fmla="*/ 383458 h 1101217"/>
                  <a:gd name="connsiteX81" fmla="*/ 21069 w 754275"/>
                  <a:gd name="connsiteY81" fmla="*/ 396099 h 1101217"/>
                  <a:gd name="connsiteX82" fmla="*/ 8428 w 754275"/>
                  <a:gd name="connsiteY82" fmla="*/ 434024 h 1101217"/>
                  <a:gd name="connsiteX83" fmla="*/ 4214 w 754275"/>
                  <a:gd name="connsiteY83" fmla="*/ 446665 h 1101217"/>
                  <a:gd name="connsiteX84" fmla="*/ 0 w 754275"/>
                  <a:gd name="connsiteY84" fmla="*/ 467734 h 1101217"/>
                  <a:gd name="connsiteX85" fmla="*/ 4214 w 754275"/>
                  <a:gd name="connsiteY85" fmla="*/ 526728 h 1101217"/>
                  <a:gd name="connsiteX86" fmla="*/ 8428 w 754275"/>
                  <a:gd name="connsiteY86" fmla="*/ 539369 h 1101217"/>
                  <a:gd name="connsiteX87" fmla="*/ 21069 w 754275"/>
                  <a:gd name="connsiteY87" fmla="*/ 547797 h 1101217"/>
                  <a:gd name="connsiteX88" fmla="*/ 29497 w 754275"/>
                  <a:gd name="connsiteY88" fmla="*/ 573080 h 1101217"/>
                  <a:gd name="connsiteX89" fmla="*/ 46352 w 754275"/>
                  <a:gd name="connsiteY89" fmla="*/ 598363 h 1101217"/>
                  <a:gd name="connsiteX90" fmla="*/ 54780 w 754275"/>
                  <a:gd name="connsiteY90" fmla="*/ 615218 h 1101217"/>
                  <a:gd name="connsiteX91" fmla="*/ 71635 w 754275"/>
                  <a:gd name="connsiteY91" fmla="*/ 640501 h 1101217"/>
                  <a:gd name="connsiteX92" fmla="*/ 80063 w 754275"/>
                  <a:gd name="connsiteY92" fmla="*/ 653143 h 1101217"/>
                  <a:gd name="connsiteX93" fmla="*/ 88490 w 754275"/>
                  <a:gd name="connsiteY93" fmla="*/ 678426 h 1101217"/>
                  <a:gd name="connsiteX94" fmla="*/ 92704 w 754275"/>
                  <a:gd name="connsiteY94" fmla="*/ 691067 h 1101217"/>
                  <a:gd name="connsiteX95" fmla="*/ 96918 w 754275"/>
                  <a:gd name="connsiteY95" fmla="*/ 712136 h 1101217"/>
                  <a:gd name="connsiteX96" fmla="*/ 143270 w 754275"/>
                  <a:gd name="connsiteY96" fmla="*/ 750062 h 1101217"/>
                  <a:gd name="connsiteX97" fmla="*/ 147485 w 754275"/>
                  <a:gd name="connsiteY97" fmla="*/ 754275 h 1101217"/>
                  <a:gd name="connsiteX98" fmla="*/ 155912 w 754275"/>
                  <a:gd name="connsiteY98" fmla="*/ 766916 h 1101217"/>
                  <a:gd name="connsiteX99" fmla="*/ 185409 w 754275"/>
                  <a:gd name="connsiteY99" fmla="*/ 783771 h 1101217"/>
                  <a:gd name="connsiteX100" fmla="*/ 210691 w 754275"/>
                  <a:gd name="connsiteY100" fmla="*/ 821696 h 1101217"/>
                  <a:gd name="connsiteX101" fmla="*/ 235974 w 754275"/>
                  <a:gd name="connsiteY101" fmla="*/ 897545 h 1101217"/>
                  <a:gd name="connsiteX102" fmla="*/ 286539 w 754275"/>
                  <a:gd name="connsiteY102" fmla="*/ 922827 h 1101217"/>
                  <a:gd name="connsiteX103" fmla="*/ 257044 w 754275"/>
                  <a:gd name="connsiteY103" fmla="*/ 939682 h 1101217"/>
                  <a:gd name="connsiteX104" fmla="*/ 265471 w 754275"/>
                  <a:gd name="connsiteY104" fmla="*/ 952323 h 1101217"/>
                  <a:gd name="connsiteX105" fmla="*/ 257043 w 754275"/>
                  <a:gd name="connsiteY105" fmla="*/ 990248 h 1101217"/>
                  <a:gd name="connsiteX106" fmla="*/ 210691 w 754275"/>
                  <a:gd name="connsiteY106" fmla="*/ 994463 h 1101217"/>
                  <a:gd name="connsiteX107" fmla="*/ 219119 w 754275"/>
                  <a:gd name="connsiteY107" fmla="*/ 1019745 h 1101217"/>
                  <a:gd name="connsiteX108" fmla="*/ 227546 w 754275"/>
                  <a:gd name="connsiteY108" fmla="*/ 1049242 h 1101217"/>
                  <a:gd name="connsiteX109" fmla="*/ 231760 w 754275"/>
                  <a:gd name="connsiteY109" fmla="*/ 1074525 h 1101217"/>
                  <a:gd name="connsiteX110" fmla="*/ 235974 w 754275"/>
                  <a:gd name="connsiteY110" fmla="*/ 1087167 h 1101217"/>
                  <a:gd name="connsiteX111" fmla="*/ 261257 w 754275"/>
                  <a:gd name="connsiteY111" fmla="*/ 1095594 h 1101217"/>
                  <a:gd name="connsiteX112" fmla="*/ 273899 w 754275"/>
                  <a:gd name="connsiteY112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10569 w 755285"/>
                  <a:gd name="connsiteY74" fmla="*/ 248616 h 1101217"/>
                  <a:gd name="connsiteX75" fmla="*/ 102142 w 755285"/>
                  <a:gd name="connsiteY75" fmla="*/ 261257 h 1101217"/>
                  <a:gd name="connsiteX76" fmla="*/ 97928 w 755285"/>
                  <a:gd name="connsiteY76" fmla="*/ 273898 h 1101217"/>
                  <a:gd name="connsiteX77" fmla="*/ 85286 w 755285"/>
                  <a:gd name="connsiteY77" fmla="*/ 324464 h 1101217"/>
                  <a:gd name="connsiteX78" fmla="*/ 72645 w 755285"/>
                  <a:gd name="connsiteY78" fmla="*/ 328678 h 1101217"/>
                  <a:gd name="connsiteX79" fmla="*/ 43148 w 755285"/>
                  <a:gd name="connsiteY79" fmla="*/ 358175 h 1101217"/>
                  <a:gd name="connsiteX80" fmla="*/ 30507 w 755285"/>
                  <a:gd name="connsiteY80" fmla="*/ 383458 h 1101217"/>
                  <a:gd name="connsiteX81" fmla="*/ 118997 w 755285"/>
                  <a:gd name="connsiteY81" fmla="*/ 417168 h 1101217"/>
                  <a:gd name="connsiteX82" fmla="*/ 9438 w 755285"/>
                  <a:gd name="connsiteY82" fmla="*/ 434024 h 1101217"/>
                  <a:gd name="connsiteX83" fmla="*/ 5224 w 755285"/>
                  <a:gd name="connsiteY83" fmla="*/ 446665 h 1101217"/>
                  <a:gd name="connsiteX84" fmla="*/ 1010 w 755285"/>
                  <a:gd name="connsiteY84" fmla="*/ 467734 h 1101217"/>
                  <a:gd name="connsiteX85" fmla="*/ 5224 w 755285"/>
                  <a:gd name="connsiteY85" fmla="*/ 526728 h 1101217"/>
                  <a:gd name="connsiteX86" fmla="*/ 9438 w 755285"/>
                  <a:gd name="connsiteY86" fmla="*/ 539369 h 1101217"/>
                  <a:gd name="connsiteX87" fmla="*/ 22079 w 755285"/>
                  <a:gd name="connsiteY87" fmla="*/ 547797 h 1101217"/>
                  <a:gd name="connsiteX88" fmla="*/ 30507 w 755285"/>
                  <a:gd name="connsiteY88" fmla="*/ 573080 h 1101217"/>
                  <a:gd name="connsiteX89" fmla="*/ 47362 w 755285"/>
                  <a:gd name="connsiteY89" fmla="*/ 598363 h 1101217"/>
                  <a:gd name="connsiteX90" fmla="*/ 55790 w 755285"/>
                  <a:gd name="connsiteY90" fmla="*/ 615218 h 1101217"/>
                  <a:gd name="connsiteX91" fmla="*/ 72645 w 755285"/>
                  <a:gd name="connsiteY91" fmla="*/ 640501 h 1101217"/>
                  <a:gd name="connsiteX92" fmla="*/ 81073 w 755285"/>
                  <a:gd name="connsiteY92" fmla="*/ 653143 h 1101217"/>
                  <a:gd name="connsiteX93" fmla="*/ 89500 w 755285"/>
                  <a:gd name="connsiteY93" fmla="*/ 678426 h 1101217"/>
                  <a:gd name="connsiteX94" fmla="*/ 93714 w 755285"/>
                  <a:gd name="connsiteY94" fmla="*/ 691067 h 1101217"/>
                  <a:gd name="connsiteX95" fmla="*/ 97928 w 755285"/>
                  <a:gd name="connsiteY95" fmla="*/ 712136 h 1101217"/>
                  <a:gd name="connsiteX96" fmla="*/ 144280 w 755285"/>
                  <a:gd name="connsiteY96" fmla="*/ 750062 h 1101217"/>
                  <a:gd name="connsiteX97" fmla="*/ 148495 w 755285"/>
                  <a:gd name="connsiteY97" fmla="*/ 754275 h 1101217"/>
                  <a:gd name="connsiteX98" fmla="*/ 156922 w 755285"/>
                  <a:gd name="connsiteY98" fmla="*/ 766916 h 1101217"/>
                  <a:gd name="connsiteX99" fmla="*/ 186419 w 755285"/>
                  <a:gd name="connsiteY99" fmla="*/ 783771 h 1101217"/>
                  <a:gd name="connsiteX100" fmla="*/ 211701 w 755285"/>
                  <a:gd name="connsiteY100" fmla="*/ 821696 h 1101217"/>
                  <a:gd name="connsiteX101" fmla="*/ 236984 w 755285"/>
                  <a:gd name="connsiteY101" fmla="*/ 897545 h 1101217"/>
                  <a:gd name="connsiteX102" fmla="*/ 287549 w 755285"/>
                  <a:gd name="connsiteY102" fmla="*/ 922827 h 1101217"/>
                  <a:gd name="connsiteX103" fmla="*/ 258054 w 755285"/>
                  <a:gd name="connsiteY103" fmla="*/ 939682 h 1101217"/>
                  <a:gd name="connsiteX104" fmla="*/ 266481 w 755285"/>
                  <a:gd name="connsiteY104" fmla="*/ 952323 h 1101217"/>
                  <a:gd name="connsiteX105" fmla="*/ 258053 w 755285"/>
                  <a:gd name="connsiteY105" fmla="*/ 990248 h 1101217"/>
                  <a:gd name="connsiteX106" fmla="*/ 211701 w 755285"/>
                  <a:gd name="connsiteY106" fmla="*/ 994463 h 1101217"/>
                  <a:gd name="connsiteX107" fmla="*/ 220129 w 755285"/>
                  <a:gd name="connsiteY107" fmla="*/ 1019745 h 1101217"/>
                  <a:gd name="connsiteX108" fmla="*/ 228556 w 755285"/>
                  <a:gd name="connsiteY108" fmla="*/ 1049242 h 1101217"/>
                  <a:gd name="connsiteX109" fmla="*/ 232770 w 755285"/>
                  <a:gd name="connsiteY109" fmla="*/ 1074525 h 1101217"/>
                  <a:gd name="connsiteX110" fmla="*/ 236984 w 755285"/>
                  <a:gd name="connsiteY110" fmla="*/ 1087167 h 1101217"/>
                  <a:gd name="connsiteX111" fmla="*/ 262267 w 755285"/>
                  <a:gd name="connsiteY111" fmla="*/ 1095594 h 1101217"/>
                  <a:gd name="connsiteX112" fmla="*/ 274909 w 755285"/>
                  <a:gd name="connsiteY112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10569 w 755285"/>
                  <a:gd name="connsiteY74" fmla="*/ 248616 h 1101217"/>
                  <a:gd name="connsiteX75" fmla="*/ 102142 w 755285"/>
                  <a:gd name="connsiteY75" fmla="*/ 261257 h 1101217"/>
                  <a:gd name="connsiteX76" fmla="*/ 97928 w 755285"/>
                  <a:gd name="connsiteY76" fmla="*/ 273898 h 1101217"/>
                  <a:gd name="connsiteX77" fmla="*/ 85286 w 755285"/>
                  <a:gd name="connsiteY77" fmla="*/ 324464 h 1101217"/>
                  <a:gd name="connsiteX78" fmla="*/ 72645 w 755285"/>
                  <a:gd name="connsiteY78" fmla="*/ 328678 h 1101217"/>
                  <a:gd name="connsiteX79" fmla="*/ 43148 w 755285"/>
                  <a:gd name="connsiteY79" fmla="*/ 358175 h 1101217"/>
                  <a:gd name="connsiteX80" fmla="*/ 123211 w 755285"/>
                  <a:gd name="connsiteY80" fmla="*/ 400314 h 1101217"/>
                  <a:gd name="connsiteX81" fmla="*/ 118997 w 755285"/>
                  <a:gd name="connsiteY81" fmla="*/ 417168 h 1101217"/>
                  <a:gd name="connsiteX82" fmla="*/ 9438 w 755285"/>
                  <a:gd name="connsiteY82" fmla="*/ 434024 h 1101217"/>
                  <a:gd name="connsiteX83" fmla="*/ 5224 w 755285"/>
                  <a:gd name="connsiteY83" fmla="*/ 446665 h 1101217"/>
                  <a:gd name="connsiteX84" fmla="*/ 1010 w 755285"/>
                  <a:gd name="connsiteY84" fmla="*/ 467734 h 1101217"/>
                  <a:gd name="connsiteX85" fmla="*/ 5224 w 755285"/>
                  <a:gd name="connsiteY85" fmla="*/ 526728 h 1101217"/>
                  <a:gd name="connsiteX86" fmla="*/ 9438 w 755285"/>
                  <a:gd name="connsiteY86" fmla="*/ 539369 h 1101217"/>
                  <a:gd name="connsiteX87" fmla="*/ 22079 w 755285"/>
                  <a:gd name="connsiteY87" fmla="*/ 547797 h 1101217"/>
                  <a:gd name="connsiteX88" fmla="*/ 30507 w 755285"/>
                  <a:gd name="connsiteY88" fmla="*/ 573080 h 1101217"/>
                  <a:gd name="connsiteX89" fmla="*/ 47362 w 755285"/>
                  <a:gd name="connsiteY89" fmla="*/ 598363 h 1101217"/>
                  <a:gd name="connsiteX90" fmla="*/ 55790 w 755285"/>
                  <a:gd name="connsiteY90" fmla="*/ 615218 h 1101217"/>
                  <a:gd name="connsiteX91" fmla="*/ 72645 w 755285"/>
                  <a:gd name="connsiteY91" fmla="*/ 640501 h 1101217"/>
                  <a:gd name="connsiteX92" fmla="*/ 81073 w 755285"/>
                  <a:gd name="connsiteY92" fmla="*/ 653143 h 1101217"/>
                  <a:gd name="connsiteX93" fmla="*/ 89500 w 755285"/>
                  <a:gd name="connsiteY93" fmla="*/ 678426 h 1101217"/>
                  <a:gd name="connsiteX94" fmla="*/ 93714 w 755285"/>
                  <a:gd name="connsiteY94" fmla="*/ 691067 h 1101217"/>
                  <a:gd name="connsiteX95" fmla="*/ 97928 w 755285"/>
                  <a:gd name="connsiteY95" fmla="*/ 712136 h 1101217"/>
                  <a:gd name="connsiteX96" fmla="*/ 144280 w 755285"/>
                  <a:gd name="connsiteY96" fmla="*/ 750062 h 1101217"/>
                  <a:gd name="connsiteX97" fmla="*/ 148495 w 755285"/>
                  <a:gd name="connsiteY97" fmla="*/ 754275 h 1101217"/>
                  <a:gd name="connsiteX98" fmla="*/ 156922 w 755285"/>
                  <a:gd name="connsiteY98" fmla="*/ 766916 h 1101217"/>
                  <a:gd name="connsiteX99" fmla="*/ 186419 w 755285"/>
                  <a:gd name="connsiteY99" fmla="*/ 783771 h 1101217"/>
                  <a:gd name="connsiteX100" fmla="*/ 211701 w 755285"/>
                  <a:gd name="connsiteY100" fmla="*/ 821696 h 1101217"/>
                  <a:gd name="connsiteX101" fmla="*/ 236984 w 755285"/>
                  <a:gd name="connsiteY101" fmla="*/ 897545 h 1101217"/>
                  <a:gd name="connsiteX102" fmla="*/ 287549 w 755285"/>
                  <a:gd name="connsiteY102" fmla="*/ 922827 h 1101217"/>
                  <a:gd name="connsiteX103" fmla="*/ 258054 w 755285"/>
                  <a:gd name="connsiteY103" fmla="*/ 939682 h 1101217"/>
                  <a:gd name="connsiteX104" fmla="*/ 266481 w 755285"/>
                  <a:gd name="connsiteY104" fmla="*/ 952323 h 1101217"/>
                  <a:gd name="connsiteX105" fmla="*/ 258053 w 755285"/>
                  <a:gd name="connsiteY105" fmla="*/ 990248 h 1101217"/>
                  <a:gd name="connsiteX106" fmla="*/ 211701 w 755285"/>
                  <a:gd name="connsiteY106" fmla="*/ 994463 h 1101217"/>
                  <a:gd name="connsiteX107" fmla="*/ 220129 w 755285"/>
                  <a:gd name="connsiteY107" fmla="*/ 1019745 h 1101217"/>
                  <a:gd name="connsiteX108" fmla="*/ 228556 w 755285"/>
                  <a:gd name="connsiteY108" fmla="*/ 1049242 h 1101217"/>
                  <a:gd name="connsiteX109" fmla="*/ 232770 w 755285"/>
                  <a:gd name="connsiteY109" fmla="*/ 1074525 h 1101217"/>
                  <a:gd name="connsiteX110" fmla="*/ 236984 w 755285"/>
                  <a:gd name="connsiteY110" fmla="*/ 1087167 h 1101217"/>
                  <a:gd name="connsiteX111" fmla="*/ 262267 w 755285"/>
                  <a:gd name="connsiteY111" fmla="*/ 1095594 h 1101217"/>
                  <a:gd name="connsiteX112" fmla="*/ 274909 w 755285"/>
                  <a:gd name="connsiteY112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10569 w 755285"/>
                  <a:gd name="connsiteY74" fmla="*/ 248616 h 1101217"/>
                  <a:gd name="connsiteX75" fmla="*/ 102142 w 755285"/>
                  <a:gd name="connsiteY75" fmla="*/ 261257 h 1101217"/>
                  <a:gd name="connsiteX76" fmla="*/ 97928 w 755285"/>
                  <a:gd name="connsiteY76" fmla="*/ 273898 h 1101217"/>
                  <a:gd name="connsiteX77" fmla="*/ 85286 w 755285"/>
                  <a:gd name="connsiteY77" fmla="*/ 324464 h 1101217"/>
                  <a:gd name="connsiteX78" fmla="*/ 72645 w 755285"/>
                  <a:gd name="connsiteY78" fmla="*/ 328678 h 1101217"/>
                  <a:gd name="connsiteX79" fmla="*/ 43148 w 755285"/>
                  <a:gd name="connsiteY79" fmla="*/ 358175 h 1101217"/>
                  <a:gd name="connsiteX80" fmla="*/ 123211 w 755285"/>
                  <a:gd name="connsiteY80" fmla="*/ 400314 h 1101217"/>
                  <a:gd name="connsiteX81" fmla="*/ 118997 w 755285"/>
                  <a:gd name="connsiteY81" fmla="*/ 417168 h 1101217"/>
                  <a:gd name="connsiteX82" fmla="*/ 9438 w 755285"/>
                  <a:gd name="connsiteY82" fmla="*/ 434024 h 1101217"/>
                  <a:gd name="connsiteX83" fmla="*/ 5224 w 755285"/>
                  <a:gd name="connsiteY83" fmla="*/ 446665 h 1101217"/>
                  <a:gd name="connsiteX84" fmla="*/ 1010 w 755285"/>
                  <a:gd name="connsiteY84" fmla="*/ 467734 h 1101217"/>
                  <a:gd name="connsiteX85" fmla="*/ 5224 w 755285"/>
                  <a:gd name="connsiteY85" fmla="*/ 526728 h 1101217"/>
                  <a:gd name="connsiteX86" fmla="*/ 9438 w 755285"/>
                  <a:gd name="connsiteY86" fmla="*/ 539369 h 1101217"/>
                  <a:gd name="connsiteX87" fmla="*/ 22079 w 755285"/>
                  <a:gd name="connsiteY87" fmla="*/ 547797 h 1101217"/>
                  <a:gd name="connsiteX88" fmla="*/ 30507 w 755285"/>
                  <a:gd name="connsiteY88" fmla="*/ 573080 h 1101217"/>
                  <a:gd name="connsiteX89" fmla="*/ 47362 w 755285"/>
                  <a:gd name="connsiteY89" fmla="*/ 598363 h 1101217"/>
                  <a:gd name="connsiteX90" fmla="*/ 55790 w 755285"/>
                  <a:gd name="connsiteY90" fmla="*/ 615218 h 1101217"/>
                  <a:gd name="connsiteX91" fmla="*/ 72645 w 755285"/>
                  <a:gd name="connsiteY91" fmla="*/ 640501 h 1101217"/>
                  <a:gd name="connsiteX92" fmla="*/ 81073 w 755285"/>
                  <a:gd name="connsiteY92" fmla="*/ 653143 h 1101217"/>
                  <a:gd name="connsiteX93" fmla="*/ 89500 w 755285"/>
                  <a:gd name="connsiteY93" fmla="*/ 678426 h 1101217"/>
                  <a:gd name="connsiteX94" fmla="*/ 93714 w 755285"/>
                  <a:gd name="connsiteY94" fmla="*/ 691067 h 1101217"/>
                  <a:gd name="connsiteX95" fmla="*/ 97928 w 755285"/>
                  <a:gd name="connsiteY95" fmla="*/ 712136 h 1101217"/>
                  <a:gd name="connsiteX96" fmla="*/ 144280 w 755285"/>
                  <a:gd name="connsiteY96" fmla="*/ 750062 h 1101217"/>
                  <a:gd name="connsiteX97" fmla="*/ 148495 w 755285"/>
                  <a:gd name="connsiteY97" fmla="*/ 754275 h 1101217"/>
                  <a:gd name="connsiteX98" fmla="*/ 156922 w 755285"/>
                  <a:gd name="connsiteY98" fmla="*/ 766916 h 1101217"/>
                  <a:gd name="connsiteX99" fmla="*/ 186419 w 755285"/>
                  <a:gd name="connsiteY99" fmla="*/ 783771 h 1101217"/>
                  <a:gd name="connsiteX100" fmla="*/ 211701 w 755285"/>
                  <a:gd name="connsiteY100" fmla="*/ 821696 h 1101217"/>
                  <a:gd name="connsiteX101" fmla="*/ 236984 w 755285"/>
                  <a:gd name="connsiteY101" fmla="*/ 897545 h 1101217"/>
                  <a:gd name="connsiteX102" fmla="*/ 287549 w 755285"/>
                  <a:gd name="connsiteY102" fmla="*/ 922827 h 1101217"/>
                  <a:gd name="connsiteX103" fmla="*/ 258054 w 755285"/>
                  <a:gd name="connsiteY103" fmla="*/ 939682 h 1101217"/>
                  <a:gd name="connsiteX104" fmla="*/ 266481 w 755285"/>
                  <a:gd name="connsiteY104" fmla="*/ 952323 h 1101217"/>
                  <a:gd name="connsiteX105" fmla="*/ 258053 w 755285"/>
                  <a:gd name="connsiteY105" fmla="*/ 990248 h 1101217"/>
                  <a:gd name="connsiteX106" fmla="*/ 211701 w 755285"/>
                  <a:gd name="connsiteY106" fmla="*/ 994463 h 1101217"/>
                  <a:gd name="connsiteX107" fmla="*/ 220129 w 755285"/>
                  <a:gd name="connsiteY107" fmla="*/ 1019745 h 1101217"/>
                  <a:gd name="connsiteX108" fmla="*/ 228556 w 755285"/>
                  <a:gd name="connsiteY108" fmla="*/ 1049242 h 1101217"/>
                  <a:gd name="connsiteX109" fmla="*/ 232770 w 755285"/>
                  <a:gd name="connsiteY109" fmla="*/ 1074525 h 1101217"/>
                  <a:gd name="connsiteX110" fmla="*/ 236984 w 755285"/>
                  <a:gd name="connsiteY110" fmla="*/ 1087167 h 1101217"/>
                  <a:gd name="connsiteX111" fmla="*/ 262267 w 755285"/>
                  <a:gd name="connsiteY111" fmla="*/ 1095594 h 1101217"/>
                  <a:gd name="connsiteX112" fmla="*/ 274909 w 755285"/>
                  <a:gd name="connsiteY112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10569 w 755285"/>
                  <a:gd name="connsiteY74" fmla="*/ 248616 h 1101217"/>
                  <a:gd name="connsiteX75" fmla="*/ 102142 w 755285"/>
                  <a:gd name="connsiteY75" fmla="*/ 261257 h 1101217"/>
                  <a:gd name="connsiteX76" fmla="*/ 97928 w 755285"/>
                  <a:gd name="connsiteY76" fmla="*/ 273898 h 1101217"/>
                  <a:gd name="connsiteX77" fmla="*/ 85286 w 755285"/>
                  <a:gd name="connsiteY77" fmla="*/ 324464 h 1101217"/>
                  <a:gd name="connsiteX78" fmla="*/ 72645 w 755285"/>
                  <a:gd name="connsiteY78" fmla="*/ 328678 h 1101217"/>
                  <a:gd name="connsiteX79" fmla="*/ 106356 w 755285"/>
                  <a:gd name="connsiteY79" fmla="*/ 349747 h 1101217"/>
                  <a:gd name="connsiteX80" fmla="*/ 123211 w 755285"/>
                  <a:gd name="connsiteY80" fmla="*/ 400314 h 1101217"/>
                  <a:gd name="connsiteX81" fmla="*/ 118997 w 755285"/>
                  <a:gd name="connsiteY81" fmla="*/ 417168 h 1101217"/>
                  <a:gd name="connsiteX82" fmla="*/ 9438 w 755285"/>
                  <a:gd name="connsiteY82" fmla="*/ 434024 h 1101217"/>
                  <a:gd name="connsiteX83" fmla="*/ 5224 w 755285"/>
                  <a:gd name="connsiteY83" fmla="*/ 446665 h 1101217"/>
                  <a:gd name="connsiteX84" fmla="*/ 1010 w 755285"/>
                  <a:gd name="connsiteY84" fmla="*/ 467734 h 1101217"/>
                  <a:gd name="connsiteX85" fmla="*/ 5224 w 755285"/>
                  <a:gd name="connsiteY85" fmla="*/ 526728 h 1101217"/>
                  <a:gd name="connsiteX86" fmla="*/ 9438 w 755285"/>
                  <a:gd name="connsiteY86" fmla="*/ 539369 h 1101217"/>
                  <a:gd name="connsiteX87" fmla="*/ 22079 w 755285"/>
                  <a:gd name="connsiteY87" fmla="*/ 547797 h 1101217"/>
                  <a:gd name="connsiteX88" fmla="*/ 30507 w 755285"/>
                  <a:gd name="connsiteY88" fmla="*/ 573080 h 1101217"/>
                  <a:gd name="connsiteX89" fmla="*/ 47362 w 755285"/>
                  <a:gd name="connsiteY89" fmla="*/ 598363 h 1101217"/>
                  <a:gd name="connsiteX90" fmla="*/ 55790 w 755285"/>
                  <a:gd name="connsiteY90" fmla="*/ 615218 h 1101217"/>
                  <a:gd name="connsiteX91" fmla="*/ 72645 w 755285"/>
                  <a:gd name="connsiteY91" fmla="*/ 640501 h 1101217"/>
                  <a:gd name="connsiteX92" fmla="*/ 81073 w 755285"/>
                  <a:gd name="connsiteY92" fmla="*/ 653143 h 1101217"/>
                  <a:gd name="connsiteX93" fmla="*/ 89500 w 755285"/>
                  <a:gd name="connsiteY93" fmla="*/ 678426 h 1101217"/>
                  <a:gd name="connsiteX94" fmla="*/ 93714 w 755285"/>
                  <a:gd name="connsiteY94" fmla="*/ 691067 h 1101217"/>
                  <a:gd name="connsiteX95" fmla="*/ 97928 w 755285"/>
                  <a:gd name="connsiteY95" fmla="*/ 712136 h 1101217"/>
                  <a:gd name="connsiteX96" fmla="*/ 144280 w 755285"/>
                  <a:gd name="connsiteY96" fmla="*/ 750062 h 1101217"/>
                  <a:gd name="connsiteX97" fmla="*/ 148495 w 755285"/>
                  <a:gd name="connsiteY97" fmla="*/ 754275 h 1101217"/>
                  <a:gd name="connsiteX98" fmla="*/ 156922 w 755285"/>
                  <a:gd name="connsiteY98" fmla="*/ 766916 h 1101217"/>
                  <a:gd name="connsiteX99" fmla="*/ 186419 w 755285"/>
                  <a:gd name="connsiteY99" fmla="*/ 783771 h 1101217"/>
                  <a:gd name="connsiteX100" fmla="*/ 211701 w 755285"/>
                  <a:gd name="connsiteY100" fmla="*/ 821696 h 1101217"/>
                  <a:gd name="connsiteX101" fmla="*/ 236984 w 755285"/>
                  <a:gd name="connsiteY101" fmla="*/ 897545 h 1101217"/>
                  <a:gd name="connsiteX102" fmla="*/ 287549 w 755285"/>
                  <a:gd name="connsiteY102" fmla="*/ 922827 h 1101217"/>
                  <a:gd name="connsiteX103" fmla="*/ 258054 w 755285"/>
                  <a:gd name="connsiteY103" fmla="*/ 939682 h 1101217"/>
                  <a:gd name="connsiteX104" fmla="*/ 266481 w 755285"/>
                  <a:gd name="connsiteY104" fmla="*/ 952323 h 1101217"/>
                  <a:gd name="connsiteX105" fmla="*/ 258053 w 755285"/>
                  <a:gd name="connsiteY105" fmla="*/ 990248 h 1101217"/>
                  <a:gd name="connsiteX106" fmla="*/ 211701 w 755285"/>
                  <a:gd name="connsiteY106" fmla="*/ 994463 h 1101217"/>
                  <a:gd name="connsiteX107" fmla="*/ 220129 w 755285"/>
                  <a:gd name="connsiteY107" fmla="*/ 1019745 h 1101217"/>
                  <a:gd name="connsiteX108" fmla="*/ 228556 w 755285"/>
                  <a:gd name="connsiteY108" fmla="*/ 1049242 h 1101217"/>
                  <a:gd name="connsiteX109" fmla="*/ 232770 w 755285"/>
                  <a:gd name="connsiteY109" fmla="*/ 1074525 h 1101217"/>
                  <a:gd name="connsiteX110" fmla="*/ 236984 w 755285"/>
                  <a:gd name="connsiteY110" fmla="*/ 1087167 h 1101217"/>
                  <a:gd name="connsiteX111" fmla="*/ 262267 w 755285"/>
                  <a:gd name="connsiteY111" fmla="*/ 1095594 h 1101217"/>
                  <a:gd name="connsiteX112" fmla="*/ 274909 w 755285"/>
                  <a:gd name="connsiteY112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10569 w 755285"/>
                  <a:gd name="connsiteY74" fmla="*/ 248616 h 1101217"/>
                  <a:gd name="connsiteX75" fmla="*/ 102142 w 755285"/>
                  <a:gd name="connsiteY75" fmla="*/ 261257 h 1101217"/>
                  <a:gd name="connsiteX76" fmla="*/ 97928 w 755285"/>
                  <a:gd name="connsiteY76" fmla="*/ 273898 h 1101217"/>
                  <a:gd name="connsiteX77" fmla="*/ 135852 w 755285"/>
                  <a:gd name="connsiteY77" fmla="*/ 324464 h 1101217"/>
                  <a:gd name="connsiteX78" fmla="*/ 72645 w 755285"/>
                  <a:gd name="connsiteY78" fmla="*/ 328678 h 1101217"/>
                  <a:gd name="connsiteX79" fmla="*/ 106356 w 755285"/>
                  <a:gd name="connsiteY79" fmla="*/ 349747 h 1101217"/>
                  <a:gd name="connsiteX80" fmla="*/ 123211 w 755285"/>
                  <a:gd name="connsiteY80" fmla="*/ 400314 h 1101217"/>
                  <a:gd name="connsiteX81" fmla="*/ 118997 w 755285"/>
                  <a:gd name="connsiteY81" fmla="*/ 417168 h 1101217"/>
                  <a:gd name="connsiteX82" fmla="*/ 9438 w 755285"/>
                  <a:gd name="connsiteY82" fmla="*/ 434024 h 1101217"/>
                  <a:gd name="connsiteX83" fmla="*/ 5224 w 755285"/>
                  <a:gd name="connsiteY83" fmla="*/ 446665 h 1101217"/>
                  <a:gd name="connsiteX84" fmla="*/ 1010 w 755285"/>
                  <a:gd name="connsiteY84" fmla="*/ 467734 h 1101217"/>
                  <a:gd name="connsiteX85" fmla="*/ 5224 w 755285"/>
                  <a:gd name="connsiteY85" fmla="*/ 526728 h 1101217"/>
                  <a:gd name="connsiteX86" fmla="*/ 9438 w 755285"/>
                  <a:gd name="connsiteY86" fmla="*/ 539369 h 1101217"/>
                  <a:gd name="connsiteX87" fmla="*/ 22079 w 755285"/>
                  <a:gd name="connsiteY87" fmla="*/ 547797 h 1101217"/>
                  <a:gd name="connsiteX88" fmla="*/ 30507 w 755285"/>
                  <a:gd name="connsiteY88" fmla="*/ 573080 h 1101217"/>
                  <a:gd name="connsiteX89" fmla="*/ 47362 w 755285"/>
                  <a:gd name="connsiteY89" fmla="*/ 598363 h 1101217"/>
                  <a:gd name="connsiteX90" fmla="*/ 55790 w 755285"/>
                  <a:gd name="connsiteY90" fmla="*/ 615218 h 1101217"/>
                  <a:gd name="connsiteX91" fmla="*/ 72645 w 755285"/>
                  <a:gd name="connsiteY91" fmla="*/ 640501 h 1101217"/>
                  <a:gd name="connsiteX92" fmla="*/ 81073 w 755285"/>
                  <a:gd name="connsiteY92" fmla="*/ 653143 h 1101217"/>
                  <a:gd name="connsiteX93" fmla="*/ 89500 w 755285"/>
                  <a:gd name="connsiteY93" fmla="*/ 678426 h 1101217"/>
                  <a:gd name="connsiteX94" fmla="*/ 93714 w 755285"/>
                  <a:gd name="connsiteY94" fmla="*/ 691067 h 1101217"/>
                  <a:gd name="connsiteX95" fmla="*/ 97928 w 755285"/>
                  <a:gd name="connsiteY95" fmla="*/ 712136 h 1101217"/>
                  <a:gd name="connsiteX96" fmla="*/ 144280 w 755285"/>
                  <a:gd name="connsiteY96" fmla="*/ 750062 h 1101217"/>
                  <a:gd name="connsiteX97" fmla="*/ 148495 w 755285"/>
                  <a:gd name="connsiteY97" fmla="*/ 754275 h 1101217"/>
                  <a:gd name="connsiteX98" fmla="*/ 156922 w 755285"/>
                  <a:gd name="connsiteY98" fmla="*/ 766916 h 1101217"/>
                  <a:gd name="connsiteX99" fmla="*/ 186419 w 755285"/>
                  <a:gd name="connsiteY99" fmla="*/ 783771 h 1101217"/>
                  <a:gd name="connsiteX100" fmla="*/ 211701 w 755285"/>
                  <a:gd name="connsiteY100" fmla="*/ 821696 h 1101217"/>
                  <a:gd name="connsiteX101" fmla="*/ 236984 w 755285"/>
                  <a:gd name="connsiteY101" fmla="*/ 897545 h 1101217"/>
                  <a:gd name="connsiteX102" fmla="*/ 287549 w 755285"/>
                  <a:gd name="connsiteY102" fmla="*/ 922827 h 1101217"/>
                  <a:gd name="connsiteX103" fmla="*/ 258054 w 755285"/>
                  <a:gd name="connsiteY103" fmla="*/ 939682 h 1101217"/>
                  <a:gd name="connsiteX104" fmla="*/ 266481 w 755285"/>
                  <a:gd name="connsiteY104" fmla="*/ 952323 h 1101217"/>
                  <a:gd name="connsiteX105" fmla="*/ 258053 w 755285"/>
                  <a:gd name="connsiteY105" fmla="*/ 990248 h 1101217"/>
                  <a:gd name="connsiteX106" fmla="*/ 211701 w 755285"/>
                  <a:gd name="connsiteY106" fmla="*/ 994463 h 1101217"/>
                  <a:gd name="connsiteX107" fmla="*/ 220129 w 755285"/>
                  <a:gd name="connsiteY107" fmla="*/ 1019745 h 1101217"/>
                  <a:gd name="connsiteX108" fmla="*/ 228556 w 755285"/>
                  <a:gd name="connsiteY108" fmla="*/ 1049242 h 1101217"/>
                  <a:gd name="connsiteX109" fmla="*/ 232770 w 755285"/>
                  <a:gd name="connsiteY109" fmla="*/ 1074525 h 1101217"/>
                  <a:gd name="connsiteX110" fmla="*/ 236984 w 755285"/>
                  <a:gd name="connsiteY110" fmla="*/ 1087167 h 1101217"/>
                  <a:gd name="connsiteX111" fmla="*/ 262267 w 755285"/>
                  <a:gd name="connsiteY111" fmla="*/ 1095594 h 1101217"/>
                  <a:gd name="connsiteX112" fmla="*/ 274909 w 755285"/>
                  <a:gd name="connsiteY112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10569 w 755285"/>
                  <a:gd name="connsiteY74" fmla="*/ 248616 h 1101217"/>
                  <a:gd name="connsiteX75" fmla="*/ 102142 w 755285"/>
                  <a:gd name="connsiteY75" fmla="*/ 261257 h 1101217"/>
                  <a:gd name="connsiteX76" fmla="*/ 97928 w 755285"/>
                  <a:gd name="connsiteY76" fmla="*/ 273898 h 1101217"/>
                  <a:gd name="connsiteX77" fmla="*/ 135852 w 755285"/>
                  <a:gd name="connsiteY77" fmla="*/ 324464 h 1101217"/>
                  <a:gd name="connsiteX78" fmla="*/ 114783 w 755285"/>
                  <a:gd name="connsiteY78" fmla="*/ 337106 h 1101217"/>
                  <a:gd name="connsiteX79" fmla="*/ 106356 w 755285"/>
                  <a:gd name="connsiteY79" fmla="*/ 349747 h 1101217"/>
                  <a:gd name="connsiteX80" fmla="*/ 123211 w 755285"/>
                  <a:gd name="connsiteY80" fmla="*/ 400314 h 1101217"/>
                  <a:gd name="connsiteX81" fmla="*/ 118997 w 755285"/>
                  <a:gd name="connsiteY81" fmla="*/ 417168 h 1101217"/>
                  <a:gd name="connsiteX82" fmla="*/ 9438 w 755285"/>
                  <a:gd name="connsiteY82" fmla="*/ 434024 h 1101217"/>
                  <a:gd name="connsiteX83" fmla="*/ 5224 w 755285"/>
                  <a:gd name="connsiteY83" fmla="*/ 446665 h 1101217"/>
                  <a:gd name="connsiteX84" fmla="*/ 1010 w 755285"/>
                  <a:gd name="connsiteY84" fmla="*/ 467734 h 1101217"/>
                  <a:gd name="connsiteX85" fmla="*/ 5224 w 755285"/>
                  <a:gd name="connsiteY85" fmla="*/ 526728 h 1101217"/>
                  <a:gd name="connsiteX86" fmla="*/ 9438 w 755285"/>
                  <a:gd name="connsiteY86" fmla="*/ 539369 h 1101217"/>
                  <a:gd name="connsiteX87" fmla="*/ 22079 w 755285"/>
                  <a:gd name="connsiteY87" fmla="*/ 547797 h 1101217"/>
                  <a:gd name="connsiteX88" fmla="*/ 30507 w 755285"/>
                  <a:gd name="connsiteY88" fmla="*/ 573080 h 1101217"/>
                  <a:gd name="connsiteX89" fmla="*/ 47362 w 755285"/>
                  <a:gd name="connsiteY89" fmla="*/ 598363 h 1101217"/>
                  <a:gd name="connsiteX90" fmla="*/ 55790 w 755285"/>
                  <a:gd name="connsiteY90" fmla="*/ 615218 h 1101217"/>
                  <a:gd name="connsiteX91" fmla="*/ 72645 w 755285"/>
                  <a:gd name="connsiteY91" fmla="*/ 640501 h 1101217"/>
                  <a:gd name="connsiteX92" fmla="*/ 81073 w 755285"/>
                  <a:gd name="connsiteY92" fmla="*/ 653143 h 1101217"/>
                  <a:gd name="connsiteX93" fmla="*/ 89500 w 755285"/>
                  <a:gd name="connsiteY93" fmla="*/ 678426 h 1101217"/>
                  <a:gd name="connsiteX94" fmla="*/ 93714 w 755285"/>
                  <a:gd name="connsiteY94" fmla="*/ 691067 h 1101217"/>
                  <a:gd name="connsiteX95" fmla="*/ 97928 w 755285"/>
                  <a:gd name="connsiteY95" fmla="*/ 712136 h 1101217"/>
                  <a:gd name="connsiteX96" fmla="*/ 144280 w 755285"/>
                  <a:gd name="connsiteY96" fmla="*/ 750062 h 1101217"/>
                  <a:gd name="connsiteX97" fmla="*/ 148495 w 755285"/>
                  <a:gd name="connsiteY97" fmla="*/ 754275 h 1101217"/>
                  <a:gd name="connsiteX98" fmla="*/ 156922 w 755285"/>
                  <a:gd name="connsiteY98" fmla="*/ 766916 h 1101217"/>
                  <a:gd name="connsiteX99" fmla="*/ 186419 w 755285"/>
                  <a:gd name="connsiteY99" fmla="*/ 783771 h 1101217"/>
                  <a:gd name="connsiteX100" fmla="*/ 211701 w 755285"/>
                  <a:gd name="connsiteY100" fmla="*/ 821696 h 1101217"/>
                  <a:gd name="connsiteX101" fmla="*/ 236984 w 755285"/>
                  <a:gd name="connsiteY101" fmla="*/ 897545 h 1101217"/>
                  <a:gd name="connsiteX102" fmla="*/ 287549 w 755285"/>
                  <a:gd name="connsiteY102" fmla="*/ 922827 h 1101217"/>
                  <a:gd name="connsiteX103" fmla="*/ 258054 w 755285"/>
                  <a:gd name="connsiteY103" fmla="*/ 939682 h 1101217"/>
                  <a:gd name="connsiteX104" fmla="*/ 266481 w 755285"/>
                  <a:gd name="connsiteY104" fmla="*/ 952323 h 1101217"/>
                  <a:gd name="connsiteX105" fmla="*/ 258053 w 755285"/>
                  <a:gd name="connsiteY105" fmla="*/ 990248 h 1101217"/>
                  <a:gd name="connsiteX106" fmla="*/ 211701 w 755285"/>
                  <a:gd name="connsiteY106" fmla="*/ 994463 h 1101217"/>
                  <a:gd name="connsiteX107" fmla="*/ 220129 w 755285"/>
                  <a:gd name="connsiteY107" fmla="*/ 1019745 h 1101217"/>
                  <a:gd name="connsiteX108" fmla="*/ 228556 w 755285"/>
                  <a:gd name="connsiteY108" fmla="*/ 1049242 h 1101217"/>
                  <a:gd name="connsiteX109" fmla="*/ 232770 w 755285"/>
                  <a:gd name="connsiteY109" fmla="*/ 1074525 h 1101217"/>
                  <a:gd name="connsiteX110" fmla="*/ 236984 w 755285"/>
                  <a:gd name="connsiteY110" fmla="*/ 1087167 h 1101217"/>
                  <a:gd name="connsiteX111" fmla="*/ 262267 w 755285"/>
                  <a:gd name="connsiteY111" fmla="*/ 1095594 h 1101217"/>
                  <a:gd name="connsiteX112" fmla="*/ 274909 w 755285"/>
                  <a:gd name="connsiteY112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10569 w 755285"/>
                  <a:gd name="connsiteY74" fmla="*/ 248616 h 1101217"/>
                  <a:gd name="connsiteX75" fmla="*/ 102142 w 755285"/>
                  <a:gd name="connsiteY75" fmla="*/ 261257 h 1101217"/>
                  <a:gd name="connsiteX76" fmla="*/ 169563 w 755285"/>
                  <a:gd name="connsiteY76" fmla="*/ 290753 h 1101217"/>
                  <a:gd name="connsiteX77" fmla="*/ 135852 w 755285"/>
                  <a:gd name="connsiteY77" fmla="*/ 324464 h 1101217"/>
                  <a:gd name="connsiteX78" fmla="*/ 114783 w 755285"/>
                  <a:gd name="connsiteY78" fmla="*/ 337106 h 1101217"/>
                  <a:gd name="connsiteX79" fmla="*/ 106356 w 755285"/>
                  <a:gd name="connsiteY79" fmla="*/ 349747 h 1101217"/>
                  <a:gd name="connsiteX80" fmla="*/ 123211 w 755285"/>
                  <a:gd name="connsiteY80" fmla="*/ 400314 h 1101217"/>
                  <a:gd name="connsiteX81" fmla="*/ 118997 w 755285"/>
                  <a:gd name="connsiteY81" fmla="*/ 417168 h 1101217"/>
                  <a:gd name="connsiteX82" fmla="*/ 9438 w 755285"/>
                  <a:gd name="connsiteY82" fmla="*/ 434024 h 1101217"/>
                  <a:gd name="connsiteX83" fmla="*/ 5224 w 755285"/>
                  <a:gd name="connsiteY83" fmla="*/ 446665 h 1101217"/>
                  <a:gd name="connsiteX84" fmla="*/ 1010 w 755285"/>
                  <a:gd name="connsiteY84" fmla="*/ 467734 h 1101217"/>
                  <a:gd name="connsiteX85" fmla="*/ 5224 w 755285"/>
                  <a:gd name="connsiteY85" fmla="*/ 526728 h 1101217"/>
                  <a:gd name="connsiteX86" fmla="*/ 9438 w 755285"/>
                  <a:gd name="connsiteY86" fmla="*/ 539369 h 1101217"/>
                  <a:gd name="connsiteX87" fmla="*/ 22079 w 755285"/>
                  <a:gd name="connsiteY87" fmla="*/ 547797 h 1101217"/>
                  <a:gd name="connsiteX88" fmla="*/ 30507 w 755285"/>
                  <a:gd name="connsiteY88" fmla="*/ 573080 h 1101217"/>
                  <a:gd name="connsiteX89" fmla="*/ 47362 w 755285"/>
                  <a:gd name="connsiteY89" fmla="*/ 598363 h 1101217"/>
                  <a:gd name="connsiteX90" fmla="*/ 55790 w 755285"/>
                  <a:gd name="connsiteY90" fmla="*/ 615218 h 1101217"/>
                  <a:gd name="connsiteX91" fmla="*/ 72645 w 755285"/>
                  <a:gd name="connsiteY91" fmla="*/ 640501 h 1101217"/>
                  <a:gd name="connsiteX92" fmla="*/ 81073 w 755285"/>
                  <a:gd name="connsiteY92" fmla="*/ 653143 h 1101217"/>
                  <a:gd name="connsiteX93" fmla="*/ 89500 w 755285"/>
                  <a:gd name="connsiteY93" fmla="*/ 678426 h 1101217"/>
                  <a:gd name="connsiteX94" fmla="*/ 93714 w 755285"/>
                  <a:gd name="connsiteY94" fmla="*/ 691067 h 1101217"/>
                  <a:gd name="connsiteX95" fmla="*/ 97928 w 755285"/>
                  <a:gd name="connsiteY95" fmla="*/ 712136 h 1101217"/>
                  <a:gd name="connsiteX96" fmla="*/ 144280 w 755285"/>
                  <a:gd name="connsiteY96" fmla="*/ 750062 h 1101217"/>
                  <a:gd name="connsiteX97" fmla="*/ 148495 w 755285"/>
                  <a:gd name="connsiteY97" fmla="*/ 754275 h 1101217"/>
                  <a:gd name="connsiteX98" fmla="*/ 156922 w 755285"/>
                  <a:gd name="connsiteY98" fmla="*/ 766916 h 1101217"/>
                  <a:gd name="connsiteX99" fmla="*/ 186419 w 755285"/>
                  <a:gd name="connsiteY99" fmla="*/ 783771 h 1101217"/>
                  <a:gd name="connsiteX100" fmla="*/ 211701 w 755285"/>
                  <a:gd name="connsiteY100" fmla="*/ 821696 h 1101217"/>
                  <a:gd name="connsiteX101" fmla="*/ 236984 w 755285"/>
                  <a:gd name="connsiteY101" fmla="*/ 897545 h 1101217"/>
                  <a:gd name="connsiteX102" fmla="*/ 287549 w 755285"/>
                  <a:gd name="connsiteY102" fmla="*/ 922827 h 1101217"/>
                  <a:gd name="connsiteX103" fmla="*/ 258054 w 755285"/>
                  <a:gd name="connsiteY103" fmla="*/ 939682 h 1101217"/>
                  <a:gd name="connsiteX104" fmla="*/ 266481 w 755285"/>
                  <a:gd name="connsiteY104" fmla="*/ 952323 h 1101217"/>
                  <a:gd name="connsiteX105" fmla="*/ 258053 w 755285"/>
                  <a:gd name="connsiteY105" fmla="*/ 990248 h 1101217"/>
                  <a:gd name="connsiteX106" fmla="*/ 211701 w 755285"/>
                  <a:gd name="connsiteY106" fmla="*/ 994463 h 1101217"/>
                  <a:gd name="connsiteX107" fmla="*/ 220129 w 755285"/>
                  <a:gd name="connsiteY107" fmla="*/ 1019745 h 1101217"/>
                  <a:gd name="connsiteX108" fmla="*/ 228556 w 755285"/>
                  <a:gd name="connsiteY108" fmla="*/ 1049242 h 1101217"/>
                  <a:gd name="connsiteX109" fmla="*/ 232770 w 755285"/>
                  <a:gd name="connsiteY109" fmla="*/ 1074525 h 1101217"/>
                  <a:gd name="connsiteX110" fmla="*/ 236984 w 755285"/>
                  <a:gd name="connsiteY110" fmla="*/ 1087167 h 1101217"/>
                  <a:gd name="connsiteX111" fmla="*/ 262267 w 755285"/>
                  <a:gd name="connsiteY111" fmla="*/ 1095594 h 1101217"/>
                  <a:gd name="connsiteX112" fmla="*/ 274909 w 755285"/>
                  <a:gd name="connsiteY112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10569 w 755285"/>
                  <a:gd name="connsiteY74" fmla="*/ 248616 h 1101217"/>
                  <a:gd name="connsiteX75" fmla="*/ 177991 w 755285"/>
                  <a:gd name="connsiteY75" fmla="*/ 240187 h 1101217"/>
                  <a:gd name="connsiteX76" fmla="*/ 169563 w 755285"/>
                  <a:gd name="connsiteY76" fmla="*/ 290753 h 1101217"/>
                  <a:gd name="connsiteX77" fmla="*/ 135852 w 755285"/>
                  <a:gd name="connsiteY77" fmla="*/ 324464 h 1101217"/>
                  <a:gd name="connsiteX78" fmla="*/ 114783 w 755285"/>
                  <a:gd name="connsiteY78" fmla="*/ 337106 h 1101217"/>
                  <a:gd name="connsiteX79" fmla="*/ 106356 w 755285"/>
                  <a:gd name="connsiteY79" fmla="*/ 349747 h 1101217"/>
                  <a:gd name="connsiteX80" fmla="*/ 123211 w 755285"/>
                  <a:gd name="connsiteY80" fmla="*/ 400314 h 1101217"/>
                  <a:gd name="connsiteX81" fmla="*/ 118997 w 755285"/>
                  <a:gd name="connsiteY81" fmla="*/ 417168 h 1101217"/>
                  <a:gd name="connsiteX82" fmla="*/ 9438 w 755285"/>
                  <a:gd name="connsiteY82" fmla="*/ 434024 h 1101217"/>
                  <a:gd name="connsiteX83" fmla="*/ 5224 w 755285"/>
                  <a:gd name="connsiteY83" fmla="*/ 446665 h 1101217"/>
                  <a:gd name="connsiteX84" fmla="*/ 1010 w 755285"/>
                  <a:gd name="connsiteY84" fmla="*/ 467734 h 1101217"/>
                  <a:gd name="connsiteX85" fmla="*/ 5224 w 755285"/>
                  <a:gd name="connsiteY85" fmla="*/ 526728 h 1101217"/>
                  <a:gd name="connsiteX86" fmla="*/ 9438 w 755285"/>
                  <a:gd name="connsiteY86" fmla="*/ 539369 h 1101217"/>
                  <a:gd name="connsiteX87" fmla="*/ 22079 w 755285"/>
                  <a:gd name="connsiteY87" fmla="*/ 547797 h 1101217"/>
                  <a:gd name="connsiteX88" fmla="*/ 30507 w 755285"/>
                  <a:gd name="connsiteY88" fmla="*/ 573080 h 1101217"/>
                  <a:gd name="connsiteX89" fmla="*/ 47362 w 755285"/>
                  <a:gd name="connsiteY89" fmla="*/ 598363 h 1101217"/>
                  <a:gd name="connsiteX90" fmla="*/ 55790 w 755285"/>
                  <a:gd name="connsiteY90" fmla="*/ 615218 h 1101217"/>
                  <a:gd name="connsiteX91" fmla="*/ 72645 w 755285"/>
                  <a:gd name="connsiteY91" fmla="*/ 640501 h 1101217"/>
                  <a:gd name="connsiteX92" fmla="*/ 81073 w 755285"/>
                  <a:gd name="connsiteY92" fmla="*/ 653143 h 1101217"/>
                  <a:gd name="connsiteX93" fmla="*/ 89500 w 755285"/>
                  <a:gd name="connsiteY93" fmla="*/ 678426 h 1101217"/>
                  <a:gd name="connsiteX94" fmla="*/ 93714 w 755285"/>
                  <a:gd name="connsiteY94" fmla="*/ 691067 h 1101217"/>
                  <a:gd name="connsiteX95" fmla="*/ 97928 w 755285"/>
                  <a:gd name="connsiteY95" fmla="*/ 712136 h 1101217"/>
                  <a:gd name="connsiteX96" fmla="*/ 144280 w 755285"/>
                  <a:gd name="connsiteY96" fmla="*/ 750062 h 1101217"/>
                  <a:gd name="connsiteX97" fmla="*/ 148495 w 755285"/>
                  <a:gd name="connsiteY97" fmla="*/ 754275 h 1101217"/>
                  <a:gd name="connsiteX98" fmla="*/ 156922 w 755285"/>
                  <a:gd name="connsiteY98" fmla="*/ 766916 h 1101217"/>
                  <a:gd name="connsiteX99" fmla="*/ 186419 w 755285"/>
                  <a:gd name="connsiteY99" fmla="*/ 783771 h 1101217"/>
                  <a:gd name="connsiteX100" fmla="*/ 211701 w 755285"/>
                  <a:gd name="connsiteY100" fmla="*/ 821696 h 1101217"/>
                  <a:gd name="connsiteX101" fmla="*/ 236984 w 755285"/>
                  <a:gd name="connsiteY101" fmla="*/ 897545 h 1101217"/>
                  <a:gd name="connsiteX102" fmla="*/ 287549 w 755285"/>
                  <a:gd name="connsiteY102" fmla="*/ 922827 h 1101217"/>
                  <a:gd name="connsiteX103" fmla="*/ 258054 w 755285"/>
                  <a:gd name="connsiteY103" fmla="*/ 939682 h 1101217"/>
                  <a:gd name="connsiteX104" fmla="*/ 266481 w 755285"/>
                  <a:gd name="connsiteY104" fmla="*/ 952323 h 1101217"/>
                  <a:gd name="connsiteX105" fmla="*/ 258053 w 755285"/>
                  <a:gd name="connsiteY105" fmla="*/ 990248 h 1101217"/>
                  <a:gd name="connsiteX106" fmla="*/ 211701 w 755285"/>
                  <a:gd name="connsiteY106" fmla="*/ 994463 h 1101217"/>
                  <a:gd name="connsiteX107" fmla="*/ 220129 w 755285"/>
                  <a:gd name="connsiteY107" fmla="*/ 1019745 h 1101217"/>
                  <a:gd name="connsiteX108" fmla="*/ 228556 w 755285"/>
                  <a:gd name="connsiteY108" fmla="*/ 1049242 h 1101217"/>
                  <a:gd name="connsiteX109" fmla="*/ 232770 w 755285"/>
                  <a:gd name="connsiteY109" fmla="*/ 1074525 h 1101217"/>
                  <a:gd name="connsiteX110" fmla="*/ 236984 w 755285"/>
                  <a:gd name="connsiteY110" fmla="*/ 1087167 h 1101217"/>
                  <a:gd name="connsiteX111" fmla="*/ 262267 w 755285"/>
                  <a:gd name="connsiteY111" fmla="*/ 1095594 h 1101217"/>
                  <a:gd name="connsiteX112" fmla="*/ 274909 w 755285"/>
                  <a:gd name="connsiteY112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10569 w 755285"/>
                  <a:gd name="connsiteY75" fmla="*/ 248616 h 1101217"/>
                  <a:gd name="connsiteX76" fmla="*/ 177991 w 755285"/>
                  <a:gd name="connsiteY76" fmla="*/ 240187 h 1101217"/>
                  <a:gd name="connsiteX77" fmla="*/ 169563 w 755285"/>
                  <a:gd name="connsiteY77" fmla="*/ 290753 h 1101217"/>
                  <a:gd name="connsiteX78" fmla="*/ 135852 w 755285"/>
                  <a:gd name="connsiteY78" fmla="*/ 324464 h 1101217"/>
                  <a:gd name="connsiteX79" fmla="*/ 114783 w 755285"/>
                  <a:gd name="connsiteY79" fmla="*/ 337106 h 1101217"/>
                  <a:gd name="connsiteX80" fmla="*/ 106356 w 755285"/>
                  <a:gd name="connsiteY80" fmla="*/ 349747 h 1101217"/>
                  <a:gd name="connsiteX81" fmla="*/ 123211 w 755285"/>
                  <a:gd name="connsiteY81" fmla="*/ 400314 h 1101217"/>
                  <a:gd name="connsiteX82" fmla="*/ 118997 w 755285"/>
                  <a:gd name="connsiteY82" fmla="*/ 417168 h 1101217"/>
                  <a:gd name="connsiteX83" fmla="*/ 9438 w 755285"/>
                  <a:gd name="connsiteY83" fmla="*/ 434024 h 1101217"/>
                  <a:gd name="connsiteX84" fmla="*/ 5224 w 755285"/>
                  <a:gd name="connsiteY84" fmla="*/ 446665 h 1101217"/>
                  <a:gd name="connsiteX85" fmla="*/ 1010 w 755285"/>
                  <a:gd name="connsiteY85" fmla="*/ 467734 h 1101217"/>
                  <a:gd name="connsiteX86" fmla="*/ 5224 w 755285"/>
                  <a:gd name="connsiteY86" fmla="*/ 526728 h 1101217"/>
                  <a:gd name="connsiteX87" fmla="*/ 9438 w 755285"/>
                  <a:gd name="connsiteY87" fmla="*/ 539369 h 1101217"/>
                  <a:gd name="connsiteX88" fmla="*/ 22079 w 755285"/>
                  <a:gd name="connsiteY88" fmla="*/ 547797 h 1101217"/>
                  <a:gd name="connsiteX89" fmla="*/ 30507 w 755285"/>
                  <a:gd name="connsiteY89" fmla="*/ 573080 h 1101217"/>
                  <a:gd name="connsiteX90" fmla="*/ 47362 w 755285"/>
                  <a:gd name="connsiteY90" fmla="*/ 598363 h 1101217"/>
                  <a:gd name="connsiteX91" fmla="*/ 55790 w 755285"/>
                  <a:gd name="connsiteY91" fmla="*/ 615218 h 1101217"/>
                  <a:gd name="connsiteX92" fmla="*/ 72645 w 755285"/>
                  <a:gd name="connsiteY92" fmla="*/ 640501 h 1101217"/>
                  <a:gd name="connsiteX93" fmla="*/ 81073 w 755285"/>
                  <a:gd name="connsiteY93" fmla="*/ 653143 h 1101217"/>
                  <a:gd name="connsiteX94" fmla="*/ 89500 w 755285"/>
                  <a:gd name="connsiteY94" fmla="*/ 678426 h 1101217"/>
                  <a:gd name="connsiteX95" fmla="*/ 93714 w 755285"/>
                  <a:gd name="connsiteY95" fmla="*/ 691067 h 1101217"/>
                  <a:gd name="connsiteX96" fmla="*/ 97928 w 755285"/>
                  <a:gd name="connsiteY96" fmla="*/ 712136 h 1101217"/>
                  <a:gd name="connsiteX97" fmla="*/ 144280 w 755285"/>
                  <a:gd name="connsiteY97" fmla="*/ 750062 h 1101217"/>
                  <a:gd name="connsiteX98" fmla="*/ 148495 w 755285"/>
                  <a:gd name="connsiteY98" fmla="*/ 754275 h 1101217"/>
                  <a:gd name="connsiteX99" fmla="*/ 156922 w 755285"/>
                  <a:gd name="connsiteY99" fmla="*/ 766916 h 1101217"/>
                  <a:gd name="connsiteX100" fmla="*/ 186419 w 755285"/>
                  <a:gd name="connsiteY100" fmla="*/ 783771 h 1101217"/>
                  <a:gd name="connsiteX101" fmla="*/ 211701 w 755285"/>
                  <a:gd name="connsiteY101" fmla="*/ 821696 h 1101217"/>
                  <a:gd name="connsiteX102" fmla="*/ 236984 w 755285"/>
                  <a:gd name="connsiteY102" fmla="*/ 897545 h 1101217"/>
                  <a:gd name="connsiteX103" fmla="*/ 287549 w 755285"/>
                  <a:gd name="connsiteY103" fmla="*/ 922827 h 1101217"/>
                  <a:gd name="connsiteX104" fmla="*/ 258054 w 755285"/>
                  <a:gd name="connsiteY104" fmla="*/ 939682 h 1101217"/>
                  <a:gd name="connsiteX105" fmla="*/ 266481 w 755285"/>
                  <a:gd name="connsiteY105" fmla="*/ 952323 h 1101217"/>
                  <a:gd name="connsiteX106" fmla="*/ 258053 w 755285"/>
                  <a:gd name="connsiteY106" fmla="*/ 990248 h 1101217"/>
                  <a:gd name="connsiteX107" fmla="*/ 211701 w 755285"/>
                  <a:gd name="connsiteY107" fmla="*/ 994463 h 1101217"/>
                  <a:gd name="connsiteX108" fmla="*/ 220129 w 755285"/>
                  <a:gd name="connsiteY108" fmla="*/ 1019745 h 1101217"/>
                  <a:gd name="connsiteX109" fmla="*/ 228556 w 755285"/>
                  <a:gd name="connsiteY109" fmla="*/ 1049242 h 1101217"/>
                  <a:gd name="connsiteX110" fmla="*/ 232770 w 755285"/>
                  <a:gd name="connsiteY110" fmla="*/ 1074525 h 1101217"/>
                  <a:gd name="connsiteX111" fmla="*/ 236984 w 755285"/>
                  <a:gd name="connsiteY111" fmla="*/ 1087167 h 1101217"/>
                  <a:gd name="connsiteX112" fmla="*/ 262267 w 755285"/>
                  <a:gd name="connsiteY112" fmla="*/ 1095594 h 1101217"/>
                  <a:gd name="connsiteX113" fmla="*/ 274909 w 755285"/>
                  <a:gd name="connsiteY113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10569 w 755285"/>
                  <a:gd name="connsiteY75" fmla="*/ 248616 h 1101217"/>
                  <a:gd name="connsiteX76" fmla="*/ 177991 w 755285"/>
                  <a:gd name="connsiteY76" fmla="*/ 223333 h 1101217"/>
                  <a:gd name="connsiteX77" fmla="*/ 177991 w 755285"/>
                  <a:gd name="connsiteY77" fmla="*/ 240187 h 1101217"/>
                  <a:gd name="connsiteX78" fmla="*/ 169563 w 755285"/>
                  <a:gd name="connsiteY78" fmla="*/ 290753 h 1101217"/>
                  <a:gd name="connsiteX79" fmla="*/ 135852 w 755285"/>
                  <a:gd name="connsiteY79" fmla="*/ 324464 h 1101217"/>
                  <a:gd name="connsiteX80" fmla="*/ 114783 w 755285"/>
                  <a:gd name="connsiteY80" fmla="*/ 337106 h 1101217"/>
                  <a:gd name="connsiteX81" fmla="*/ 106356 w 755285"/>
                  <a:gd name="connsiteY81" fmla="*/ 349747 h 1101217"/>
                  <a:gd name="connsiteX82" fmla="*/ 123211 w 755285"/>
                  <a:gd name="connsiteY82" fmla="*/ 400314 h 1101217"/>
                  <a:gd name="connsiteX83" fmla="*/ 118997 w 755285"/>
                  <a:gd name="connsiteY83" fmla="*/ 417168 h 1101217"/>
                  <a:gd name="connsiteX84" fmla="*/ 9438 w 755285"/>
                  <a:gd name="connsiteY84" fmla="*/ 434024 h 1101217"/>
                  <a:gd name="connsiteX85" fmla="*/ 5224 w 755285"/>
                  <a:gd name="connsiteY85" fmla="*/ 446665 h 1101217"/>
                  <a:gd name="connsiteX86" fmla="*/ 1010 w 755285"/>
                  <a:gd name="connsiteY86" fmla="*/ 467734 h 1101217"/>
                  <a:gd name="connsiteX87" fmla="*/ 5224 w 755285"/>
                  <a:gd name="connsiteY87" fmla="*/ 526728 h 1101217"/>
                  <a:gd name="connsiteX88" fmla="*/ 9438 w 755285"/>
                  <a:gd name="connsiteY88" fmla="*/ 539369 h 1101217"/>
                  <a:gd name="connsiteX89" fmla="*/ 22079 w 755285"/>
                  <a:gd name="connsiteY89" fmla="*/ 547797 h 1101217"/>
                  <a:gd name="connsiteX90" fmla="*/ 30507 w 755285"/>
                  <a:gd name="connsiteY90" fmla="*/ 573080 h 1101217"/>
                  <a:gd name="connsiteX91" fmla="*/ 47362 w 755285"/>
                  <a:gd name="connsiteY91" fmla="*/ 598363 h 1101217"/>
                  <a:gd name="connsiteX92" fmla="*/ 55790 w 755285"/>
                  <a:gd name="connsiteY92" fmla="*/ 615218 h 1101217"/>
                  <a:gd name="connsiteX93" fmla="*/ 72645 w 755285"/>
                  <a:gd name="connsiteY93" fmla="*/ 640501 h 1101217"/>
                  <a:gd name="connsiteX94" fmla="*/ 81073 w 755285"/>
                  <a:gd name="connsiteY94" fmla="*/ 653143 h 1101217"/>
                  <a:gd name="connsiteX95" fmla="*/ 89500 w 755285"/>
                  <a:gd name="connsiteY95" fmla="*/ 678426 h 1101217"/>
                  <a:gd name="connsiteX96" fmla="*/ 93714 w 755285"/>
                  <a:gd name="connsiteY96" fmla="*/ 691067 h 1101217"/>
                  <a:gd name="connsiteX97" fmla="*/ 97928 w 755285"/>
                  <a:gd name="connsiteY97" fmla="*/ 712136 h 1101217"/>
                  <a:gd name="connsiteX98" fmla="*/ 144280 w 755285"/>
                  <a:gd name="connsiteY98" fmla="*/ 750062 h 1101217"/>
                  <a:gd name="connsiteX99" fmla="*/ 148495 w 755285"/>
                  <a:gd name="connsiteY99" fmla="*/ 754275 h 1101217"/>
                  <a:gd name="connsiteX100" fmla="*/ 156922 w 755285"/>
                  <a:gd name="connsiteY100" fmla="*/ 766916 h 1101217"/>
                  <a:gd name="connsiteX101" fmla="*/ 186419 w 755285"/>
                  <a:gd name="connsiteY101" fmla="*/ 783771 h 1101217"/>
                  <a:gd name="connsiteX102" fmla="*/ 211701 w 755285"/>
                  <a:gd name="connsiteY102" fmla="*/ 821696 h 1101217"/>
                  <a:gd name="connsiteX103" fmla="*/ 236984 w 755285"/>
                  <a:gd name="connsiteY103" fmla="*/ 897545 h 1101217"/>
                  <a:gd name="connsiteX104" fmla="*/ 287549 w 755285"/>
                  <a:gd name="connsiteY104" fmla="*/ 922827 h 1101217"/>
                  <a:gd name="connsiteX105" fmla="*/ 258054 w 755285"/>
                  <a:gd name="connsiteY105" fmla="*/ 939682 h 1101217"/>
                  <a:gd name="connsiteX106" fmla="*/ 266481 w 755285"/>
                  <a:gd name="connsiteY106" fmla="*/ 952323 h 1101217"/>
                  <a:gd name="connsiteX107" fmla="*/ 258053 w 755285"/>
                  <a:gd name="connsiteY107" fmla="*/ 990248 h 1101217"/>
                  <a:gd name="connsiteX108" fmla="*/ 211701 w 755285"/>
                  <a:gd name="connsiteY108" fmla="*/ 994463 h 1101217"/>
                  <a:gd name="connsiteX109" fmla="*/ 220129 w 755285"/>
                  <a:gd name="connsiteY109" fmla="*/ 1019745 h 1101217"/>
                  <a:gd name="connsiteX110" fmla="*/ 228556 w 755285"/>
                  <a:gd name="connsiteY110" fmla="*/ 1049242 h 1101217"/>
                  <a:gd name="connsiteX111" fmla="*/ 232770 w 755285"/>
                  <a:gd name="connsiteY111" fmla="*/ 1074525 h 1101217"/>
                  <a:gd name="connsiteX112" fmla="*/ 236984 w 755285"/>
                  <a:gd name="connsiteY112" fmla="*/ 1087167 h 1101217"/>
                  <a:gd name="connsiteX113" fmla="*/ 262267 w 755285"/>
                  <a:gd name="connsiteY113" fmla="*/ 1095594 h 1101217"/>
                  <a:gd name="connsiteX114" fmla="*/ 274909 w 755285"/>
                  <a:gd name="connsiteY114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10569 w 755285"/>
                  <a:gd name="connsiteY75" fmla="*/ 248616 h 1101217"/>
                  <a:gd name="connsiteX76" fmla="*/ 190632 w 755285"/>
                  <a:gd name="connsiteY76" fmla="*/ 210691 h 1101217"/>
                  <a:gd name="connsiteX77" fmla="*/ 177991 w 755285"/>
                  <a:gd name="connsiteY77" fmla="*/ 223333 h 1101217"/>
                  <a:gd name="connsiteX78" fmla="*/ 177991 w 755285"/>
                  <a:gd name="connsiteY78" fmla="*/ 240187 h 1101217"/>
                  <a:gd name="connsiteX79" fmla="*/ 169563 w 755285"/>
                  <a:gd name="connsiteY79" fmla="*/ 290753 h 1101217"/>
                  <a:gd name="connsiteX80" fmla="*/ 135852 w 755285"/>
                  <a:gd name="connsiteY80" fmla="*/ 324464 h 1101217"/>
                  <a:gd name="connsiteX81" fmla="*/ 114783 w 755285"/>
                  <a:gd name="connsiteY81" fmla="*/ 337106 h 1101217"/>
                  <a:gd name="connsiteX82" fmla="*/ 106356 w 755285"/>
                  <a:gd name="connsiteY82" fmla="*/ 349747 h 1101217"/>
                  <a:gd name="connsiteX83" fmla="*/ 123211 w 755285"/>
                  <a:gd name="connsiteY83" fmla="*/ 400314 h 1101217"/>
                  <a:gd name="connsiteX84" fmla="*/ 118997 w 755285"/>
                  <a:gd name="connsiteY84" fmla="*/ 417168 h 1101217"/>
                  <a:gd name="connsiteX85" fmla="*/ 9438 w 755285"/>
                  <a:gd name="connsiteY85" fmla="*/ 434024 h 1101217"/>
                  <a:gd name="connsiteX86" fmla="*/ 5224 w 755285"/>
                  <a:gd name="connsiteY86" fmla="*/ 446665 h 1101217"/>
                  <a:gd name="connsiteX87" fmla="*/ 1010 w 755285"/>
                  <a:gd name="connsiteY87" fmla="*/ 467734 h 1101217"/>
                  <a:gd name="connsiteX88" fmla="*/ 5224 w 755285"/>
                  <a:gd name="connsiteY88" fmla="*/ 526728 h 1101217"/>
                  <a:gd name="connsiteX89" fmla="*/ 9438 w 755285"/>
                  <a:gd name="connsiteY89" fmla="*/ 539369 h 1101217"/>
                  <a:gd name="connsiteX90" fmla="*/ 22079 w 755285"/>
                  <a:gd name="connsiteY90" fmla="*/ 547797 h 1101217"/>
                  <a:gd name="connsiteX91" fmla="*/ 30507 w 755285"/>
                  <a:gd name="connsiteY91" fmla="*/ 573080 h 1101217"/>
                  <a:gd name="connsiteX92" fmla="*/ 47362 w 755285"/>
                  <a:gd name="connsiteY92" fmla="*/ 598363 h 1101217"/>
                  <a:gd name="connsiteX93" fmla="*/ 55790 w 755285"/>
                  <a:gd name="connsiteY93" fmla="*/ 615218 h 1101217"/>
                  <a:gd name="connsiteX94" fmla="*/ 72645 w 755285"/>
                  <a:gd name="connsiteY94" fmla="*/ 640501 h 1101217"/>
                  <a:gd name="connsiteX95" fmla="*/ 81073 w 755285"/>
                  <a:gd name="connsiteY95" fmla="*/ 653143 h 1101217"/>
                  <a:gd name="connsiteX96" fmla="*/ 89500 w 755285"/>
                  <a:gd name="connsiteY96" fmla="*/ 678426 h 1101217"/>
                  <a:gd name="connsiteX97" fmla="*/ 93714 w 755285"/>
                  <a:gd name="connsiteY97" fmla="*/ 691067 h 1101217"/>
                  <a:gd name="connsiteX98" fmla="*/ 97928 w 755285"/>
                  <a:gd name="connsiteY98" fmla="*/ 712136 h 1101217"/>
                  <a:gd name="connsiteX99" fmla="*/ 144280 w 755285"/>
                  <a:gd name="connsiteY99" fmla="*/ 750062 h 1101217"/>
                  <a:gd name="connsiteX100" fmla="*/ 148495 w 755285"/>
                  <a:gd name="connsiteY100" fmla="*/ 754275 h 1101217"/>
                  <a:gd name="connsiteX101" fmla="*/ 156922 w 755285"/>
                  <a:gd name="connsiteY101" fmla="*/ 766916 h 1101217"/>
                  <a:gd name="connsiteX102" fmla="*/ 186419 w 755285"/>
                  <a:gd name="connsiteY102" fmla="*/ 783771 h 1101217"/>
                  <a:gd name="connsiteX103" fmla="*/ 211701 w 755285"/>
                  <a:gd name="connsiteY103" fmla="*/ 821696 h 1101217"/>
                  <a:gd name="connsiteX104" fmla="*/ 236984 w 755285"/>
                  <a:gd name="connsiteY104" fmla="*/ 897545 h 1101217"/>
                  <a:gd name="connsiteX105" fmla="*/ 287549 w 755285"/>
                  <a:gd name="connsiteY105" fmla="*/ 922827 h 1101217"/>
                  <a:gd name="connsiteX106" fmla="*/ 258054 w 755285"/>
                  <a:gd name="connsiteY106" fmla="*/ 939682 h 1101217"/>
                  <a:gd name="connsiteX107" fmla="*/ 266481 w 755285"/>
                  <a:gd name="connsiteY107" fmla="*/ 952323 h 1101217"/>
                  <a:gd name="connsiteX108" fmla="*/ 258053 w 755285"/>
                  <a:gd name="connsiteY108" fmla="*/ 990248 h 1101217"/>
                  <a:gd name="connsiteX109" fmla="*/ 211701 w 755285"/>
                  <a:gd name="connsiteY109" fmla="*/ 994463 h 1101217"/>
                  <a:gd name="connsiteX110" fmla="*/ 220129 w 755285"/>
                  <a:gd name="connsiteY110" fmla="*/ 1019745 h 1101217"/>
                  <a:gd name="connsiteX111" fmla="*/ 228556 w 755285"/>
                  <a:gd name="connsiteY111" fmla="*/ 1049242 h 1101217"/>
                  <a:gd name="connsiteX112" fmla="*/ 232770 w 755285"/>
                  <a:gd name="connsiteY112" fmla="*/ 1074525 h 1101217"/>
                  <a:gd name="connsiteX113" fmla="*/ 236984 w 755285"/>
                  <a:gd name="connsiteY113" fmla="*/ 1087167 h 1101217"/>
                  <a:gd name="connsiteX114" fmla="*/ 262267 w 755285"/>
                  <a:gd name="connsiteY114" fmla="*/ 1095594 h 1101217"/>
                  <a:gd name="connsiteX115" fmla="*/ 274909 w 755285"/>
                  <a:gd name="connsiteY115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18997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86418 w 755285"/>
                  <a:gd name="connsiteY75" fmla="*/ 210691 h 1101217"/>
                  <a:gd name="connsiteX76" fmla="*/ 190632 w 755285"/>
                  <a:gd name="connsiteY76" fmla="*/ 210691 h 1101217"/>
                  <a:gd name="connsiteX77" fmla="*/ 177991 w 755285"/>
                  <a:gd name="connsiteY77" fmla="*/ 223333 h 1101217"/>
                  <a:gd name="connsiteX78" fmla="*/ 177991 w 755285"/>
                  <a:gd name="connsiteY78" fmla="*/ 240187 h 1101217"/>
                  <a:gd name="connsiteX79" fmla="*/ 169563 w 755285"/>
                  <a:gd name="connsiteY79" fmla="*/ 290753 h 1101217"/>
                  <a:gd name="connsiteX80" fmla="*/ 135852 w 755285"/>
                  <a:gd name="connsiteY80" fmla="*/ 324464 h 1101217"/>
                  <a:gd name="connsiteX81" fmla="*/ 114783 w 755285"/>
                  <a:gd name="connsiteY81" fmla="*/ 337106 h 1101217"/>
                  <a:gd name="connsiteX82" fmla="*/ 106356 w 755285"/>
                  <a:gd name="connsiteY82" fmla="*/ 349747 h 1101217"/>
                  <a:gd name="connsiteX83" fmla="*/ 123211 w 755285"/>
                  <a:gd name="connsiteY83" fmla="*/ 400314 h 1101217"/>
                  <a:gd name="connsiteX84" fmla="*/ 118997 w 755285"/>
                  <a:gd name="connsiteY84" fmla="*/ 417168 h 1101217"/>
                  <a:gd name="connsiteX85" fmla="*/ 9438 w 755285"/>
                  <a:gd name="connsiteY85" fmla="*/ 434024 h 1101217"/>
                  <a:gd name="connsiteX86" fmla="*/ 5224 w 755285"/>
                  <a:gd name="connsiteY86" fmla="*/ 446665 h 1101217"/>
                  <a:gd name="connsiteX87" fmla="*/ 1010 w 755285"/>
                  <a:gd name="connsiteY87" fmla="*/ 467734 h 1101217"/>
                  <a:gd name="connsiteX88" fmla="*/ 5224 w 755285"/>
                  <a:gd name="connsiteY88" fmla="*/ 526728 h 1101217"/>
                  <a:gd name="connsiteX89" fmla="*/ 9438 w 755285"/>
                  <a:gd name="connsiteY89" fmla="*/ 539369 h 1101217"/>
                  <a:gd name="connsiteX90" fmla="*/ 22079 w 755285"/>
                  <a:gd name="connsiteY90" fmla="*/ 547797 h 1101217"/>
                  <a:gd name="connsiteX91" fmla="*/ 30507 w 755285"/>
                  <a:gd name="connsiteY91" fmla="*/ 573080 h 1101217"/>
                  <a:gd name="connsiteX92" fmla="*/ 47362 w 755285"/>
                  <a:gd name="connsiteY92" fmla="*/ 598363 h 1101217"/>
                  <a:gd name="connsiteX93" fmla="*/ 55790 w 755285"/>
                  <a:gd name="connsiteY93" fmla="*/ 615218 h 1101217"/>
                  <a:gd name="connsiteX94" fmla="*/ 72645 w 755285"/>
                  <a:gd name="connsiteY94" fmla="*/ 640501 h 1101217"/>
                  <a:gd name="connsiteX95" fmla="*/ 81073 w 755285"/>
                  <a:gd name="connsiteY95" fmla="*/ 653143 h 1101217"/>
                  <a:gd name="connsiteX96" fmla="*/ 89500 w 755285"/>
                  <a:gd name="connsiteY96" fmla="*/ 678426 h 1101217"/>
                  <a:gd name="connsiteX97" fmla="*/ 93714 w 755285"/>
                  <a:gd name="connsiteY97" fmla="*/ 691067 h 1101217"/>
                  <a:gd name="connsiteX98" fmla="*/ 97928 w 755285"/>
                  <a:gd name="connsiteY98" fmla="*/ 712136 h 1101217"/>
                  <a:gd name="connsiteX99" fmla="*/ 144280 w 755285"/>
                  <a:gd name="connsiteY99" fmla="*/ 750062 h 1101217"/>
                  <a:gd name="connsiteX100" fmla="*/ 148495 w 755285"/>
                  <a:gd name="connsiteY100" fmla="*/ 754275 h 1101217"/>
                  <a:gd name="connsiteX101" fmla="*/ 156922 w 755285"/>
                  <a:gd name="connsiteY101" fmla="*/ 766916 h 1101217"/>
                  <a:gd name="connsiteX102" fmla="*/ 186419 w 755285"/>
                  <a:gd name="connsiteY102" fmla="*/ 783771 h 1101217"/>
                  <a:gd name="connsiteX103" fmla="*/ 211701 w 755285"/>
                  <a:gd name="connsiteY103" fmla="*/ 821696 h 1101217"/>
                  <a:gd name="connsiteX104" fmla="*/ 236984 w 755285"/>
                  <a:gd name="connsiteY104" fmla="*/ 897545 h 1101217"/>
                  <a:gd name="connsiteX105" fmla="*/ 287549 w 755285"/>
                  <a:gd name="connsiteY105" fmla="*/ 922827 h 1101217"/>
                  <a:gd name="connsiteX106" fmla="*/ 258054 w 755285"/>
                  <a:gd name="connsiteY106" fmla="*/ 939682 h 1101217"/>
                  <a:gd name="connsiteX107" fmla="*/ 266481 w 755285"/>
                  <a:gd name="connsiteY107" fmla="*/ 952323 h 1101217"/>
                  <a:gd name="connsiteX108" fmla="*/ 258053 w 755285"/>
                  <a:gd name="connsiteY108" fmla="*/ 990248 h 1101217"/>
                  <a:gd name="connsiteX109" fmla="*/ 211701 w 755285"/>
                  <a:gd name="connsiteY109" fmla="*/ 994463 h 1101217"/>
                  <a:gd name="connsiteX110" fmla="*/ 220129 w 755285"/>
                  <a:gd name="connsiteY110" fmla="*/ 1019745 h 1101217"/>
                  <a:gd name="connsiteX111" fmla="*/ 228556 w 755285"/>
                  <a:gd name="connsiteY111" fmla="*/ 1049242 h 1101217"/>
                  <a:gd name="connsiteX112" fmla="*/ 232770 w 755285"/>
                  <a:gd name="connsiteY112" fmla="*/ 1074525 h 1101217"/>
                  <a:gd name="connsiteX113" fmla="*/ 236984 w 755285"/>
                  <a:gd name="connsiteY113" fmla="*/ 1087167 h 1101217"/>
                  <a:gd name="connsiteX114" fmla="*/ 262267 w 755285"/>
                  <a:gd name="connsiteY114" fmla="*/ 1095594 h 1101217"/>
                  <a:gd name="connsiteX115" fmla="*/ 274909 w 755285"/>
                  <a:gd name="connsiteY115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144280 w 755285"/>
                  <a:gd name="connsiteY71" fmla="*/ 134842 h 1101217"/>
                  <a:gd name="connsiteX72" fmla="*/ 131638 w 755285"/>
                  <a:gd name="connsiteY72" fmla="*/ 160125 h 1101217"/>
                  <a:gd name="connsiteX73" fmla="*/ 182204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86418 w 755285"/>
                  <a:gd name="connsiteY75" fmla="*/ 210691 h 1101217"/>
                  <a:gd name="connsiteX76" fmla="*/ 190632 w 755285"/>
                  <a:gd name="connsiteY76" fmla="*/ 210691 h 1101217"/>
                  <a:gd name="connsiteX77" fmla="*/ 177991 w 755285"/>
                  <a:gd name="connsiteY77" fmla="*/ 223333 h 1101217"/>
                  <a:gd name="connsiteX78" fmla="*/ 177991 w 755285"/>
                  <a:gd name="connsiteY78" fmla="*/ 240187 h 1101217"/>
                  <a:gd name="connsiteX79" fmla="*/ 169563 w 755285"/>
                  <a:gd name="connsiteY79" fmla="*/ 290753 h 1101217"/>
                  <a:gd name="connsiteX80" fmla="*/ 135852 w 755285"/>
                  <a:gd name="connsiteY80" fmla="*/ 324464 h 1101217"/>
                  <a:gd name="connsiteX81" fmla="*/ 114783 w 755285"/>
                  <a:gd name="connsiteY81" fmla="*/ 337106 h 1101217"/>
                  <a:gd name="connsiteX82" fmla="*/ 106356 w 755285"/>
                  <a:gd name="connsiteY82" fmla="*/ 349747 h 1101217"/>
                  <a:gd name="connsiteX83" fmla="*/ 123211 w 755285"/>
                  <a:gd name="connsiteY83" fmla="*/ 400314 h 1101217"/>
                  <a:gd name="connsiteX84" fmla="*/ 118997 w 755285"/>
                  <a:gd name="connsiteY84" fmla="*/ 417168 h 1101217"/>
                  <a:gd name="connsiteX85" fmla="*/ 9438 w 755285"/>
                  <a:gd name="connsiteY85" fmla="*/ 434024 h 1101217"/>
                  <a:gd name="connsiteX86" fmla="*/ 5224 w 755285"/>
                  <a:gd name="connsiteY86" fmla="*/ 446665 h 1101217"/>
                  <a:gd name="connsiteX87" fmla="*/ 1010 w 755285"/>
                  <a:gd name="connsiteY87" fmla="*/ 467734 h 1101217"/>
                  <a:gd name="connsiteX88" fmla="*/ 5224 w 755285"/>
                  <a:gd name="connsiteY88" fmla="*/ 526728 h 1101217"/>
                  <a:gd name="connsiteX89" fmla="*/ 9438 w 755285"/>
                  <a:gd name="connsiteY89" fmla="*/ 539369 h 1101217"/>
                  <a:gd name="connsiteX90" fmla="*/ 22079 w 755285"/>
                  <a:gd name="connsiteY90" fmla="*/ 547797 h 1101217"/>
                  <a:gd name="connsiteX91" fmla="*/ 30507 w 755285"/>
                  <a:gd name="connsiteY91" fmla="*/ 573080 h 1101217"/>
                  <a:gd name="connsiteX92" fmla="*/ 47362 w 755285"/>
                  <a:gd name="connsiteY92" fmla="*/ 598363 h 1101217"/>
                  <a:gd name="connsiteX93" fmla="*/ 55790 w 755285"/>
                  <a:gd name="connsiteY93" fmla="*/ 615218 h 1101217"/>
                  <a:gd name="connsiteX94" fmla="*/ 72645 w 755285"/>
                  <a:gd name="connsiteY94" fmla="*/ 640501 h 1101217"/>
                  <a:gd name="connsiteX95" fmla="*/ 81073 w 755285"/>
                  <a:gd name="connsiteY95" fmla="*/ 653143 h 1101217"/>
                  <a:gd name="connsiteX96" fmla="*/ 89500 w 755285"/>
                  <a:gd name="connsiteY96" fmla="*/ 678426 h 1101217"/>
                  <a:gd name="connsiteX97" fmla="*/ 93714 w 755285"/>
                  <a:gd name="connsiteY97" fmla="*/ 691067 h 1101217"/>
                  <a:gd name="connsiteX98" fmla="*/ 97928 w 755285"/>
                  <a:gd name="connsiteY98" fmla="*/ 712136 h 1101217"/>
                  <a:gd name="connsiteX99" fmla="*/ 144280 w 755285"/>
                  <a:gd name="connsiteY99" fmla="*/ 750062 h 1101217"/>
                  <a:gd name="connsiteX100" fmla="*/ 148495 w 755285"/>
                  <a:gd name="connsiteY100" fmla="*/ 754275 h 1101217"/>
                  <a:gd name="connsiteX101" fmla="*/ 156922 w 755285"/>
                  <a:gd name="connsiteY101" fmla="*/ 766916 h 1101217"/>
                  <a:gd name="connsiteX102" fmla="*/ 186419 w 755285"/>
                  <a:gd name="connsiteY102" fmla="*/ 783771 h 1101217"/>
                  <a:gd name="connsiteX103" fmla="*/ 211701 w 755285"/>
                  <a:gd name="connsiteY103" fmla="*/ 821696 h 1101217"/>
                  <a:gd name="connsiteX104" fmla="*/ 236984 w 755285"/>
                  <a:gd name="connsiteY104" fmla="*/ 897545 h 1101217"/>
                  <a:gd name="connsiteX105" fmla="*/ 287549 w 755285"/>
                  <a:gd name="connsiteY105" fmla="*/ 922827 h 1101217"/>
                  <a:gd name="connsiteX106" fmla="*/ 258054 w 755285"/>
                  <a:gd name="connsiteY106" fmla="*/ 939682 h 1101217"/>
                  <a:gd name="connsiteX107" fmla="*/ 266481 w 755285"/>
                  <a:gd name="connsiteY107" fmla="*/ 952323 h 1101217"/>
                  <a:gd name="connsiteX108" fmla="*/ 258053 w 755285"/>
                  <a:gd name="connsiteY108" fmla="*/ 990248 h 1101217"/>
                  <a:gd name="connsiteX109" fmla="*/ 211701 w 755285"/>
                  <a:gd name="connsiteY109" fmla="*/ 994463 h 1101217"/>
                  <a:gd name="connsiteX110" fmla="*/ 220129 w 755285"/>
                  <a:gd name="connsiteY110" fmla="*/ 1019745 h 1101217"/>
                  <a:gd name="connsiteX111" fmla="*/ 228556 w 755285"/>
                  <a:gd name="connsiteY111" fmla="*/ 1049242 h 1101217"/>
                  <a:gd name="connsiteX112" fmla="*/ 232770 w 755285"/>
                  <a:gd name="connsiteY112" fmla="*/ 1074525 h 1101217"/>
                  <a:gd name="connsiteX113" fmla="*/ 236984 w 755285"/>
                  <a:gd name="connsiteY113" fmla="*/ 1087167 h 1101217"/>
                  <a:gd name="connsiteX114" fmla="*/ 262267 w 755285"/>
                  <a:gd name="connsiteY114" fmla="*/ 1095594 h 1101217"/>
                  <a:gd name="connsiteX115" fmla="*/ 274909 w 755285"/>
                  <a:gd name="connsiteY115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215915 w 755285"/>
                  <a:gd name="connsiteY71" fmla="*/ 155911 h 1101217"/>
                  <a:gd name="connsiteX72" fmla="*/ 131638 w 755285"/>
                  <a:gd name="connsiteY72" fmla="*/ 160125 h 1101217"/>
                  <a:gd name="connsiteX73" fmla="*/ 182204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86418 w 755285"/>
                  <a:gd name="connsiteY75" fmla="*/ 210691 h 1101217"/>
                  <a:gd name="connsiteX76" fmla="*/ 190632 w 755285"/>
                  <a:gd name="connsiteY76" fmla="*/ 210691 h 1101217"/>
                  <a:gd name="connsiteX77" fmla="*/ 177991 w 755285"/>
                  <a:gd name="connsiteY77" fmla="*/ 223333 h 1101217"/>
                  <a:gd name="connsiteX78" fmla="*/ 177991 w 755285"/>
                  <a:gd name="connsiteY78" fmla="*/ 240187 h 1101217"/>
                  <a:gd name="connsiteX79" fmla="*/ 169563 w 755285"/>
                  <a:gd name="connsiteY79" fmla="*/ 290753 h 1101217"/>
                  <a:gd name="connsiteX80" fmla="*/ 135852 w 755285"/>
                  <a:gd name="connsiteY80" fmla="*/ 324464 h 1101217"/>
                  <a:gd name="connsiteX81" fmla="*/ 114783 w 755285"/>
                  <a:gd name="connsiteY81" fmla="*/ 337106 h 1101217"/>
                  <a:gd name="connsiteX82" fmla="*/ 106356 w 755285"/>
                  <a:gd name="connsiteY82" fmla="*/ 349747 h 1101217"/>
                  <a:gd name="connsiteX83" fmla="*/ 123211 w 755285"/>
                  <a:gd name="connsiteY83" fmla="*/ 400314 h 1101217"/>
                  <a:gd name="connsiteX84" fmla="*/ 118997 w 755285"/>
                  <a:gd name="connsiteY84" fmla="*/ 417168 h 1101217"/>
                  <a:gd name="connsiteX85" fmla="*/ 9438 w 755285"/>
                  <a:gd name="connsiteY85" fmla="*/ 434024 h 1101217"/>
                  <a:gd name="connsiteX86" fmla="*/ 5224 w 755285"/>
                  <a:gd name="connsiteY86" fmla="*/ 446665 h 1101217"/>
                  <a:gd name="connsiteX87" fmla="*/ 1010 w 755285"/>
                  <a:gd name="connsiteY87" fmla="*/ 467734 h 1101217"/>
                  <a:gd name="connsiteX88" fmla="*/ 5224 w 755285"/>
                  <a:gd name="connsiteY88" fmla="*/ 526728 h 1101217"/>
                  <a:gd name="connsiteX89" fmla="*/ 9438 w 755285"/>
                  <a:gd name="connsiteY89" fmla="*/ 539369 h 1101217"/>
                  <a:gd name="connsiteX90" fmla="*/ 22079 w 755285"/>
                  <a:gd name="connsiteY90" fmla="*/ 547797 h 1101217"/>
                  <a:gd name="connsiteX91" fmla="*/ 30507 w 755285"/>
                  <a:gd name="connsiteY91" fmla="*/ 573080 h 1101217"/>
                  <a:gd name="connsiteX92" fmla="*/ 47362 w 755285"/>
                  <a:gd name="connsiteY92" fmla="*/ 598363 h 1101217"/>
                  <a:gd name="connsiteX93" fmla="*/ 55790 w 755285"/>
                  <a:gd name="connsiteY93" fmla="*/ 615218 h 1101217"/>
                  <a:gd name="connsiteX94" fmla="*/ 72645 w 755285"/>
                  <a:gd name="connsiteY94" fmla="*/ 640501 h 1101217"/>
                  <a:gd name="connsiteX95" fmla="*/ 81073 w 755285"/>
                  <a:gd name="connsiteY95" fmla="*/ 653143 h 1101217"/>
                  <a:gd name="connsiteX96" fmla="*/ 89500 w 755285"/>
                  <a:gd name="connsiteY96" fmla="*/ 678426 h 1101217"/>
                  <a:gd name="connsiteX97" fmla="*/ 93714 w 755285"/>
                  <a:gd name="connsiteY97" fmla="*/ 691067 h 1101217"/>
                  <a:gd name="connsiteX98" fmla="*/ 97928 w 755285"/>
                  <a:gd name="connsiteY98" fmla="*/ 712136 h 1101217"/>
                  <a:gd name="connsiteX99" fmla="*/ 144280 w 755285"/>
                  <a:gd name="connsiteY99" fmla="*/ 750062 h 1101217"/>
                  <a:gd name="connsiteX100" fmla="*/ 148495 w 755285"/>
                  <a:gd name="connsiteY100" fmla="*/ 754275 h 1101217"/>
                  <a:gd name="connsiteX101" fmla="*/ 156922 w 755285"/>
                  <a:gd name="connsiteY101" fmla="*/ 766916 h 1101217"/>
                  <a:gd name="connsiteX102" fmla="*/ 186419 w 755285"/>
                  <a:gd name="connsiteY102" fmla="*/ 783771 h 1101217"/>
                  <a:gd name="connsiteX103" fmla="*/ 211701 w 755285"/>
                  <a:gd name="connsiteY103" fmla="*/ 821696 h 1101217"/>
                  <a:gd name="connsiteX104" fmla="*/ 236984 w 755285"/>
                  <a:gd name="connsiteY104" fmla="*/ 897545 h 1101217"/>
                  <a:gd name="connsiteX105" fmla="*/ 287549 w 755285"/>
                  <a:gd name="connsiteY105" fmla="*/ 922827 h 1101217"/>
                  <a:gd name="connsiteX106" fmla="*/ 258054 w 755285"/>
                  <a:gd name="connsiteY106" fmla="*/ 939682 h 1101217"/>
                  <a:gd name="connsiteX107" fmla="*/ 266481 w 755285"/>
                  <a:gd name="connsiteY107" fmla="*/ 952323 h 1101217"/>
                  <a:gd name="connsiteX108" fmla="*/ 258053 w 755285"/>
                  <a:gd name="connsiteY108" fmla="*/ 990248 h 1101217"/>
                  <a:gd name="connsiteX109" fmla="*/ 211701 w 755285"/>
                  <a:gd name="connsiteY109" fmla="*/ 994463 h 1101217"/>
                  <a:gd name="connsiteX110" fmla="*/ 220129 w 755285"/>
                  <a:gd name="connsiteY110" fmla="*/ 1019745 h 1101217"/>
                  <a:gd name="connsiteX111" fmla="*/ 228556 w 755285"/>
                  <a:gd name="connsiteY111" fmla="*/ 1049242 h 1101217"/>
                  <a:gd name="connsiteX112" fmla="*/ 232770 w 755285"/>
                  <a:gd name="connsiteY112" fmla="*/ 1074525 h 1101217"/>
                  <a:gd name="connsiteX113" fmla="*/ 236984 w 755285"/>
                  <a:gd name="connsiteY113" fmla="*/ 1087167 h 1101217"/>
                  <a:gd name="connsiteX114" fmla="*/ 262267 w 755285"/>
                  <a:gd name="connsiteY114" fmla="*/ 1095594 h 1101217"/>
                  <a:gd name="connsiteX115" fmla="*/ 274909 w 755285"/>
                  <a:gd name="connsiteY115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156921 w 755285"/>
                  <a:gd name="connsiteY70" fmla="*/ 126415 h 1101217"/>
                  <a:gd name="connsiteX71" fmla="*/ 215915 w 755285"/>
                  <a:gd name="connsiteY71" fmla="*/ 155911 h 1101217"/>
                  <a:gd name="connsiteX72" fmla="*/ 203273 w 755285"/>
                  <a:gd name="connsiteY72" fmla="*/ 181194 h 1101217"/>
                  <a:gd name="connsiteX73" fmla="*/ 182204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86418 w 755285"/>
                  <a:gd name="connsiteY75" fmla="*/ 210691 h 1101217"/>
                  <a:gd name="connsiteX76" fmla="*/ 190632 w 755285"/>
                  <a:gd name="connsiteY76" fmla="*/ 210691 h 1101217"/>
                  <a:gd name="connsiteX77" fmla="*/ 177991 w 755285"/>
                  <a:gd name="connsiteY77" fmla="*/ 223333 h 1101217"/>
                  <a:gd name="connsiteX78" fmla="*/ 177991 w 755285"/>
                  <a:gd name="connsiteY78" fmla="*/ 240187 h 1101217"/>
                  <a:gd name="connsiteX79" fmla="*/ 169563 w 755285"/>
                  <a:gd name="connsiteY79" fmla="*/ 290753 h 1101217"/>
                  <a:gd name="connsiteX80" fmla="*/ 135852 w 755285"/>
                  <a:gd name="connsiteY80" fmla="*/ 324464 h 1101217"/>
                  <a:gd name="connsiteX81" fmla="*/ 114783 w 755285"/>
                  <a:gd name="connsiteY81" fmla="*/ 337106 h 1101217"/>
                  <a:gd name="connsiteX82" fmla="*/ 106356 w 755285"/>
                  <a:gd name="connsiteY82" fmla="*/ 349747 h 1101217"/>
                  <a:gd name="connsiteX83" fmla="*/ 123211 w 755285"/>
                  <a:gd name="connsiteY83" fmla="*/ 400314 h 1101217"/>
                  <a:gd name="connsiteX84" fmla="*/ 118997 w 755285"/>
                  <a:gd name="connsiteY84" fmla="*/ 417168 h 1101217"/>
                  <a:gd name="connsiteX85" fmla="*/ 9438 w 755285"/>
                  <a:gd name="connsiteY85" fmla="*/ 434024 h 1101217"/>
                  <a:gd name="connsiteX86" fmla="*/ 5224 w 755285"/>
                  <a:gd name="connsiteY86" fmla="*/ 446665 h 1101217"/>
                  <a:gd name="connsiteX87" fmla="*/ 1010 w 755285"/>
                  <a:gd name="connsiteY87" fmla="*/ 467734 h 1101217"/>
                  <a:gd name="connsiteX88" fmla="*/ 5224 w 755285"/>
                  <a:gd name="connsiteY88" fmla="*/ 526728 h 1101217"/>
                  <a:gd name="connsiteX89" fmla="*/ 9438 w 755285"/>
                  <a:gd name="connsiteY89" fmla="*/ 539369 h 1101217"/>
                  <a:gd name="connsiteX90" fmla="*/ 22079 w 755285"/>
                  <a:gd name="connsiteY90" fmla="*/ 547797 h 1101217"/>
                  <a:gd name="connsiteX91" fmla="*/ 30507 w 755285"/>
                  <a:gd name="connsiteY91" fmla="*/ 573080 h 1101217"/>
                  <a:gd name="connsiteX92" fmla="*/ 47362 w 755285"/>
                  <a:gd name="connsiteY92" fmla="*/ 598363 h 1101217"/>
                  <a:gd name="connsiteX93" fmla="*/ 55790 w 755285"/>
                  <a:gd name="connsiteY93" fmla="*/ 615218 h 1101217"/>
                  <a:gd name="connsiteX94" fmla="*/ 72645 w 755285"/>
                  <a:gd name="connsiteY94" fmla="*/ 640501 h 1101217"/>
                  <a:gd name="connsiteX95" fmla="*/ 81073 w 755285"/>
                  <a:gd name="connsiteY95" fmla="*/ 653143 h 1101217"/>
                  <a:gd name="connsiteX96" fmla="*/ 89500 w 755285"/>
                  <a:gd name="connsiteY96" fmla="*/ 678426 h 1101217"/>
                  <a:gd name="connsiteX97" fmla="*/ 93714 w 755285"/>
                  <a:gd name="connsiteY97" fmla="*/ 691067 h 1101217"/>
                  <a:gd name="connsiteX98" fmla="*/ 97928 w 755285"/>
                  <a:gd name="connsiteY98" fmla="*/ 712136 h 1101217"/>
                  <a:gd name="connsiteX99" fmla="*/ 144280 w 755285"/>
                  <a:gd name="connsiteY99" fmla="*/ 750062 h 1101217"/>
                  <a:gd name="connsiteX100" fmla="*/ 148495 w 755285"/>
                  <a:gd name="connsiteY100" fmla="*/ 754275 h 1101217"/>
                  <a:gd name="connsiteX101" fmla="*/ 156922 w 755285"/>
                  <a:gd name="connsiteY101" fmla="*/ 766916 h 1101217"/>
                  <a:gd name="connsiteX102" fmla="*/ 186419 w 755285"/>
                  <a:gd name="connsiteY102" fmla="*/ 783771 h 1101217"/>
                  <a:gd name="connsiteX103" fmla="*/ 211701 w 755285"/>
                  <a:gd name="connsiteY103" fmla="*/ 821696 h 1101217"/>
                  <a:gd name="connsiteX104" fmla="*/ 236984 w 755285"/>
                  <a:gd name="connsiteY104" fmla="*/ 897545 h 1101217"/>
                  <a:gd name="connsiteX105" fmla="*/ 287549 w 755285"/>
                  <a:gd name="connsiteY105" fmla="*/ 922827 h 1101217"/>
                  <a:gd name="connsiteX106" fmla="*/ 258054 w 755285"/>
                  <a:gd name="connsiteY106" fmla="*/ 939682 h 1101217"/>
                  <a:gd name="connsiteX107" fmla="*/ 266481 w 755285"/>
                  <a:gd name="connsiteY107" fmla="*/ 952323 h 1101217"/>
                  <a:gd name="connsiteX108" fmla="*/ 258053 w 755285"/>
                  <a:gd name="connsiteY108" fmla="*/ 990248 h 1101217"/>
                  <a:gd name="connsiteX109" fmla="*/ 211701 w 755285"/>
                  <a:gd name="connsiteY109" fmla="*/ 994463 h 1101217"/>
                  <a:gd name="connsiteX110" fmla="*/ 220129 w 755285"/>
                  <a:gd name="connsiteY110" fmla="*/ 1019745 h 1101217"/>
                  <a:gd name="connsiteX111" fmla="*/ 228556 w 755285"/>
                  <a:gd name="connsiteY111" fmla="*/ 1049242 h 1101217"/>
                  <a:gd name="connsiteX112" fmla="*/ 232770 w 755285"/>
                  <a:gd name="connsiteY112" fmla="*/ 1074525 h 1101217"/>
                  <a:gd name="connsiteX113" fmla="*/ 236984 w 755285"/>
                  <a:gd name="connsiteY113" fmla="*/ 1087167 h 1101217"/>
                  <a:gd name="connsiteX114" fmla="*/ 262267 w 755285"/>
                  <a:gd name="connsiteY114" fmla="*/ 1095594 h 1101217"/>
                  <a:gd name="connsiteX115" fmla="*/ 274909 w 755285"/>
                  <a:gd name="connsiteY115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161135 w 755285"/>
                  <a:gd name="connsiteY69" fmla="*/ 113773 h 1101217"/>
                  <a:gd name="connsiteX70" fmla="*/ 207487 w 755285"/>
                  <a:gd name="connsiteY70" fmla="*/ 126415 h 1101217"/>
                  <a:gd name="connsiteX71" fmla="*/ 215915 w 755285"/>
                  <a:gd name="connsiteY71" fmla="*/ 155911 h 1101217"/>
                  <a:gd name="connsiteX72" fmla="*/ 203273 w 755285"/>
                  <a:gd name="connsiteY72" fmla="*/ 181194 h 1101217"/>
                  <a:gd name="connsiteX73" fmla="*/ 182204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86418 w 755285"/>
                  <a:gd name="connsiteY75" fmla="*/ 210691 h 1101217"/>
                  <a:gd name="connsiteX76" fmla="*/ 190632 w 755285"/>
                  <a:gd name="connsiteY76" fmla="*/ 210691 h 1101217"/>
                  <a:gd name="connsiteX77" fmla="*/ 177991 w 755285"/>
                  <a:gd name="connsiteY77" fmla="*/ 223333 h 1101217"/>
                  <a:gd name="connsiteX78" fmla="*/ 177991 w 755285"/>
                  <a:gd name="connsiteY78" fmla="*/ 240187 h 1101217"/>
                  <a:gd name="connsiteX79" fmla="*/ 169563 w 755285"/>
                  <a:gd name="connsiteY79" fmla="*/ 290753 h 1101217"/>
                  <a:gd name="connsiteX80" fmla="*/ 135852 w 755285"/>
                  <a:gd name="connsiteY80" fmla="*/ 324464 h 1101217"/>
                  <a:gd name="connsiteX81" fmla="*/ 114783 w 755285"/>
                  <a:gd name="connsiteY81" fmla="*/ 337106 h 1101217"/>
                  <a:gd name="connsiteX82" fmla="*/ 106356 w 755285"/>
                  <a:gd name="connsiteY82" fmla="*/ 349747 h 1101217"/>
                  <a:gd name="connsiteX83" fmla="*/ 123211 w 755285"/>
                  <a:gd name="connsiteY83" fmla="*/ 400314 h 1101217"/>
                  <a:gd name="connsiteX84" fmla="*/ 118997 w 755285"/>
                  <a:gd name="connsiteY84" fmla="*/ 417168 h 1101217"/>
                  <a:gd name="connsiteX85" fmla="*/ 9438 w 755285"/>
                  <a:gd name="connsiteY85" fmla="*/ 434024 h 1101217"/>
                  <a:gd name="connsiteX86" fmla="*/ 5224 w 755285"/>
                  <a:gd name="connsiteY86" fmla="*/ 446665 h 1101217"/>
                  <a:gd name="connsiteX87" fmla="*/ 1010 w 755285"/>
                  <a:gd name="connsiteY87" fmla="*/ 467734 h 1101217"/>
                  <a:gd name="connsiteX88" fmla="*/ 5224 w 755285"/>
                  <a:gd name="connsiteY88" fmla="*/ 526728 h 1101217"/>
                  <a:gd name="connsiteX89" fmla="*/ 9438 w 755285"/>
                  <a:gd name="connsiteY89" fmla="*/ 539369 h 1101217"/>
                  <a:gd name="connsiteX90" fmla="*/ 22079 w 755285"/>
                  <a:gd name="connsiteY90" fmla="*/ 547797 h 1101217"/>
                  <a:gd name="connsiteX91" fmla="*/ 30507 w 755285"/>
                  <a:gd name="connsiteY91" fmla="*/ 573080 h 1101217"/>
                  <a:gd name="connsiteX92" fmla="*/ 47362 w 755285"/>
                  <a:gd name="connsiteY92" fmla="*/ 598363 h 1101217"/>
                  <a:gd name="connsiteX93" fmla="*/ 55790 w 755285"/>
                  <a:gd name="connsiteY93" fmla="*/ 615218 h 1101217"/>
                  <a:gd name="connsiteX94" fmla="*/ 72645 w 755285"/>
                  <a:gd name="connsiteY94" fmla="*/ 640501 h 1101217"/>
                  <a:gd name="connsiteX95" fmla="*/ 81073 w 755285"/>
                  <a:gd name="connsiteY95" fmla="*/ 653143 h 1101217"/>
                  <a:gd name="connsiteX96" fmla="*/ 89500 w 755285"/>
                  <a:gd name="connsiteY96" fmla="*/ 678426 h 1101217"/>
                  <a:gd name="connsiteX97" fmla="*/ 93714 w 755285"/>
                  <a:gd name="connsiteY97" fmla="*/ 691067 h 1101217"/>
                  <a:gd name="connsiteX98" fmla="*/ 97928 w 755285"/>
                  <a:gd name="connsiteY98" fmla="*/ 712136 h 1101217"/>
                  <a:gd name="connsiteX99" fmla="*/ 144280 w 755285"/>
                  <a:gd name="connsiteY99" fmla="*/ 750062 h 1101217"/>
                  <a:gd name="connsiteX100" fmla="*/ 148495 w 755285"/>
                  <a:gd name="connsiteY100" fmla="*/ 754275 h 1101217"/>
                  <a:gd name="connsiteX101" fmla="*/ 156922 w 755285"/>
                  <a:gd name="connsiteY101" fmla="*/ 766916 h 1101217"/>
                  <a:gd name="connsiteX102" fmla="*/ 186419 w 755285"/>
                  <a:gd name="connsiteY102" fmla="*/ 783771 h 1101217"/>
                  <a:gd name="connsiteX103" fmla="*/ 211701 w 755285"/>
                  <a:gd name="connsiteY103" fmla="*/ 821696 h 1101217"/>
                  <a:gd name="connsiteX104" fmla="*/ 236984 w 755285"/>
                  <a:gd name="connsiteY104" fmla="*/ 897545 h 1101217"/>
                  <a:gd name="connsiteX105" fmla="*/ 287549 w 755285"/>
                  <a:gd name="connsiteY105" fmla="*/ 922827 h 1101217"/>
                  <a:gd name="connsiteX106" fmla="*/ 258054 w 755285"/>
                  <a:gd name="connsiteY106" fmla="*/ 939682 h 1101217"/>
                  <a:gd name="connsiteX107" fmla="*/ 266481 w 755285"/>
                  <a:gd name="connsiteY107" fmla="*/ 952323 h 1101217"/>
                  <a:gd name="connsiteX108" fmla="*/ 258053 w 755285"/>
                  <a:gd name="connsiteY108" fmla="*/ 990248 h 1101217"/>
                  <a:gd name="connsiteX109" fmla="*/ 211701 w 755285"/>
                  <a:gd name="connsiteY109" fmla="*/ 994463 h 1101217"/>
                  <a:gd name="connsiteX110" fmla="*/ 220129 w 755285"/>
                  <a:gd name="connsiteY110" fmla="*/ 1019745 h 1101217"/>
                  <a:gd name="connsiteX111" fmla="*/ 228556 w 755285"/>
                  <a:gd name="connsiteY111" fmla="*/ 1049242 h 1101217"/>
                  <a:gd name="connsiteX112" fmla="*/ 232770 w 755285"/>
                  <a:gd name="connsiteY112" fmla="*/ 1074525 h 1101217"/>
                  <a:gd name="connsiteX113" fmla="*/ 236984 w 755285"/>
                  <a:gd name="connsiteY113" fmla="*/ 1087167 h 1101217"/>
                  <a:gd name="connsiteX114" fmla="*/ 262267 w 755285"/>
                  <a:gd name="connsiteY114" fmla="*/ 1095594 h 1101217"/>
                  <a:gd name="connsiteX115" fmla="*/ 274909 w 755285"/>
                  <a:gd name="connsiteY115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165349 w 755285"/>
                  <a:gd name="connsiteY68" fmla="*/ 42138 h 1101217"/>
                  <a:gd name="connsiteX69" fmla="*/ 236984 w 755285"/>
                  <a:gd name="connsiteY69" fmla="*/ 113773 h 1101217"/>
                  <a:gd name="connsiteX70" fmla="*/ 207487 w 755285"/>
                  <a:gd name="connsiteY70" fmla="*/ 126415 h 1101217"/>
                  <a:gd name="connsiteX71" fmla="*/ 215915 w 755285"/>
                  <a:gd name="connsiteY71" fmla="*/ 155911 h 1101217"/>
                  <a:gd name="connsiteX72" fmla="*/ 203273 w 755285"/>
                  <a:gd name="connsiteY72" fmla="*/ 181194 h 1101217"/>
                  <a:gd name="connsiteX73" fmla="*/ 182204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86418 w 755285"/>
                  <a:gd name="connsiteY75" fmla="*/ 210691 h 1101217"/>
                  <a:gd name="connsiteX76" fmla="*/ 190632 w 755285"/>
                  <a:gd name="connsiteY76" fmla="*/ 210691 h 1101217"/>
                  <a:gd name="connsiteX77" fmla="*/ 177991 w 755285"/>
                  <a:gd name="connsiteY77" fmla="*/ 223333 h 1101217"/>
                  <a:gd name="connsiteX78" fmla="*/ 177991 w 755285"/>
                  <a:gd name="connsiteY78" fmla="*/ 240187 h 1101217"/>
                  <a:gd name="connsiteX79" fmla="*/ 169563 w 755285"/>
                  <a:gd name="connsiteY79" fmla="*/ 290753 h 1101217"/>
                  <a:gd name="connsiteX80" fmla="*/ 135852 w 755285"/>
                  <a:gd name="connsiteY80" fmla="*/ 324464 h 1101217"/>
                  <a:gd name="connsiteX81" fmla="*/ 114783 w 755285"/>
                  <a:gd name="connsiteY81" fmla="*/ 337106 h 1101217"/>
                  <a:gd name="connsiteX82" fmla="*/ 106356 w 755285"/>
                  <a:gd name="connsiteY82" fmla="*/ 349747 h 1101217"/>
                  <a:gd name="connsiteX83" fmla="*/ 123211 w 755285"/>
                  <a:gd name="connsiteY83" fmla="*/ 400314 h 1101217"/>
                  <a:gd name="connsiteX84" fmla="*/ 118997 w 755285"/>
                  <a:gd name="connsiteY84" fmla="*/ 417168 h 1101217"/>
                  <a:gd name="connsiteX85" fmla="*/ 9438 w 755285"/>
                  <a:gd name="connsiteY85" fmla="*/ 434024 h 1101217"/>
                  <a:gd name="connsiteX86" fmla="*/ 5224 w 755285"/>
                  <a:gd name="connsiteY86" fmla="*/ 446665 h 1101217"/>
                  <a:gd name="connsiteX87" fmla="*/ 1010 w 755285"/>
                  <a:gd name="connsiteY87" fmla="*/ 467734 h 1101217"/>
                  <a:gd name="connsiteX88" fmla="*/ 5224 w 755285"/>
                  <a:gd name="connsiteY88" fmla="*/ 526728 h 1101217"/>
                  <a:gd name="connsiteX89" fmla="*/ 9438 w 755285"/>
                  <a:gd name="connsiteY89" fmla="*/ 539369 h 1101217"/>
                  <a:gd name="connsiteX90" fmla="*/ 22079 w 755285"/>
                  <a:gd name="connsiteY90" fmla="*/ 547797 h 1101217"/>
                  <a:gd name="connsiteX91" fmla="*/ 30507 w 755285"/>
                  <a:gd name="connsiteY91" fmla="*/ 573080 h 1101217"/>
                  <a:gd name="connsiteX92" fmla="*/ 47362 w 755285"/>
                  <a:gd name="connsiteY92" fmla="*/ 598363 h 1101217"/>
                  <a:gd name="connsiteX93" fmla="*/ 55790 w 755285"/>
                  <a:gd name="connsiteY93" fmla="*/ 615218 h 1101217"/>
                  <a:gd name="connsiteX94" fmla="*/ 72645 w 755285"/>
                  <a:gd name="connsiteY94" fmla="*/ 640501 h 1101217"/>
                  <a:gd name="connsiteX95" fmla="*/ 81073 w 755285"/>
                  <a:gd name="connsiteY95" fmla="*/ 653143 h 1101217"/>
                  <a:gd name="connsiteX96" fmla="*/ 89500 w 755285"/>
                  <a:gd name="connsiteY96" fmla="*/ 678426 h 1101217"/>
                  <a:gd name="connsiteX97" fmla="*/ 93714 w 755285"/>
                  <a:gd name="connsiteY97" fmla="*/ 691067 h 1101217"/>
                  <a:gd name="connsiteX98" fmla="*/ 97928 w 755285"/>
                  <a:gd name="connsiteY98" fmla="*/ 712136 h 1101217"/>
                  <a:gd name="connsiteX99" fmla="*/ 144280 w 755285"/>
                  <a:gd name="connsiteY99" fmla="*/ 750062 h 1101217"/>
                  <a:gd name="connsiteX100" fmla="*/ 148495 w 755285"/>
                  <a:gd name="connsiteY100" fmla="*/ 754275 h 1101217"/>
                  <a:gd name="connsiteX101" fmla="*/ 156922 w 755285"/>
                  <a:gd name="connsiteY101" fmla="*/ 766916 h 1101217"/>
                  <a:gd name="connsiteX102" fmla="*/ 186419 w 755285"/>
                  <a:gd name="connsiteY102" fmla="*/ 783771 h 1101217"/>
                  <a:gd name="connsiteX103" fmla="*/ 211701 w 755285"/>
                  <a:gd name="connsiteY103" fmla="*/ 821696 h 1101217"/>
                  <a:gd name="connsiteX104" fmla="*/ 236984 w 755285"/>
                  <a:gd name="connsiteY104" fmla="*/ 897545 h 1101217"/>
                  <a:gd name="connsiteX105" fmla="*/ 287549 w 755285"/>
                  <a:gd name="connsiteY105" fmla="*/ 922827 h 1101217"/>
                  <a:gd name="connsiteX106" fmla="*/ 258054 w 755285"/>
                  <a:gd name="connsiteY106" fmla="*/ 939682 h 1101217"/>
                  <a:gd name="connsiteX107" fmla="*/ 266481 w 755285"/>
                  <a:gd name="connsiteY107" fmla="*/ 952323 h 1101217"/>
                  <a:gd name="connsiteX108" fmla="*/ 258053 w 755285"/>
                  <a:gd name="connsiteY108" fmla="*/ 990248 h 1101217"/>
                  <a:gd name="connsiteX109" fmla="*/ 211701 w 755285"/>
                  <a:gd name="connsiteY109" fmla="*/ 994463 h 1101217"/>
                  <a:gd name="connsiteX110" fmla="*/ 220129 w 755285"/>
                  <a:gd name="connsiteY110" fmla="*/ 1019745 h 1101217"/>
                  <a:gd name="connsiteX111" fmla="*/ 228556 w 755285"/>
                  <a:gd name="connsiteY111" fmla="*/ 1049242 h 1101217"/>
                  <a:gd name="connsiteX112" fmla="*/ 232770 w 755285"/>
                  <a:gd name="connsiteY112" fmla="*/ 1074525 h 1101217"/>
                  <a:gd name="connsiteX113" fmla="*/ 236984 w 755285"/>
                  <a:gd name="connsiteY113" fmla="*/ 1087167 h 1101217"/>
                  <a:gd name="connsiteX114" fmla="*/ 262267 w 755285"/>
                  <a:gd name="connsiteY114" fmla="*/ 1095594 h 1101217"/>
                  <a:gd name="connsiteX115" fmla="*/ 274909 w 755285"/>
                  <a:gd name="connsiteY115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169563 w 755285"/>
                  <a:gd name="connsiteY67" fmla="*/ 29497 h 1101217"/>
                  <a:gd name="connsiteX68" fmla="*/ 266481 w 755285"/>
                  <a:gd name="connsiteY68" fmla="*/ 84277 h 1101217"/>
                  <a:gd name="connsiteX69" fmla="*/ 236984 w 755285"/>
                  <a:gd name="connsiteY69" fmla="*/ 113773 h 1101217"/>
                  <a:gd name="connsiteX70" fmla="*/ 207487 w 755285"/>
                  <a:gd name="connsiteY70" fmla="*/ 126415 h 1101217"/>
                  <a:gd name="connsiteX71" fmla="*/ 215915 w 755285"/>
                  <a:gd name="connsiteY71" fmla="*/ 155911 h 1101217"/>
                  <a:gd name="connsiteX72" fmla="*/ 203273 w 755285"/>
                  <a:gd name="connsiteY72" fmla="*/ 181194 h 1101217"/>
                  <a:gd name="connsiteX73" fmla="*/ 182204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86418 w 755285"/>
                  <a:gd name="connsiteY75" fmla="*/ 210691 h 1101217"/>
                  <a:gd name="connsiteX76" fmla="*/ 190632 w 755285"/>
                  <a:gd name="connsiteY76" fmla="*/ 210691 h 1101217"/>
                  <a:gd name="connsiteX77" fmla="*/ 177991 w 755285"/>
                  <a:gd name="connsiteY77" fmla="*/ 223333 h 1101217"/>
                  <a:gd name="connsiteX78" fmla="*/ 177991 w 755285"/>
                  <a:gd name="connsiteY78" fmla="*/ 240187 h 1101217"/>
                  <a:gd name="connsiteX79" fmla="*/ 169563 w 755285"/>
                  <a:gd name="connsiteY79" fmla="*/ 290753 h 1101217"/>
                  <a:gd name="connsiteX80" fmla="*/ 135852 w 755285"/>
                  <a:gd name="connsiteY80" fmla="*/ 324464 h 1101217"/>
                  <a:gd name="connsiteX81" fmla="*/ 114783 w 755285"/>
                  <a:gd name="connsiteY81" fmla="*/ 337106 h 1101217"/>
                  <a:gd name="connsiteX82" fmla="*/ 106356 w 755285"/>
                  <a:gd name="connsiteY82" fmla="*/ 349747 h 1101217"/>
                  <a:gd name="connsiteX83" fmla="*/ 123211 w 755285"/>
                  <a:gd name="connsiteY83" fmla="*/ 400314 h 1101217"/>
                  <a:gd name="connsiteX84" fmla="*/ 118997 w 755285"/>
                  <a:gd name="connsiteY84" fmla="*/ 417168 h 1101217"/>
                  <a:gd name="connsiteX85" fmla="*/ 9438 w 755285"/>
                  <a:gd name="connsiteY85" fmla="*/ 434024 h 1101217"/>
                  <a:gd name="connsiteX86" fmla="*/ 5224 w 755285"/>
                  <a:gd name="connsiteY86" fmla="*/ 446665 h 1101217"/>
                  <a:gd name="connsiteX87" fmla="*/ 1010 w 755285"/>
                  <a:gd name="connsiteY87" fmla="*/ 467734 h 1101217"/>
                  <a:gd name="connsiteX88" fmla="*/ 5224 w 755285"/>
                  <a:gd name="connsiteY88" fmla="*/ 526728 h 1101217"/>
                  <a:gd name="connsiteX89" fmla="*/ 9438 w 755285"/>
                  <a:gd name="connsiteY89" fmla="*/ 539369 h 1101217"/>
                  <a:gd name="connsiteX90" fmla="*/ 22079 w 755285"/>
                  <a:gd name="connsiteY90" fmla="*/ 547797 h 1101217"/>
                  <a:gd name="connsiteX91" fmla="*/ 30507 w 755285"/>
                  <a:gd name="connsiteY91" fmla="*/ 573080 h 1101217"/>
                  <a:gd name="connsiteX92" fmla="*/ 47362 w 755285"/>
                  <a:gd name="connsiteY92" fmla="*/ 598363 h 1101217"/>
                  <a:gd name="connsiteX93" fmla="*/ 55790 w 755285"/>
                  <a:gd name="connsiteY93" fmla="*/ 615218 h 1101217"/>
                  <a:gd name="connsiteX94" fmla="*/ 72645 w 755285"/>
                  <a:gd name="connsiteY94" fmla="*/ 640501 h 1101217"/>
                  <a:gd name="connsiteX95" fmla="*/ 81073 w 755285"/>
                  <a:gd name="connsiteY95" fmla="*/ 653143 h 1101217"/>
                  <a:gd name="connsiteX96" fmla="*/ 89500 w 755285"/>
                  <a:gd name="connsiteY96" fmla="*/ 678426 h 1101217"/>
                  <a:gd name="connsiteX97" fmla="*/ 93714 w 755285"/>
                  <a:gd name="connsiteY97" fmla="*/ 691067 h 1101217"/>
                  <a:gd name="connsiteX98" fmla="*/ 97928 w 755285"/>
                  <a:gd name="connsiteY98" fmla="*/ 712136 h 1101217"/>
                  <a:gd name="connsiteX99" fmla="*/ 144280 w 755285"/>
                  <a:gd name="connsiteY99" fmla="*/ 750062 h 1101217"/>
                  <a:gd name="connsiteX100" fmla="*/ 148495 w 755285"/>
                  <a:gd name="connsiteY100" fmla="*/ 754275 h 1101217"/>
                  <a:gd name="connsiteX101" fmla="*/ 156922 w 755285"/>
                  <a:gd name="connsiteY101" fmla="*/ 766916 h 1101217"/>
                  <a:gd name="connsiteX102" fmla="*/ 186419 w 755285"/>
                  <a:gd name="connsiteY102" fmla="*/ 783771 h 1101217"/>
                  <a:gd name="connsiteX103" fmla="*/ 211701 w 755285"/>
                  <a:gd name="connsiteY103" fmla="*/ 821696 h 1101217"/>
                  <a:gd name="connsiteX104" fmla="*/ 236984 w 755285"/>
                  <a:gd name="connsiteY104" fmla="*/ 897545 h 1101217"/>
                  <a:gd name="connsiteX105" fmla="*/ 287549 w 755285"/>
                  <a:gd name="connsiteY105" fmla="*/ 922827 h 1101217"/>
                  <a:gd name="connsiteX106" fmla="*/ 258054 w 755285"/>
                  <a:gd name="connsiteY106" fmla="*/ 939682 h 1101217"/>
                  <a:gd name="connsiteX107" fmla="*/ 266481 w 755285"/>
                  <a:gd name="connsiteY107" fmla="*/ 952323 h 1101217"/>
                  <a:gd name="connsiteX108" fmla="*/ 258053 w 755285"/>
                  <a:gd name="connsiteY108" fmla="*/ 990248 h 1101217"/>
                  <a:gd name="connsiteX109" fmla="*/ 211701 w 755285"/>
                  <a:gd name="connsiteY109" fmla="*/ 994463 h 1101217"/>
                  <a:gd name="connsiteX110" fmla="*/ 220129 w 755285"/>
                  <a:gd name="connsiteY110" fmla="*/ 1019745 h 1101217"/>
                  <a:gd name="connsiteX111" fmla="*/ 228556 w 755285"/>
                  <a:gd name="connsiteY111" fmla="*/ 1049242 h 1101217"/>
                  <a:gd name="connsiteX112" fmla="*/ 232770 w 755285"/>
                  <a:gd name="connsiteY112" fmla="*/ 1074525 h 1101217"/>
                  <a:gd name="connsiteX113" fmla="*/ 236984 w 755285"/>
                  <a:gd name="connsiteY113" fmla="*/ 1087167 h 1101217"/>
                  <a:gd name="connsiteX114" fmla="*/ 262267 w 755285"/>
                  <a:gd name="connsiteY114" fmla="*/ 1095594 h 1101217"/>
                  <a:gd name="connsiteX115" fmla="*/ 274909 w 755285"/>
                  <a:gd name="connsiteY115" fmla="*/ 1099808 h 1101217"/>
                  <a:gd name="connsiteX0" fmla="*/ 274909 w 755285"/>
                  <a:gd name="connsiteY0" fmla="*/ 1099808 h 1101217"/>
                  <a:gd name="connsiteX1" fmla="*/ 295978 w 755285"/>
                  <a:gd name="connsiteY1" fmla="*/ 1082953 h 1101217"/>
                  <a:gd name="connsiteX2" fmla="*/ 312833 w 755285"/>
                  <a:gd name="connsiteY2" fmla="*/ 1061884 h 1101217"/>
                  <a:gd name="connsiteX3" fmla="*/ 359185 w 755285"/>
                  <a:gd name="connsiteY3" fmla="*/ 1049242 h 1101217"/>
                  <a:gd name="connsiteX4" fmla="*/ 371826 w 755285"/>
                  <a:gd name="connsiteY4" fmla="*/ 1040815 h 1101217"/>
                  <a:gd name="connsiteX5" fmla="*/ 397109 w 755285"/>
                  <a:gd name="connsiteY5" fmla="*/ 1032387 h 1101217"/>
                  <a:gd name="connsiteX6" fmla="*/ 426606 w 755285"/>
                  <a:gd name="connsiteY6" fmla="*/ 1002890 h 1101217"/>
                  <a:gd name="connsiteX7" fmla="*/ 439248 w 755285"/>
                  <a:gd name="connsiteY7" fmla="*/ 994463 h 1101217"/>
                  <a:gd name="connsiteX8" fmla="*/ 447675 w 755285"/>
                  <a:gd name="connsiteY8" fmla="*/ 981821 h 1101217"/>
                  <a:gd name="connsiteX9" fmla="*/ 472958 w 755285"/>
                  <a:gd name="connsiteY9" fmla="*/ 969180 h 1101217"/>
                  <a:gd name="connsiteX10" fmla="*/ 498241 w 755285"/>
                  <a:gd name="connsiteY10" fmla="*/ 973393 h 1101217"/>
                  <a:gd name="connsiteX11" fmla="*/ 544593 w 755285"/>
                  <a:gd name="connsiteY11" fmla="*/ 960752 h 1101217"/>
                  <a:gd name="connsiteX12" fmla="*/ 582518 w 755285"/>
                  <a:gd name="connsiteY12" fmla="*/ 952324 h 1101217"/>
                  <a:gd name="connsiteX13" fmla="*/ 599373 w 755285"/>
                  <a:gd name="connsiteY13" fmla="*/ 927041 h 1101217"/>
                  <a:gd name="connsiteX14" fmla="*/ 586732 w 755285"/>
                  <a:gd name="connsiteY14" fmla="*/ 876475 h 1101217"/>
                  <a:gd name="connsiteX15" fmla="*/ 582518 w 755285"/>
                  <a:gd name="connsiteY15" fmla="*/ 863834 h 1101217"/>
                  <a:gd name="connsiteX16" fmla="*/ 569876 w 755285"/>
                  <a:gd name="connsiteY16" fmla="*/ 855406 h 1101217"/>
                  <a:gd name="connsiteX17" fmla="*/ 565662 w 755285"/>
                  <a:gd name="connsiteY17" fmla="*/ 842765 h 1101217"/>
                  <a:gd name="connsiteX18" fmla="*/ 586732 w 755285"/>
                  <a:gd name="connsiteY18" fmla="*/ 821696 h 1101217"/>
                  <a:gd name="connsiteX19" fmla="*/ 582518 w 755285"/>
                  <a:gd name="connsiteY19" fmla="*/ 796413 h 1101217"/>
                  <a:gd name="connsiteX20" fmla="*/ 540379 w 755285"/>
                  <a:gd name="connsiteY20" fmla="*/ 792199 h 1101217"/>
                  <a:gd name="connsiteX21" fmla="*/ 548807 w 755285"/>
                  <a:gd name="connsiteY21" fmla="*/ 712136 h 1101217"/>
                  <a:gd name="connsiteX22" fmla="*/ 544593 w 755285"/>
                  <a:gd name="connsiteY22" fmla="*/ 695281 h 1101217"/>
                  <a:gd name="connsiteX23" fmla="*/ 519310 w 755285"/>
                  <a:gd name="connsiteY23" fmla="*/ 669998 h 1101217"/>
                  <a:gd name="connsiteX24" fmla="*/ 515097 w 755285"/>
                  <a:gd name="connsiteY24" fmla="*/ 657357 h 1101217"/>
                  <a:gd name="connsiteX25" fmla="*/ 519310 w 755285"/>
                  <a:gd name="connsiteY25" fmla="*/ 577294 h 1101217"/>
                  <a:gd name="connsiteX26" fmla="*/ 544593 w 755285"/>
                  <a:gd name="connsiteY26" fmla="*/ 552011 h 1101217"/>
                  <a:gd name="connsiteX27" fmla="*/ 569876 w 755285"/>
                  <a:gd name="connsiteY27" fmla="*/ 543583 h 1101217"/>
                  <a:gd name="connsiteX28" fmla="*/ 582518 w 755285"/>
                  <a:gd name="connsiteY28" fmla="*/ 539369 h 1101217"/>
                  <a:gd name="connsiteX29" fmla="*/ 616228 w 755285"/>
                  <a:gd name="connsiteY29" fmla="*/ 530942 h 1101217"/>
                  <a:gd name="connsiteX30" fmla="*/ 624656 w 755285"/>
                  <a:gd name="connsiteY30" fmla="*/ 505659 h 1101217"/>
                  <a:gd name="connsiteX31" fmla="*/ 628870 w 755285"/>
                  <a:gd name="connsiteY31" fmla="*/ 484590 h 1101217"/>
                  <a:gd name="connsiteX32" fmla="*/ 654153 w 755285"/>
                  <a:gd name="connsiteY32" fmla="*/ 467734 h 1101217"/>
                  <a:gd name="connsiteX33" fmla="*/ 658367 w 755285"/>
                  <a:gd name="connsiteY33" fmla="*/ 387672 h 1101217"/>
                  <a:gd name="connsiteX34" fmla="*/ 649939 w 755285"/>
                  <a:gd name="connsiteY34" fmla="*/ 362389 h 1101217"/>
                  <a:gd name="connsiteX35" fmla="*/ 662580 w 755285"/>
                  <a:gd name="connsiteY35" fmla="*/ 316037 h 1101217"/>
                  <a:gd name="connsiteX36" fmla="*/ 687863 w 755285"/>
                  <a:gd name="connsiteY36" fmla="*/ 307609 h 1101217"/>
                  <a:gd name="connsiteX37" fmla="*/ 713146 w 755285"/>
                  <a:gd name="connsiteY37" fmla="*/ 299181 h 1101217"/>
                  <a:gd name="connsiteX38" fmla="*/ 725788 w 755285"/>
                  <a:gd name="connsiteY38" fmla="*/ 294968 h 1101217"/>
                  <a:gd name="connsiteX39" fmla="*/ 755285 w 755285"/>
                  <a:gd name="connsiteY39" fmla="*/ 286540 h 1101217"/>
                  <a:gd name="connsiteX40" fmla="*/ 751071 w 755285"/>
                  <a:gd name="connsiteY40" fmla="*/ 257043 h 1101217"/>
                  <a:gd name="connsiteX41" fmla="*/ 738429 w 755285"/>
                  <a:gd name="connsiteY41" fmla="*/ 252829 h 1101217"/>
                  <a:gd name="connsiteX42" fmla="*/ 708932 w 755285"/>
                  <a:gd name="connsiteY42" fmla="*/ 219119 h 1101217"/>
                  <a:gd name="connsiteX43" fmla="*/ 679436 w 755285"/>
                  <a:gd name="connsiteY43" fmla="*/ 214905 h 1101217"/>
                  <a:gd name="connsiteX44" fmla="*/ 645725 w 755285"/>
                  <a:gd name="connsiteY44" fmla="*/ 219119 h 1101217"/>
                  <a:gd name="connsiteX45" fmla="*/ 633084 w 755285"/>
                  <a:gd name="connsiteY45" fmla="*/ 231760 h 1101217"/>
                  <a:gd name="connsiteX46" fmla="*/ 620442 w 755285"/>
                  <a:gd name="connsiteY46" fmla="*/ 240188 h 1101217"/>
                  <a:gd name="connsiteX47" fmla="*/ 586732 w 755285"/>
                  <a:gd name="connsiteY47" fmla="*/ 223333 h 1101217"/>
                  <a:gd name="connsiteX48" fmla="*/ 582518 w 755285"/>
                  <a:gd name="connsiteY48" fmla="*/ 202263 h 1101217"/>
                  <a:gd name="connsiteX49" fmla="*/ 557235 w 755285"/>
                  <a:gd name="connsiteY49" fmla="*/ 193836 h 1101217"/>
                  <a:gd name="connsiteX50" fmla="*/ 489814 w 755285"/>
                  <a:gd name="connsiteY50" fmla="*/ 185408 h 1101217"/>
                  <a:gd name="connsiteX51" fmla="*/ 477172 w 755285"/>
                  <a:gd name="connsiteY51" fmla="*/ 172767 h 1101217"/>
                  <a:gd name="connsiteX52" fmla="*/ 464531 w 755285"/>
                  <a:gd name="connsiteY52" fmla="*/ 164339 h 1101217"/>
                  <a:gd name="connsiteX53" fmla="*/ 460317 w 755285"/>
                  <a:gd name="connsiteY53" fmla="*/ 151698 h 1101217"/>
                  <a:gd name="connsiteX54" fmla="*/ 435034 w 755285"/>
                  <a:gd name="connsiteY54" fmla="*/ 139056 h 1101217"/>
                  <a:gd name="connsiteX55" fmla="*/ 405537 w 755285"/>
                  <a:gd name="connsiteY55" fmla="*/ 143270 h 1101217"/>
                  <a:gd name="connsiteX56" fmla="*/ 392896 w 755285"/>
                  <a:gd name="connsiteY56" fmla="*/ 147484 h 1101217"/>
                  <a:gd name="connsiteX57" fmla="*/ 346544 w 755285"/>
                  <a:gd name="connsiteY57" fmla="*/ 143270 h 1101217"/>
                  <a:gd name="connsiteX58" fmla="*/ 363399 w 755285"/>
                  <a:gd name="connsiteY58" fmla="*/ 117987 h 1101217"/>
                  <a:gd name="connsiteX59" fmla="*/ 359185 w 755285"/>
                  <a:gd name="connsiteY59" fmla="*/ 71635 h 1101217"/>
                  <a:gd name="connsiteX60" fmla="*/ 333902 w 755285"/>
                  <a:gd name="connsiteY60" fmla="*/ 58993 h 1101217"/>
                  <a:gd name="connsiteX61" fmla="*/ 279122 w 755285"/>
                  <a:gd name="connsiteY61" fmla="*/ 54780 h 1101217"/>
                  <a:gd name="connsiteX62" fmla="*/ 266481 w 755285"/>
                  <a:gd name="connsiteY62" fmla="*/ 50566 h 1101217"/>
                  <a:gd name="connsiteX63" fmla="*/ 262267 w 755285"/>
                  <a:gd name="connsiteY63" fmla="*/ 37924 h 1101217"/>
                  <a:gd name="connsiteX64" fmla="*/ 253839 w 755285"/>
                  <a:gd name="connsiteY64" fmla="*/ 25283 h 1101217"/>
                  <a:gd name="connsiteX65" fmla="*/ 241198 w 755285"/>
                  <a:gd name="connsiteY65" fmla="*/ 16855 h 1101217"/>
                  <a:gd name="connsiteX66" fmla="*/ 215915 w 755285"/>
                  <a:gd name="connsiteY66" fmla="*/ 0 h 1101217"/>
                  <a:gd name="connsiteX67" fmla="*/ 262267 w 755285"/>
                  <a:gd name="connsiteY67" fmla="*/ 71635 h 1101217"/>
                  <a:gd name="connsiteX68" fmla="*/ 266481 w 755285"/>
                  <a:gd name="connsiteY68" fmla="*/ 84277 h 1101217"/>
                  <a:gd name="connsiteX69" fmla="*/ 236984 w 755285"/>
                  <a:gd name="connsiteY69" fmla="*/ 113773 h 1101217"/>
                  <a:gd name="connsiteX70" fmla="*/ 207487 w 755285"/>
                  <a:gd name="connsiteY70" fmla="*/ 126415 h 1101217"/>
                  <a:gd name="connsiteX71" fmla="*/ 215915 w 755285"/>
                  <a:gd name="connsiteY71" fmla="*/ 155911 h 1101217"/>
                  <a:gd name="connsiteX72" fmla="*/ 203273 w 755285"/>
                  <a:gd name="connsiteY72" fmla="*/ 181194 h 1101217"/>
                  <a:gd name="connsiteX73" fmla="*/ 182204 w 755285"/>
                  <a:gd name="connsiteY73" fmla="*/ 168553 h 1101217"/>
                  <a:gd name="connsiteX74" fmla="*/ 186418 w 755285"/>
                  <a:gd name="connsiteY74" fmla="*/ 189622 h 1101217"/>
                  <a:gd name="connsiteX75" fmla="*/ 186418 w 755285"/>
                  <a:gd name="connsiteY75" fmla="*/ 210691 h 1101217"/>
                  <a:gd name="connsiteX76" fmla="*/ 190632 w 755285"/>
                  <a:gd name="connsiteY76" fmla="*/ 210691 h 1101217"/>
                  <a:gd name="connsiteX77" fmla="*/ 177991 w 755285"/>
                  <a:gd name="connsiteY77" fmla="*/ 223333 h 1101217"/>
                  <a:gd name="connsiteX78" fmla="*/ 177991 w 755285"/>
                  <a:gd name="connsiteY78" fmla="*/ 240187 h 1101217"/>
                  <a:gd name="connsiteX79" fmla="*/ 169563 w 755285"/>
                  <a:gd name="connsiteY79" fmla="*/ 290753 h 1101217"/>
                  <a:gd name="connsiteX80" fmla="*/ 135852 w 755285"/>
                  <a:gd name="connsiteY80" fmla="*/ 324464 h 1101217"/>
                  <a:gd name="connsiteX81" fmla="*/ 114783 w 755285"/>
                  <a:gd name="connsiteY81" fmla="*/ 337106 h 1101217"/>
                  <a:gd name="connsiteX82" fmla="*/ 106356 w 755285"/>
                  <a:gd name="connsiteY82" fmla="*/ 349747 h 1101217"/>
                  <a:gd name="connsiteX83" fmla="*/ 123211 w 755285"/>
                  <a:gd name="connsiteY83" fmla="*/ 400314 h 1101217"/>
                  <a:gd name="connsiteX84" fmla="*/ 118997 w 755285"/>
                  <a:gd name="connsiteY84" fmla="*/ 417168 h 1101217"/>
                  <a:gd name="connsiteX85" fmla="*/ 9438 w 755285"/>
                  <a:gd name="connsiteY85" fmla="*/ 434024 h 1101217"/>
                  <a:gd name="connsiteX86" fmla="*/ 5224 w 755285"/>
                  <a:gd name="connsiteY86" fmla="*/ 446665 h 1101217"/>
                  <a:gd name="connsiteX87" fmla="*/ 1010 w 755285"/>
                  <a:gd name="connsiteY87" fmla="*/ 467734 h 1101217"/>
                  <a:gd name="connsiteX88" fmla="*/ 5224 w 755285"/>
                  <a:gd name="connsiteY88" fmla="*/ 526728 h 1101217"/>
                  <a:gd name="connsiteX89" fmla="*/ 9438 w 755285"/>
                  <a:gd name="connsiteY89" fmla="*/ 539369 h 1101217"/>
                  <a:gd name="connsiteX90" fmla="*/ 22079 w 755285"/>
                  <a:gd name="connsiteY90" fmla="*/ 547797 h 1101217"/>
                  <a:gd name="connsiteX91" fmla="*/ 30507 w 755285"/>
                  <a:gd name="connsiteY91" fmla="*/ 573080 h 1101217"/>
                  <a:gd name="connsiteX92" fmla="*/ 47362 w 755285"/>
                  <a:gd name="connsiteY92" fmla="*/ 598363 h 1101217"/>
                  <a:gd name="connsiteX93" fmla="*/ 55790 w 755285"/>
                  <a:gd name="connsiteY93" fmla="*/ 615218 h 1101217"/>
                  <a:gd name="connsiteX94" fmla="*/ 72645 w 755285"/>
                  <a:gd name="connsiteY94" fmla="*/ 640501 h 1101217"/>
                  <a:gd name="connsiteX95" fmla="*/ 81073 w 755285"/>
                  <a:gd name="connsiteY95" fmla="*/ 653143 h 1101217"/>
                  <a:gd name="connsiteX96" fmla="*/ 89500 w 755285"/>
                  <a:gd name="connsiteY96" fmla="*/ 678426 h 1101217"/>
                  <a:gd name="connsiteX97" fmla="*/ 93714 w 755285"/>
                  <a:gd name="connsiteY97" fmla="*/ 691067 h 1101217"/>
                  <a:gd name="connsiteX98" fmla="*/ 97928 w 755285"/>
                  <a:gd name="connsiteY98" fmla="*/ 712136 h 1101217"/>
                  <a:gd name="connsiteX99" fmla="*/ 144280 w 755285"/>
                  <a:gd name="connsiteY99" fmla="*/ 750062 h 1101217"/>
                  <a:gd name="connsiteX100" fmla="*/ 148495 w 755285"/>
                  <a:gd name="connsiteY100" fmla="*/ 754275 h 1101217"/>
                  <a:gd name="connsiteX101" fmla="*/ 156922 w 755285"/>
                  <a:gd name="connsiteY101" fmla="*/ 766916 h 1101217"/>
                  <a:gd name="connsiteX102" fmla="*/ 186419 w 755285"/>
                  <a:gd name="connsiteY102" fmla="*/ 783771 h 1101217"/>
                  <a:gd name="connsiteX103" fmla="*/ 211701 w 755285"/>
                  <a:gd name="connsiteY103" fmla="*/ 821696 h 1101217"/>
                  <a:gd name="connsiteX104" fmla="*/ 236984 w 755285"/>
                  <a:gd name="connsiteY104" fmla="*/ 897545 h 1101217"/>
                  <a:gd name="connsiteX105" fmla="*/ 287549 w 755285"/>
                  <a:gd name="connsiteY105" fmla="*/ 922827 h 1101217"/>
                  <a:gd name="connsiteX106" fmla="*/ 258054 w 755285"/>
                  <a:gd name="connsiteY106" fmla="*/ 939682 h 1101217"/>
                  <a:gd name="connsiteX107" fmla="*/ 266481 w 755285"/>
                  <a:gd name="connsiteY107" fmla="*/ 952323 h 1101217"/>
                  <a:gd name="connsiteX108" fmla="*/ 258053 w 755285"/>
                  <a:gd name="connsiteY108" fmla="*/ 990248 h 1101217"/>
                  <a:gd name="connsiteX109" fmla="*/ 211701 w 755285"/>
                  <a:gd name="connsiteY109" fmla="*/ 994463 h 1101217"/>
                  <a:gd name="connsiteX110" fmla="*/ 220129 w 755285"/>
                  <a:gd name="connsiteY110" fmla="*/ 1019745 h 1101217"/>
                  <a:gd name="connsiteX111" fmla="*/ 228556 w 755285"/>
                  <a:gd name="connsiteY111" fmla="*/ 1049242 h 1101217"/>
                  <a:gd name="connsiteX112" fmla="*/ 232770 w 755285"/>
                  <a:gd name="connsiteY112" fmla="*/ 1074525 h 1101217"/>
                  <a:gd name="connsiteX113" fmla="*/ 236984 w 755285"/>
                  <a:gd name="connsiteY113" fmla="*/ 1087167 h 1101217"/>
                  <a:gd name="connsiteX114" fmla="*/ 262267 w 755285"/>
                  <a:gd name="connsiteY114" fmla="*/ 1095594 h 1101217"/>
                  <a:gd name="connsiteX115" fmla="*/ 274909 w 755285"/>
                  <a:gd name="connsiteY115" fmla="*/ 1099808 h 1101217"/>
                  <a:gd name="connsiteX0" fmla="*/ 274909 w 755285"/>
                  <a:gd name="connsiteY0" fmla="*/ 1083797 h 1085206"/>
                  <a:gd name="connsiteX1" fmla="*/ 295978 w 755285"/>
                  <a:gd name="connsiteY1" fmla="*/ 1066942 h 1085206"/>
                  <a:gd name="connsiteX2" fmla="*/ 312833 w 755285"/>
                  <a:gd name="connsiteY2" fmla="*/ 1045873 h 1085206"/>
                  <a:gd name="connsiteX3" fmla="*/ 359185 w 755285"/>
                  <a:gd name="connsiteY3" fmla="*/ 1033231 h 1085206"/>
                  <a:gd name="connsiteX4" fmla="*/ 371826 w 755285"/>
                  <a:gd name="connsiteY4" fmla="*/ 1024804 h 1085206"/>
                  <a:gd name="connsiteX5" fmla="*/ 397109 w 755285"/>
                  <a:gd name="connsiteY5" fmla="*/ 1016376 h 1085206"/>
                  <a:gd name="connsiteX6" fmla="*/ 426606 w 755285"/>
                  <a:gd name="connsiteY6" fmla="*/ 986879 h 1085206"/>
                  <a:gd name="connsiteX7" fmla="*/ 439248 w 755285"/>
                  <a:gd name="connsiteY7" fmla="*/ 978452 h 1085206"/>
                  <a:gd name="connsiteX8" fmla="*/ 447675 w 755285"/>
                  <a:gd name="connsiteY8" fmla="*/ 965810 h 1085206"/>
                  <a:gd name="connsiteX9" fmla="*/ 472958 w 755285"/>
                  <a:gd name="connsiteY9" fmla="*/ 953169 h 1085206"/>
                  <a:gd name="connsiteX10" fmla="*/ 498241 w 755285"/>
                  <a:gd name="connsiteY10" fmla="*/ 957382 h 1085206"/>
                  <a:gd name="connsiteX11" fmla="*/ 544593 w 755285"/>
                  <a:gd name="connsiteY11" fmla="*/ 944741 h 1085206"/>
                  <a:gd name="connsiteX12" fmla="*/ 582518 w 755285"/>
                  <a:gd name="connsiteY12" fmla="*/ 936313 h 1085206"/>
                  <a:gd name="connsiteX13" fmla="*/ 599373 w 755285"/>
                  <a:gd name="connsiteY13" fmla="*/ 911030 h 1085206"/>
                  <a:gd name="connsiteX14" fmla="*/ 586732 w 755285"/>
                  <a:gd name="connsiteY14" fmla="*/ 860464 h 1085206"/>
                  <a:gd name="connsiteX15" fmla="*/ 582518 w 755285"/>
                  <a:gd name="connsiteY15" fmla="*/ 847823 h 1085206"/>
                  <a:gd name="connsiteX16" fmla="*/ 569876 w 755285"/>
                  <a:gd name="connsiteY16" fmla="*/ 839395 h 1085206"/>
                  <a:gd name="connsiteX17" fmla="*/ 565662 w 755285"/>
                  <a:gd name="connsiteY17" fmla="*/ 826754 h 1085206"/>
                  <a:gd name="connsiteX18" fmla="*/ 586732 w 755285"/>
                  <a:gd name="connsiteY18" fmla="*/ 805685 h 1085206"/>
                  <a:gd name="connsiteX19" fmla="*/ 582518 w 755285"/>
                  <a:gd name="connsiteY19" fmla="*/ 780402 h 1085206"/>
                  <a:gd name="connsiteX20" fmla="*/ 540379 w 755285"/>
                  <a:gd name="connsiteY20" fmla="*/ 776188 h 1085206"/>
                  <a:gd name="connsiteX21" fmla="*/ 548807 w 755285"/>
                  <a:gd name="connsiteY21" fmla="*/ 696125 h 1085206"/>
                  <a:gd name="connsiteX22" fmla="*/ 544593 w 755285"/>
                  <a:gd name="connsiteY22" fmla="*/ 679270 h 1085206"/>
                  <a:gd name="connsiteX23" fmla="*/ 519310 w 755285"/>
                  <a:gd name="connsiteY23" fmla="*/ 653987 h 1085206"/>
                  <a:gd name="connsiteX24" fmla="*/ 515097 w 755285"/>
                  <a:gd name="connsiteY24" fmla="*/ 641346 h 1085206"/>
                  <a:gd name="connsiteX25" fmla="*/ 519310 w 755285"/>
                  <a:gd name="connsiteY25" fmla="*/ 561283 h 1085206"/>
                  <a:gd name="connsiteX26" fmla="*/ 544593 w 755285"/>
                  <a:gd name="connsiteY26" fmla="*/ 536000 h 1085206"/>
                  <a:gd name="connsiteX27" fmla="*/ 569876 w 755285"/>
                  <a:gd name="connsiteY27" fmla="*/ 527572 h 1085206"/>
                  <a:gd name="connsiteX28" fmla="*/ 582518 w 755285"/>
                  <a:gd name="connsiteY28" fmla="*/ 523358 h 1085206"/>
                  <a:gd name="connsiteX29" fmla="*/ 616228 w 755285"/>
                  <a:gd name="connsiteY29" fmla="*/ 514931 h 1085206"/>
                  <a:gd name="connsiteX30" fmla="*/ 624656 w 755285"/>
                  <a:gd name="connsiteY30" fmla="*/ 489648 h 1085206"/>
                  <a:gd name="connsiteX31" fmla="*/ 628870 w 755285"/>
                  <a:gd name="connsiteY31" fmla="*/ 468579 h 1085206"/>
                  <a:gd name="connsiteX32" fmla="*/ 654153 w 755285"/>
                  <a:gd name="connsiteY32" fmla="*/ 451723 h 1085206"/>
                  <a:gd name="connsiteX33" fmla="*/ 658367 w 755285"/>
                  <a:gd name="connsiteY33" fmla="*/ 371661 h 1085206"/>
                  <a:gd name="connsiteX34" fmla="*/ 649939 w 755285"/>
                  <a:gd name="connsiteY34" fmla="*/ 346378 h 1085206"/>
                  <a:gd name="connsiteX35" fmla="*/ 662580 w 755285"/>
                  <a:gd name="connsiteY35" fmla="*/ 300026 h 1085206"/>
                  <a:gd name="connsiteX36" fmla="*/ 687863 w 755285"/>
                  <a:gd name="connsiteY36" fmla="*/ 291598 h 1085206"/>
                  <a:gd name="connsiteX37" fmla="*/ 713146 w 755285"/>
                  <a:gd name="connsiteY37" fmla="*/ 283170 h 1085206"/>
                  <a:gd name="connsiteX38" fmla="*/ 725788 w 755285"/>
                  <a:gd name="connsiteY38" fmla="*/ 278957 h 1085206"/>
                  <a:gd name="connsiteX39" fmla="*/ 755285 w 755285"/>
                  <a:gd name="connsiteY39" fmla="*/ 270529 h 1085206"/>
                  <a:gd name="connsiteX40" fmla="*/ 751071 w 755285"/>
                  <a:gd name="connsiteY40" fmla="*/ 241032 h 1085206"/>
                  <a:gd name="connsiteX41" fmla="*/ 738429 w 755285"/>
                  <a:gd name="connsiteY41" fmla="*/ 236818 h 1085206"/>
                  <a:gd name="connsiteX42" fmla="*/ 708932 w 755285"/>
                  <a:gd name="connsiteY42" fmla="*/ 203108 h 1085206"/>
                  <a:gd name="connsiteX43" fmla="*/ 679436 w 755285"/>
                  <a:gd name="connsiteY43" fmla="*/ 198894 h 1085206"/>
                  <a:gd name="connsiteX44" fmla="*/ 645725 w 755285"/>
                  <a:gd name="connsiteY44" fmla="*/ 203108 h 1085206"/>
                  <a:gd name="connsiteX45" fmla="*/ 633084 w 755285"/>
                  <a:gd name="connsiteY45" fmla="*/ 215749 h 1085206"/>
                  <a:gd name="connsiteX46" fmla="*/ 620442 w 755285"/>
                  <a:gd name="connsiteY46" fmla="*/ 224177 h 1085206"/>
                  <a:gd name="connsiteX47" fmla="*/ 586732 w 755285"/>
                  <a:gd name="connsiteY47" fmla="*/ 207322 h 1085206"/>
                  <a:gd name="connsiteX48" fmla="*/ 582518 w 755285"/>
                  <a:gd name="connsiteY48" fmla="*/ 186252 h 1085206"/>
                  <a:gd name="connsiteX49" fmla="*/ 557235 w 755285"/>
                  <a:gd name="connsiteY49" fmla="*/ 177825 h 1085206"/>
                  <a:gd name="connsiteX50" fmla="*/ 489814 w 755285"/>
                  <a:gd name="connsiteY50" fmla="*/ 169397 h 1085206"/>
                  <a:gd name="connsiteX51" fmla="*/ 477172 w 755285"/>
                  <a:gd name="connsiteY51" fmla="*/ 156756 h 1085206"/>
                  <a:gd name="connsiteX52" fmla="*/ 464531 w 755285"/>
                  <a:gd name="connsiteY52" fmla="*/ 148328 h 1085206"/>
                  <a:gd name="connsiteX53" fmla="*/ 460317 w 755285"/>
                  <a:gd name="connsiteY53" fmla="*/ 135687 h 1085206"/>
                  <a:gd name="connsiteX54" fmla="*/ 435034 w 755285"/>
                  <a:gd name="connsiteY54" fmla="*/ 123045 h 1085206"/>
                  <a:gd name="connsiteX55" fmla="*/ 405537 w 755285"/>
                  <a:gd name="connsiteY55" fmla="*/ 127259 h 1085206"/>
                  <a:gd name="connsiteX56" fmla="*/ 392896 w 755285"/>
                  <a:gd name="connsiteY56" fmla="*/ 131473 h 1085206"/>
                  <a:gd name="connsiteX57" fmla="*/ 346544 w 755285"/>
                  <a:gd name="connsiteY57" fmla="*/ 127259 h 1085206"/>
                  <a:gd name="connsiteX58" fmla="*/ 363399 w 755285"/>
                  <a:gd name="connsiteY58" fmla="*/ 101976 h 1085206"/>
                  <a:gd name="connsiteX59" fmla="*/ 359185 w 755285"/>
                  <a:gd name="connsiteY59" fmla="*/ 55624 h 1085206"/>
                  <a:gd name="connsiteX60" fmla="*/ 333902 w 755285"/>
                  <a:gd name="connsiteY60" fmla="*/ 42982 h 1085206"/>
                  <a:gd name="connsiteX61" fmla="*/ 279122 w 755285"/>
                  <a:gd name="connsiteY61" fmla="*/ 38769 h 1085206"/>
                  <a:gd name="connsiteX62" fmla="*/ 266481 w 755285"/>
                  <a:gd name="connsiteY62" fmla="*/ 34555 h 1085206"/>
                  <a:gd name="connsiteX63" fmla="*/ 262267 w 755285"/>
                  <a:gd name="connsiteY63" fmla="*/ 21913 h 1085206"/>
                  <a:gd name="connsiteX64" fmla="*/ 253839 w 755285"/>
                  <a:gd name="connsiteY64" fmla="*/ 9272 h 1085206"/>
                  <a:gd name="connsiteX65" fmla="*/ 241198 w 755285"/>
                  <a:gd name="connsiteY65" fmla="*/ 844 h 1085206"/>
                  <a:gd name="connsiteX66" fmla="*/ 274909 w 755285"/>
                  <a:gd name="connsiteY66" fmla="*/ 30341 h 1085206"/>
                  <a:gd name="connsiteX67" fmla="*/ 262267 w 755285"/>
                  <a:gd name="connsiteY67" fmla="*/ 55624 h 1085206"/>
                  <a:gd name="connsiteX68" fmla="*/ 266481 w 755285"/>
                  <a:gd name="connsiteY68" fmla="*/ 68266 h 1085206"/>
                  <a:gd name="connsiteX69" fmla="*/ 236984 w 755285"/>
                  <a:gd name="connsiteY69" fmla="*/ 97762 h 1085206"/>
                  <a:gd name="connsiteX70" fmla="*/ 207487 w 755285"/>
                  <a:gd name="connsiteY70" fmla="*/ 110404 h 1085206"/>
                  <a:gd name="connsiteX71" fmla="*/ 215915 w 755285"/>
                  <a:gd name="connsiteY71" fmla="*/ 139900 h 1085206"/>
                  <a:gd name="connsiteX72" fmla="*/ 203273 w 755285"/>
                  <a:gd name="connsiteY72" fmla="*/ 165183 h 1085206"/>
                  <a:gd name="connsiteX73" fmla="*/ 182204 w 755285"/>
                  <a:gd name="connsiteY73" fmla="*/ 152542 h 1085206"/>
                  <a:gd name="connsiteX74" fmla="*/ 186418 w 755285"/>
                  <a:gd name="connsiteY74" fmla="*/ 173611 h 1085206"/>
                  <a:gd name="connsiteX75" fmla="*/ 186418 w 755285"/>
                  <a:gd name="connsiteY75" fmla="*/ 194680 h 1085206"/>
                  <a:gd name="connsiteX76" fmla="*/ 190632 w 755285"/>
                  <a:gd name="connsiteY76" fmla="*/ 194680 h 1085206"/>
                  <a:gd name="connsiteX77" fmla="*/ 177991 w 755285"/>
                  <a:gd name="connsiteY77" fmla="*/ 207322 h 1085206"/>
                  <a:gd name="connsiteX78" fmla="*/ 177991 w 755285"/>
                  <a:gd name="connsiteY78" fmla="*/ 224176 h 1085206"/>
                  <a:gd name="connsiteX79" fmla="*/ 169563 w 755285"/>
                  <a:gd name="connsiteY79" fmla="*/ 274742 h 1085206"/>
                  <a:gd name="connsiteX80" fmla="*/ 135852 w 755285"/>
                  <a:gd name="connsiteY80" fmla="*/ 308453 h 1085206"/>
                  <a:gd name="connsiteX81" fmla="*/ 114783 w 755285"/>
                  <a:gd name="connsiteY81" fmla="*/ 321095 h 1085206"/>
                  <a:gd name="connsiteX82" fmla="*/ 106356 w 755285"/>
                  <a:gd name="connsiteY82" fmla="*/ 333736 h 1085206"/>
                  <a:gd name="connsiteX83" fmla="*/ 123211 w 755285"/>
                  <a:gd name="connsiteY83" fmla="*/ 384303 h 1085206"/>
                  <a:gd name="connsiteX84" fmla="*/ 118997 w 755285"/>
                  <a:gd name="connsiteY84" fmla="*/ 401157 h 1085206"/>
                  <a:gd name="connsiteX85" fmla="*/ 9438 w 755285"/>
                  <a:gd name="connsiteY85" fmla="*/ 418013 h 1085206"/>
                  <a:gd name="connsiteX86" fmla="*/ 5224 w 755285"/>
                  <a:gd name="connsiteY86" fmla="*/ 430654 h 1085206"/>
                  <a:gd name="connsiteX87" fmla="*/ 1010 w 755285"/>
                  <a:gd name="connsiteY87" fmla="*/ 451723 h 1085206"/>
                  <a:gd name="connsiteX88" fmla="*/ 5224 w 755285"/>
                  <a:gd name="connsiteY88" fmla="*/ 510717 h 1085206"/>
                  <a:gd name="connsiteX89" fmla="*/ 9438 w 755285"/>
                  <a:gd name="connsiteY89" fmla="*/ 523358 h 1085206"/>
                  <a:gd name="connsiteX90" fmla="*/ 22079 w 755285"/>
                  <a:gd name="connsiteY90" fmla="*/ 531786 h 1085206"/>
                  <a:gd name="connsiteX91" fmla="*/ 30507 w 755285"/>
                  <a:gd name="connsiteY91" fmla="*/ 557069 h 1085206"/>
                  <a:gd name="connsiteX92" fmla="*/ 47362 w 755285"/>
                  <a:gd name="connsiteY92" fmla="*/ 582352 h 1085206"/>
                  <a:gd name="connsiteX93" fmla="*/ 55790 w 755285"/>
                  <a:gd name="connsiteY93" fmla="*/ 599207 h 1085206"/>
                  <a:gd name="connsiteX94" fmla="*/ 72645 w 755285"/>
                  <a:gd name="connsiteY94" fmla="*/ 624490 h 1085206"/>
                  <a:gd name="connsiteX95" fmla="*/ 81073 w 755285"/>
                  <a:gd name="connsiteY95" fmla="*/ 637132 h 1085206"/>
                  <a:gd name="connsiteX96" fmla="*/ 89500 w 755285"/>
                  <a:gd name="connsiteY96" fmla="*/ 662415 h 1085206"/>
                  <a:gd name="connsiteX97" fmla="*/ 93714 w 755285"/>
                  <a:gd name="connsiteY97" fmla="*/ 675056 h 1085206"/>
                  <a:gd name="connsiteX98" fmla="*/ 97928 w 755285"/>
                  <a:gd name="connsiteY98" fmla="*/ 696125 h 1085206"/>
                  <a:gd name="connsiteX99" fmla="*/ 144280 w 755285"/>
                  <a:gd name="connsiteY99" fmla="*/ 734051 h 1085206"/>
                  <a:gd name="connsiteX100" fmla="*/ 148495 w 755285"/>
                  <a:gd name="connsiteY100" fmla="*/ 738264 h 1085206"/>
                  <a:gd name="connsiteX101" fmla="*/ 156922 w 755285"/>
                  <a:gd name="connsiteY101" fmla="*/ 750905 h 1085206"/>
                  <a:gd name="connsiteX102" fmla="*/ 186419 w 755285"/>
                  <a:gd name="connsiteY102" fmla="*/ 767760 h 1085206"/>
                  <a:gd name="connsiteX103" fmla="*/ 211701 w 755285"/>
                  <a:gd name="connsiteY103" fmla="*/ 805685 h 1085206"/>
                  <a:gd name="connsiteX104" fmla="*/ 236984 w 755285"/>
                  <a:gd name="connsiteY104" fmla="*/ 881534 h 1085206"/>
                  <a:gd name="connsiteX105" fmla="*/ 287549 w 755285"/>
                  <a:gd name="connsiteY105" fmla="*/ 906816 h 1085206"/>
                  <a:gd name="connsiteX106" fmla="*/ 258054 w 755285"/>
                  <a:gd name="connsiteY106" fmla="*/ 923671 h 1085206"/>
                  <a:gd name="connsiteX107" fmla="*/ 266481 w 755285"/>
                  <a:gd name="connsiteY107" fmla="*/ 936312 h 1085206"/>
                  <a:gd name="connsiteX108" fmla="*/ 258053 w 755285"/>
                  <a:gd name="connsiteY108" fmla="*/ 974237 h 1085206"/>
                  <a:gd name="connsiteX109" fmla="*/ 211701 w 755285"/>
                  <a:gd name="connsiteY109" fmla="*/ 978452 h 1085206"/>
                  <a:gd name="connsiteX110" fmla="*/ 220129 w 755285"/>
                  <a:gd name="connsiteY110" fmla="*/ 1003734 h 1085206"/>
                  <a:gd name="connsiteX111" fmla="*/ 228556 w 755285"/>
                  <a:gd name="connsiteY111" fmla="*/ 1033231 h 1085206"/>
                  <a:gd name="connsiteX112" fmla="*/ 232770 w 755285"/>
                  <a:gd name="connsiteY112" fmla="*/ 1058514 h 1085206"/>
                  <a:gd name="connsiteX113" fmla="*/ 236984 w 755285"/>
                  <a:gd name="connsiteY113" fmla="*/ 1071156 h 1085206"/>
                  <a:gd name="connsiteX114" fmla="*/ 262267 w 755285"/>
                  <a:gd name="connsiteY114" fmla="*/ 1079583 h 1085206"/>
                  <a:gd name="connsiteX115" fmla="*/ 274909 w 755285"/>
                  <a:gd name="connsiteY115" fmla="*/ 1083797 h 1085206"/>
                  <a:gd name="connsiteX0" fmla="*/ 274909 w 755285"/>
                  <a:gd name="connsiteY0" fmla="*/ 1082963 h 1084372"/>
                  <a:gd name="connsiteX1" fmla="*/ 295978 w 755285"/>
                  <a:gd name="connsiteY1" fmla="*/ 1066108 h 1084372"/>
                  <a:gd name="connsiteX2" fmla="*/ 312833 w 755285"/>
                  <a:gd name="connsiteY2" fmla="*/ 1045039 h 1084372"/>
                  <a:gd name="connsiteX3" fmla="*/ 359185 w 755285"/>
                  <a:gd name="connsiteY3" fmla="*/ 1032397 h 1084372"/>
                  <a:gd name="connsiteX4" fmla="*/ 371826 w 755285"/>
                  <a:gd name="connsiteY4" fmla="*/ 1023970 h 1084372"/>
                  <a:gd name="connsiteX5" fmla="*/ 397109 w 755285"/>
                  <a:gd name="connsiteY5" fmla="*/ 1015542 h 1084372"/>
                  <a:gd name="connsiteX6" fmla="*/ 426606 w 755285"/>
                  <a:gd name="connsiteY6" fmla="*/ 986045 h 1084372"/>
                  <a:gd name="connsiteX7" fmla="*/ 439248 w 755285"/>
                  <a:gd name="connsiteY7" fmla="*/ 977618 h 1084372"/>
                  <a:gd name="connsiteX8" fmla="*/ 447675 w 755285"/>
                  <a:gd name="connsiteY8" fmla="*/ 964976 h 1084372"/>
                  <a:gd name="connsiteX9" fmla="*/ 472958 w 755285"/>
                  <a:gd name="connsiteY9" fmla="*/ 952335 h 1084372"/>
                  <a:gd name="connsiteX10" fmla="*/ 498241 w 755285"/>
                  <a:gd name="connsiteY10" fmla="*/ 956548 h 1084372"/>
                  <a:gd name="connsiteX11" fmla="*/ 544593 w 755285"/>
                  <a:gd name="connsiteY11" fmla="*/ 943907 h 1084372"/>
                  <a:gd name="connsiteX12" fmla="*/ 582518 w 755285"/>
                  <a:gd name="connsiteY12" fmla="*/ 935479 h 1084372"/>
                  <a:gd name="connsiteX13" fmla="*/ 599373 w 755285"/>
                  <a:gd name="connsiteY13" fmla="*/ 910196 h 1084372"/>
                  <a:gd name="connsiteX14" fmla="*/ 586732 w 755285"/>
                  <a:gd name="connsiteY14" fmla="*/ 859630 h 1084372"/>
                  <a:gd name="connsiteX15" fmla="*/ 582518 w 755285"/>
                  <a:gd name="connsiteY15" fmla="*/ 846989 h 1084372"/>
                  <a:gd name="connsiteX16" fmla="*/ 569876 w 755285"/>
                  <a:gd name="connsiteY16" fmla="*/ 838561 h 1084372"/>
                  <a:gd name="connsiteX17" fmla="*/ 565662 w 755285"/>
                  <a:gd name="connsiteY17" fmla="*/ 825920 h 1084372"/>
                  <a:gd name="connsiteX18" fmla="*/ 586732 w 755285"/>
                  <a:gd name="connsiteY18" fmla="*/ 804851 h 1084372"/>
                  <a:gd name="connsiteX19" fmla="*/ 582518 w 755285"/>
                  <a:gd name="connsiteY19" fmla="*/ 779568 h 1084372"/>
                  <a:gd name="connsiteX20" fmla="*/ 540379 w 755285"/>
                  <a:gd name="connsiteY20" fmla="*/ 775354 h 1084372"/>
                  <a:gd name="connsiteX21" fmla="*/ 548807 w 755285"/>
                  <a:gd name="connsiteY21" fmla="*/ 695291 h 1084372"/>
                  <a:gd name="connsiteX22" fmla="*/ 544593 w 755285"/>
                  <a:gd name="connsiteY22" fmla="*/ 678436 h 1084372"/>
                  <a:gd name="connsiteX23" fmla="*/ 519310 w 755285"/>
                  <a:gd name="connsiteY23" fmla="*/ 653153 h 1084372"/>
                  <a:gd name="connsiteX24" fmla="*/ 515097 w 755285"/>
                  <a:gd name="connsiteY24" fmla="*/ 640512 h 1084372"/>
                  <a:gd name="connsiteX25" fmla="*/ 519310 w 755285"/>
                  <a:gd name="connsiteY25" fmla="*/ 560449 h 1084372"/>
                  <a:gd name="connsiteX26" fmla="*/ 544593 w 755285"/>
                  <a:gd name="connsiteY26" fmla="*/ 535166 h 1084372"/>
                  <a:gd name="connsiteX27" fmla="*/ 569876 w 755285"/>
                  <a:gd name="connsiteY27" fmla="*/ 526738 h 1084372"/>
                  <a:gd name="connsiteX28" fmla="*/ 582518 w 755285"/>
                  <a:gd name="connsiteY28" fmla="*/ 522524 h 1084372"/>
                  <a:gd name="connsiteX29" fmla="*/ 616228 w 755285"/>
                  <a:gd name="connsiteY29" fmla="*/ 514097 h 1084372"/>
                  <a:gd name="connsiteX30" fmla="*/ 624656 w 755285"/>
                  <a:gd name="connsiteY30" fmla="*/ 488814 h 1084372"/>
                  <a:gd name="connsiteX31" fmla="*/ 628870 w 755285"/>
                  <a:gd name="connsiteY31" fmla="*/ 467745 h 1084372"/>
                  <a:gd name="connsiteX32" fmla="*/ 654153 w 755285"/>
                  <a:gd name="connsiteY32" fmla="*/ 450889 h 1084372"/>
                  <a:gd name="connsiteX33" fmla="*/ 658367 w 755285"/>
                  <a:gd name="connsiteY33" fmla="*/ 370827 h 1084372"/>
                  <a:gd name="connsiteX34" fmla="*/ 649939 w 755285"/>
                  <a:gd name="connsiteY34" fmla="*/ 345544 h 1084372"/>
                  <a:gd name="connsiteX35" fmla="*/ 662580 w 755285"/>
                  <a:gd name="connsiteY35" fmla="*/ 299192 h 1084372"/>
                  <a:gd name="connsiteX36" fmla="*/ 687863 w 755285"/>
                  <a:gd name="connsiteY36" fmla="*/ 290764 h 1084372"/>
                  <a:gd name="connsiteX37" fmla="*/ 713146 w 755285"/>
                  <a:gd name="connsiteY37" fmla="*/ 282336 h 1084372"/>
                  <a:gd name="connsiteX38" fmla="*/ 725788 w 755285"/>
                  <a:gd name="connsiteY38" fmla="*/ 278123 h 1084372"/>
                  <a:gd name="connsiteX39" fmla="*/ 755285 w 755285"/>
                  <a:gd name="connsiteY39" fmla="*/ 269695 h 1084372"/>
                  <a:gd name="connsiteX40" fmla="*/ 751071 w 755285"/>
                  <a:gd name="connsiteY40" fmla="*/ 240198 h 1084372"/>
                  <a:gd name="connsiteX41" fmla="*/ 738429 w 755285"/>
                  <a:gd name="connsiteY41" fmla="*/ 235984 h 1084372"/>
                  <a:gd name="connsiteX42" fmla="*/ 708932 w 755285"/>
                  <a:gd name="connsiteY42" fmla="*/ 202274 h 1084372"/>
                  <a:gd name="connsiteX43" fmla="*/ 679436 w 755285"/>
                  <a:gd name="connsiteY43" fmla="*/ 198060 h 1084372"/>
                  <a:gd name="connsiteX44" fmla="*/ 645725 w 755285"/>
                  <a:gd name="connsiteY44" fmla="*/ 202274 h 1084372"/>
                  <a:gd name="connsiteX45" fmla="*/ 633084 w 755285"/>
                  <a:gd name="connsiteY45" fmla="*/ 214915 h 1084372"/>
                  <a:gd name="connsiteX46" fmla="*/ 620442 w 755285"/>
                  <a:gd name="connsiteY46" fmla="*/ 223343 h 1084372"/>
                  <a:gd name="connsiteX47" fmla="*/ 586732 w 755285"/>
                  <a:gd name="connsiteY47" fmla="*/ 206488 h 1084372"/>
                  <a:gd name="connsiteX48" fmla="*/ 582518 w 755285"/>
                  <a:gd name="connsiteY48" fmla="*/ 185418 h 1084372"/>
                  <a:gd name="connsiteX49" fmla="*/ 557235 w 755285"/>
                  <a:gd name="connsiteY49" fmla="*/ 176991 h 1084372"/>
                  <a:gd name="connsiteX50" fmla="*/ 489814 w 755285"/>
                  <a:gd name="connsiteY50" fmla="*/ 168563 h 1084372"/>
                  <a:gd name="connsiteX51" fmla="*/ 477172 w 755285"/>
                  <a:gd name="connsiteY51" fmla="*/ 155922 h 1084372"/>
                  <a:gd name="connsiteX52" fmla="*/ 464531 w 755285"/>
                  <a:gd name="connsiteY52" fmla="*/ 147494 h 1084372"/>
                  <a:gd name="connsiteX53" fmla="*/ 460317 w 755285"/>
                  <a:gd name="connsiteY53" fmla="*/ 134853 h 1084372"/>
                  <a:gd name="connsiteX54" fmla="*/ 435034 w 755285"/>
                  <a:gd name="connsiteY54" fmla="*/ 122211 h 1084372"/>
                  <a:gd name="connsiteX55" fmla="*/ 405537 w 755285"/>
                  <a:gd name="connsiteY55" fmla="*/ 126425 h 1084372"/>
                  <a:gd name="connsiteX56" fmla="*/ 392896 w 755285"/>
                  <a:gd name="connsiteY56" fmla="*/ 130639 h 1084372"/>
                  <a:gd name="connsiteX57" fmla="*/ 346544 w 755285"/>
                  <a:gd name="connsiteY57" fmla="*/ 126425 h 1084372"/>
                  <a:gd name="connsiteX58" fmla="*/ 363399 w 755285"/>
                  <a:gd name="connsiteY58" fmla="*/ 101142 h 1084372"/>
                  <a:gd name="connsiteX59" fmla="*/ 359185 w 755285"/>
                  <a:gd name="connsiteY59" fmla="*/ 54790 h 1084372"/>
                  <a:gd name="connsiteX60" fmla="*/ 333902 w 755285"/>
                  <a:gd name="connsiteY60" fmla="*/ 42148 h 1084372"/>
                  <a:gd name="connsiteX61" fmla="*/ 279122 w 755285"/>
                  <a:gd name="connsiteY61" fmla="*/ 37935 h 1084372"/>
                  <a:gd name="connsiteX62" fmla="*/ 266481 w 755285"/>
                  <a:gd name="connsiteY62" fmla="*/ 33721 h 1084372"/>
                  <a:gd name="connsiteX63" fmla="*/ 262267 w 755285"/>
                  <a:gd name="connsiteY63" fmla="*/ 21079 h 1084372"/>
                  <a:gd name="connsiteX64" fmla="*/ 295977 w 755285"/>
                  <a:gd name="connsiteY64" fmla="*/ 33721 h 1084372"/>
                  <a:gd name="connsiteX65" fmla="*/ 241198 w 755285"/>
                  <a:gd name="connsiteY65" fmla="*/ 10 h 1084372"/>
                  <a:gd name="connsiteX66" fmla="*/ 274909 w 755285"/>
                  <a:gd name="connsiteY66" fmla="*/ 29507 h 1084372"/>
                  <a:gd name="connsiteX67" fmla="*/ 262267 w 755285"/>
                  <a:gd name="connsiteY67" fmla="*/ 54790 h 1084372"/>
                  <a:gd name="connsiteX68" fmla="*/ 266481 w 755285"/>
                  <a:gd name="connsiteY68" fmla="*/ 67432 h 1084372"/>
                  <a:gd name="connsiteX69" fmla="*/ 236984 w 755285"/>
                  <a:gd name="connsiteY69" fmla="*/ 96928 h 1084372"/>
                  <a:gd name="connsiteX70" fmla="*/ 207487 w 755285"/>
                  <a:gd name="connsiteY70" fmla="*/ 109570 h 1084372"/>
                  <a:gd name="connsiteX71" fmla="*/ 215915 w 755285"/>
                  <a:gd name="connsiteY71" fmla="*/ 139066 h 1084372"/>
                  <a:gd name="connsiteX72" fmla="*/ 203273 w 755285"/>
                  <a:gd name="connsiteY72" fmla="*/ 164349 h 1084372"/>
                  <a:gd name="connsiteX73" fmla="*/ 182204 w 755285"/>
                  <a:gd name="connsiteY73" fmla="*/ 151708 h 1084372"/>
                  <a:gd name="connsiteX74" fmla="*/ 186418 w 755285"/>
                  <a:gd name="connsiteY74" fmla="*/ 172777 h 1084372"/>
                  <a:gd name="connsiteX75" fmla="*/ 186418 w 755285"/>
                  <a:gd name="connsiteY75" fmla="*/ 193846 h 1084372"/>
                  <a:gd name="connsiteX76" fmla="*/ 190632 w 755285"/>
                  <a:gd name="connsiteY76" fmla="*/ 193846 h 1084372"/>
                  <a:gd name="connsiteX77" fmla="*/ 177991 w 755285"/>
                  <a:gd name="connsiteY77" fmla="*/ 206488 h 1084372"/>
                  <a:gd name="connsiteX78" fmla="*/ 177991 w 755285"/>
                  <a:gd name="connsiteY78" fmla="*/ 223342 h 1084372"/>
                  <a:gd name="connsiteX79" fmla="*/ 169563 w 755285"/>
                  <a:gd name="connsiteY79" fmla="*/ 273908 h 1084372"/>
                  <a:gd name="connsiteX80" fmla="*/ 135852 w 755285"/>
                  <a:gd name="connsiteY80" fmla="*/ 307619 h 1084372"/>
                  <a:gd name="connsiteX81" fmla="*/ 114783 w 755285"/>
                  <a:gd name="connsiteY81" fmla="*/ 320261 h 1084372"/>
                  <a:gd name="connsiteX82" fmla="*/ 106356 w 755285"/>
                  <a:gd name="connsiteY82" fmla="*/ 332902 h 1084372"/>
                  <a:gd name="connsiteX83" fmla="*/ 123211 w 755285"/>
                  <a:gd name="connsiteY83" fmla="*/ 383469 h 1084372"/>
                  <a:gd name="connsiteX84" fmla="*/ 118997 w 755285"/>
                  <a:gd name="connsiteY84" fmla="*/ 400323 h 1084372"/>
                  <a:gd name="connsiteX85" fmla="*/ 9438 w 755285"/>
                  <a:gd name="connsiteY85" fmla="*/ 417179 h 1084372"/>
                  <a:gd name="connsiteX86" fmla="*/ 5224 w 755285"/>
                  <a:gd name="connsiteY86" fmla="*/ 429820 h 1084372"/>
                  <a:gd name="connsiteX87" fmla="*/ 1010 w 755285"/>
                  <a:gd name="connsiteY87" fmla="*/ 450889 h 1084372"/>
                  <a:gd name="connsiteX88" fmla="*/ 5224 w 755285"/>
                  <a:gd name="connsiteY88" fmla="*/ 509883 h 1084372"/>
                  <a:gd name="connsiteX89" fmla="*/ 9438 w 755285"/>
                  <a:gd name="connsiteY89" fmla="*/ 522524 h 1084372"/>
                  <a:gd name="connsiteX90" fmla="*/ 22079 w 755285"/>
                  <a:gd name="connsiteY90" fmla="*/ 530952 h 1084372"/>
                  <a:gd name="connsiteX91" fmla="*/ 30507 w 755285"/>
                  <a:gd name="connsiteY91" fmla="*/ 556235 h 1084372"/>
                  <a:gd name="connsiteX92" fmla="*/ 47362 w 755285"/>
                  <a:gd name="connsiteY92" fmla="*/ 581518 h 1084372"/>
                  <a:gd name="connsiteX93" fmla="*/ 55790 w 755285"/>
                  <a:gd name="connsiteY93" fmla="*/ 598373 h 1084372"/>
                  <a:gd name="connsiteX94" fmla="*/ 72645 w 755285"/>
                  <a:gd name="connsiteY94" fmla="*/ 623656 h 1084372"/>
                  <a:gd name="connsiteX95" fmla="*/ 81073 w 755285"/>
                  <a:gd name="connsiteY95" fmla="*/ 636298 h 1084372"/>
                  <a:gd name="connsiteX96" fmla="*/ 89500 w 755285"/>
                  <a:gd name="connsiteY96" fmla="*/ 661581 h 1084372"/>
                  <a:gd name="connsiteX97" fmla="*/ 93714 w 755285"/>
                  <a:gd name="connsiteY97" fmla="*/ 674222 h 1084372"/>
                  <a:gd name="connsiteX98" fmla="*/ 97928 w 755285"/>
                  <a:gd name="connsiteY98" fmla="*/ 695291 h 1084372"/>
                  <a:gd name="connsiteX99" fmla="*/ 144280 w 755285"/>
                  <a:gd name="connsiteY99" fmla="*/ 733217 h 1084372"/>
                  <a:gd name="connsiteX100" fmla="*/ 148495 w 755285"/>
                  <a:gd name="connsiteY100" fmla="*/ 737430 h 1084372"/>
                  <a:gd name="connsiteX101" fmla="*/ 156922 w 755285"/>
                  <a:gd name="connsiteY101" fmla="*/ 750071 h 1084372"/>
                  <a:gd name="connsiteX102" fmla="*/ 186419 w 755285"/>
                  <a:gd name="connsiteY102" fmla="*/ 766926 h 1084372"/>
                  <a:gd name="connsiteX103" fmla="*/ 211701 w 755285"/>
                  <a:gd name="connsiteY103" fmla="*/ 804851 h 1084372"/>
                  <a:gd name="connsiteX104" fmla="*/ 236984 w 755285"/>
                  <a:gd name="connsiteY104" fmla="*/ 880700 h 1084372"/>
                  <a:gd name="connsiteX105" fmla="*/ 287549 w 755285"/>
                  <a:gd name="connsiteY105" fmla="*/ 905982 h 1084372"/>
                  <a:gd name="connsiteX106" fmla="*/ 258054 w 755285"/>
                  <a:gd name="connsiteY106" fmla="*/ 922837 h 1084372"/>
                  <a:gd name="connsiteX107" fmla="*/ 266481 w 755285"/>
                  <a:gd name="connsiteY107" fmla="*/ 935478 h 1084372"/>
                  <a:gd name="connsiteX108" fmla="*/ 258053 w 755285"/>
                  <a:gd name="connsiteY108" fmla="*/ 973403 h 1084372"/>
                  <a:gd name="connsiteX109" fmla="*/ 211701 w 755285"/>
                  <a:gd name="connsiteY109" fmla="*/ 977618 h 1084372"/>
                  <a:gd name="connsiteX110" fmla="*/ 220129 w 755285"/>
                  <a:gd name="connsiteY110" fmla="*/ 1002900 h 1084372"/>
                  <a:gd name="connsiteX111" fmla="*/ 228556 w 755285"/>
                  <a:gd name="connsiteY111" fmla="*/ 1032397 h 1084372"/>
                  <a:gd name="connsiteX112" fmla="*/ 232770 w 755285"/>
                  <a:gd name="connsiteY112" fmla="*/ 1057680 h 1084372"/>
                  <a:gd name="connsiteX113" fmla="*/ 236984 w 755285"/>
                  <a:gd name="connsiteY113" fmla="*/ 1070322 h 1084372"/>
                  <a:gd name="connsiteX114" fmla="*/ 262267 w 755285"/>
                  <a:gd name="connsiteY114" fmla="*/ 1078749 h 1084372"/>
                  <a:gd name="connsiteX115" fmla="*/ 274909 w 755285"/>
                  <a:gd name="connsiteY115" fmla="*/ 1082963 h 1084372"/>
                  <a:gd name="connsiteX0" fmla="*/ 274909 w 755285"/>
                  <a:gd name="connsiteY0" fmla="*/ 1082998 h 1084407"/>
                  <a:gd name="connsiteX1" fmla="*/ 295978 w 755285"/>
                  <a:gd name="connsiteY1" fmla="*/ 1066143 h 1084407"/>
                  <a:gd name="connsiteX2" fmla="*/ 312833 w 755285"/>
                  <a:gd name="connsiteY2" fmla="*/ 1045074 h 1084407"/>
                  <a:gd name="connsiteX3" fmla="*/ 359185 w 755285"/>
                  <a:gd name="connsiteY3" fmla="*/ 1032432 h 1084407"/>
                  <a:gd name="connsiteX4" fmla="*/ 371826 w 755285"/>
                  <a:gd name="connsiteY4" fmla="*/ 1024005 h 1084407"/>
                  <a:gd name="connsiteX5" fmla="*/ 397109 w 755285"/>
                  <a:gd name="connsiteY5" fmla="*/ 1015577 h 1084407"/>
                  <a:gd name="connsiteX6" fmla="*/ 426606 w 755285"/>
                  <a:gd name="connsiteY6" fmla="*/ 986080 h 1084407"/>
                  <a:gd name="connsiteX7" fmla="*/ 439248 w 755285"/>
                  <a:gd name="connsiteY7" fmla="*/ 977653 h 1084407"/>
                  <a:gd name="connsiteX8" fmla="*/ 447675 w 755285"/>
                  <a:gd name="connsiteY8" fmla="*/ 965011 h 1084407"/>
                  <a:gd name="connsiteX9" fmla="*/ 472958 w 755285"/>
                  <a:gd name="connsiteY9" fmla="*/ 952370 h 1084407"/>
                  <a:gd name="connsiteX10" fmla="*/ 498241 w 755285"/>
                  <a:gd name="connsiteY10" fmla="*/ 956583 h 1084407"/>
                  <a:gd name="connsiteX11" fmla="*/ 544593 w 755285"/>
                  <a:gd name="connsiteY11" fmla="*/ 943942 h 1084407"/>
                  <a:gd name="connsiteX12" fmla="*/ 582518 w 755285"/>
                  <a:gd name="connsiteY12" fmla="*/ 935514 h 1084407"/>
                  <a:gd name="connsiteX13" fmla="*/ 599373 w 755285"/>
                  <a:gd name="connsiteY13" fmla="*/ 910231 h 1084407"/>
                  <a:gd name="connsiteX14" fmla="*/ 586732 w 755285"/>
                  <a:gd name="connsiteY14" fmla="*/ 859665 h 1084407"/>
                  <a:gd name="connsiteX15" fmla="*/ 582518 w 755285"/>
                  <a:gd name="connsiteY15" fmla="*/ 847024 h 1084407"/>
                  <a:gd name="connsiteX16" fmla="*/ 569876 w 755285"/>
                  <a:gd name="connsiteY16" fmla="*/ 838596 h 1084407"/>
                  <a:gd name="connsiteX17" fmla="*/ 565662 w 755285"/>
                  <a:gd name="connsiteY17" fmla="*/ 825955 h 1084407"/>
                  <a:gd name="connsiteX18" fmla="*/ 586732 w 755285"/>
                  <a:gd name="connsiteY18" fmla="*/ 804886 h 1084407"/>
                  <a:gd name="connsiteX19" fmla="*/ 582518 w 755285"/>
                  <a:gd name="connsiteY19" fmla="*/ 779603 h 1084407"/>
                  <a:gd name="connsiteX20" fmla="*/ 540379 w 755285"/>
                  <a:gd name="connsiteY20" fmla="*/ 775389 h 1084407"/>
                  <a:gd name="connsiteX21" fmla="*/ 548807 w 755285"/>
                  <a:gd name="connsiteY21" fmla="*/ 695326 h 1084407"/>
                  <a:gd name="connsiteX22" fmla="*/ 544593 w 755285"/>
                  <a:gd name="connsiteY22" fmla="*/ 678471 h 1084407"/>
                  <a:gd name="connsiteX23" fmla="*/ 519310 w 755285"/>
                  <a:gd name="connsiteY23" fmla="*/ 653188 h 1084407"/>
                  <a:gd name="connsiteX24" fmla="*/ 515097 w 755285"/>
                  <a:gd name="connsiteY24" fmla="*/ 640547 h 1084407"/>
                  <a:gd name="connsiteX25" fmla="*/ 519310 w 755285"/>
                  <a:gd name="connsiteY25" fmla="*/ 560484 h 1084407"/>
                  <a:gd name="connsiteX26" fmla="*/ 544593 w 755285"/>
                  <a:gd name="connsiteY26" fmla="*/ 535201 h 1084407"/>
                  <a:gd name="connsiteX27" fmla="*/ 569876 w 755285"/>
                  <a:gd name="connsiteY27" fmla="*/ 526773 h 1084407"/>
                  <a:gd name="connsiteX28" fmla="*/ 582518 w 755285"/>
                  <a:gd name="connsiteY28" fmla="*/ 522559 h 1084407"/>
                  <a:gd name="connsiteX29" fmla="*/ 616228 w 755285"/>
                  <a:gd name="connsiteY29" fmla="*/ 514132 h 1084407"/>
                  <a:gd name="connsiteX30" fmla="*/ 624656 w 755285"/>
                  <a:gd name="connsiteY30" fmla="*/ 488849 h 1084407"/>
                  <a:gd name="connsiteX31" fmla="*/ 628870 w 755285"/>
                  <a:gd name="connsiteY31" fmla="*/ 467780 h 1084407"/>
                  <a:gd name="connsiteX32" fmla="*/ 654153 w 755285"/>
                  <a:gd name="connsiteY32" fmla="*/ 450924 h 1084407"/>
                  <a:gd name="connsiteX33" fmla="*/ 658367 w 755285"/>
                  <a:gd name="connsiteY33" fmla="*/ 370862 h 1084407"/>
                  <a:gd name="connsiteX34" fmla="*/ 649939 w 755285"/>
                  <a:gd name="connsiteY34" fmla="*/ 345579 h 1084407"/>
                  <a:gd name="connsiteX35" fmla="*/ 662580 w 755285"/>
                  <a:gd name="connsiteY35" fmla="*/ 299227 h 1084407"/>
                  <a:gd name="connsiteX36" fmla="*/ 687863 w 755285"/>
                  <a:gd name="connsiteY36" fmla="*/ 290799 h 1084407"/>
                  <a:gd name="connsiteX37" fmla="*/ 713146 w 755285"/>
                  <a:gd name="connsiteY37" fmla="*/ 282371 h 1084407"/>
                  <a:gd name="connsiteX38" fmla="*/ 725788 w 755285"/>
                  <a:gd name="connsiteY38" fmla="*/ 278158 h 1084407"/>
                  <a:gd name="connsiteX39" fmla="*/ 755285 w 755285"/>
                  <a:gd name="connsiteY39" fmla="*/ 269730 h 1084407"/>
                  <a:gd name="connsiteX40" fmla="*/ 751071 w 755285"/>
                  <a:gd name="connsiteY40" fmla="*/ 240233 h 1084407"/>
                  <a:gd name="connsiteX41" fmla="*/ 738429 w 755285"/>
                  <a:gd name="connsiteY41" fmla="*/ 236019 h 1084407"/>
                  <a:gd name="connsiteX42" fmla="*/ 708932 w 755285"/>
                  <a:gd name="connsiteY42" fmla="*/ 202309 h 1084407"/>
                  <a:gd name="connsiteX43" fmla="*/ 679436 w 755285"/>
                  <a:gd name="connsiteY43" fmla="*/ 198095 h 1084407"/>
                  <a:gd name="connsiteX44" fmla="*/ 645725 w 755285"/>
                  <a:gd name="connsiteY44" fmla="*/ 202309 h 1084407"/>
                  <a:gd name="connsiteX45" fmla="*/ 633084 w 755285"/>
                  <a:gd name="connsiteY45" fmla="*/ 214950 h 1084407"/>
                  <a:gd name="connsiteX46" fmla="*/ 620442 w 755285"/>
                  <a:gd name="connsiteY46" fmla="*/ 223378 h 1084407"/>
                  <a:gd name="connsiteX47" fmla="*/ 586732 w 755285"/>
                  <a:gd name="connsiteY47" fmla="*/ 206523 h 1084407"/>
                  <a:gd name="connsiteX48" fmla="*/ 582518 w 755285"/>
                  <a:gd name="connsiteY48" fmla="*/ 185453 h 1084407"/>
                  <a:gd name="connsiteX49" fmla="*/ 557235 w 755285"/>
                  <a:gd name="connsiteY49" fmla="*/ 177026 h 1084407"/>
                  <a:gd name="connsiteX50" fmla="*/ 489814 w 755285"/>
                  <a:gd name="connsiteY50" fmla="*/ 168598 h 1084407"/>
                  <a:gd name="connsiteX51" fmla="*/ 477172 w 755285"/>
                  <a:gd name="connsiteY51" fmla="*/ 155957 h 1084407"/>
                  <a:gd name="connsiteX52" fmla="*/ 464531 w 755285"/>
                  <a:gd name="connsiteY52" fmla="*/ 147529 h 1084407"/>
                  <a:gd name="connsiteX53" fmla="*/ 460317 w 755285"/>
                  <a:gd name="connsiteY53" fmla="*/ 134888 h 1084407"/>
                  <a:gd name="connsiteX54" fmla="*/ 435034 w 755285"/>
                  <a:gd name="connsiteY54" fmla="*/ 122246 h 1084407"/>
                  <a:gd name="connsiteX55" fmla="*/ 405537 w 755285"/>
                  <a:gd name="connsiteY55" fmla="*/ 126460 h 1084407"/>
                  <a:gd name="connsiteX56" fmla="*/ 392896 w 755285"/>
                  <a:gd name="connsiteY56" fmla="*/ 130674 h 1084407"/>
                  <a:gd name="connsiteX57" fmla="*/ 346544 w 755285"/>
                  <a:gd name="connsiteY57" fmla="*/ 126460 h 1084407"/>
                  <a:gd name="connsiteX58" fmla="*/ 363399 w 755285"/>
                  <a:gd name="connsiteY58" fmla="*/ 101177 h 1084407"/>
                  <a:gd name="connsiteX59" fmla="*/ 359185 w 755285"/>
                  <a:gd name="connsiteY59" fmla="*/ 54825 h 1084407"/>
                  <a:gd name="connsiteX60" fmla="*/ 333902 w 755285"/>
                  <a:gd name="connsiteY60" fmla="*/ 42183 h 1084407"/>
                  <a:gd name="connsiteX61" fmla="*/ 279122 w 755285"/>
                  <a:gd name="connsiteY61" fmla="*/ 37970 h 1084407"/>
                  <a:gd name="connsiteX62" fmla="*/ 266481 w 755285"/>
                  <a:gd name="connsiteY62" fmla="*/ 33756 h 1084407"/>
                  <a:gd name="connsiteX63" fmla="*/ 262267 w 755285"/>
                  <a:gd name="connsiteY63" fmla="*/ 21114 h 1084407"/>
                  <a:gd name="connsiteX64" fmla="*/ 295977 w 755285"/>
                  <a:gd name="connsiteY64" fmla="*/ 33756 h 1084407"/>
                  <a:gd name="connsiteX65" fmla="*/ 241198 w 755285"/>
                  <a:gd name="connsiteY65" fmla="*/ 45 h 1084407"/>
                  <a:gd name="connsiteX66" fmla="*/ 266481 w 755285"/>
                  <a:gd name="connsiteY66" fmla="*/ 42182 h 1084407"/>
                  <a:gd name="connsiteX67" fmla="*/ 274909 w 755285"/>
                  <a:gd name="connsiteY67" fmla="*/ 29542 h 1084407"/>
                  <a:gd name="connsiteX68" fmla="*/ 262267 w 755285"/>
                  <a:gd name="connsiteY68" fmla="*/ 54825 h 1084407"/>
                  <a:gd name="connsiteX69" fmla="*/ 266481 w 755285"/>
                  <a:gd name="connsiteY69" fmla="*/ 67467 h 1084407"/>
                  <a:gd name="connsiteX70" fmla="*/ 236984 w 755285"/>
                  <a:gd name="connsiteY70" fmla="*/ 96963 h 1084407"/>
                  <a:gd name="connsiteX71" fmla="*/ 207487 w 755285"/>
                  <a:gd name="connsiteY71" fmla="*/ 109605 h 1084407"/>
                  <a:gd name="connsiteX72" fmla="*/ 215915 w 755285"/>
                  <a:gd name="connsiteY72" fmla="*/ 139101 h 1084407"/>
                  <a:gd name="connsiteX73" fmla="*/ 203273 w 755285"/>
                  <a:gd name="connsiteY73" fmla="*/ 164384 h 1084407"/>
                  <a:gd name="connsiteX74" fmla="*/ 182204 w 755285"/>
                  <a:gd name="connsiteY74" fmla="*/ 151743 h 1084407"/>
                  <a:gd name="connsiteX75" fmla="*/ 186418 w 755285"/>
                  <a:gd name="connsiteY75" fmla="*/ 172812 h 1084407"/>
                  <a:gd name="connsiteX76" fmla="*/ 186418 w 755285"/>
                  <a:gd name="connsiteY76" fmla="*/ 193881 h 1084407"/>
                  <a:gd name="connsiteX77" fmla="*/ 190632 w 755285"/>
                  <a:gd name="connsiteY77" fmla="*/ 193881 h 1084407"/>
                  <a:gd name="connsiteX78" fmla="*/ 177991 w 755285"/>
                  <a:gd name="connsiteY78" fmla="*/ 206523 h 1084407"/>
                  <a:gd name="connsiteX79" fmla="*/ 177991 w 755285"/>
                  <a:gd name="connsiteY79" fmla="*/ 223377 h 1084407"/>
                  <a:gd name="connsiteX80" fmla="*/ 169563 w 755285"/>
                  <a:gd name="connsiteY80" fmla="*/ 273943 h 1084407"/>
                  <a:gd name="connsiteX81" fmla="*/ 135852 w 755285"/>
                  <a:gd name="connsiteY81" fmla="*/ 307654 h 1084407"/>
                  <a:gd name="connsiteX82" fmla="*/ 114783 w 755285"/>
                  <a:gd name="connsiteY82" fmla="*/ 320296 h 1084407"/>
                  <a:gd name="connsiteX83" fmla="*/ 106356 w 755285"/>
                  <a:gd name="connsiteY83" fmla="*/ 332937 h 1084407"/>
                  <a:gd name="connsiteX84" fmla="*/ 123211 w 755285"/>
                  <a:gd name="connsiteY84" fmla="*/ 383504 h 1084407"/>
                  <a:gd name="connsiteX85" fmla="*/ 118997 w 755285"/>
                  <a:gd name="connsiteY85" fmla="*/ 400358 h 1084407"/>
                  <a:gd name="connsiteX86" fmla="*/ 9438 w 755285"/>
                  <a:gd name="connsiteY86" fmla="*/ 417214 h 1084407"/>
                  <a:gd name="connsiteX87" fmla="*/ 5224 w 755285"/>
                  <a:gd name="connsiteY87" fmla="*/ 429855 h 1084407"/>
                  <a:gd name="connsiteX88" fmla="*/ 1010 w 755285"/>
                  <a:gd name="connsiteY88" fmla="*/ 450924 h 1084407"/>
                  <a:gd name="connsiteX89" fmla="*/ 5224 w 755285"/>
                  <a:gd name="connsiteY89" fmla="*/ 509918 h 1084407"/>
                  <a:gd name="connsiteX90" fmla="*/ 9438 w 755285"/>
                  <a:gd name="connsiteY90" fmla="*/ 522559 h 1084407"/>
                  <a:gd name="connsiteX91" fmla="*/ 22079 w 755285"/>
                  <a:gd name="connsiteY91" fmla="*/ 530987 h 1084407"/>
                  <a:gd name="connsiteX92" fmla="*/ 30507 w 755285"/>
                  <a:gd name="connsiteY92" fmla="*/ 556270 h 1084407"/>
                  <a:gd name="connsiteX93" fmla="*/ 47362 w 755285"/>
                  <a:gd name="connsiteY93" fmla="*/ 581553 h 1084407"/>
                  <a:gd name="connsiteX94" fmla="*/ 55790 w 755285"/>
                  <a:gd name="connsiteY94" fmla="*/ 598408 h 1084407"/>
                  <a:gd name="connsiteX95" fmla="*/ 72645 w 755285"/>
                  <a:gd name="connsiteY95" fmla="*/ 623691 h 1084407"/>
                  <a:gd name="connsiteX96" fmla="*/ 81073 w 755285"/>
                  <a:gd name="connsiteY96" fmla="*/ 636333 h 1084407"/>
                  <a:gd name="connsiteX97" fmla="*/ 89500 w 755285"/>
                  <a:gd name="connsiteY97" fmla="*/ 661616 h 1084407"/>
                  <a:gd name="connsiteX98" fmla="*/ 93714 w 755285"/>
                  <a:gd name="connsiteY98" fmla="*/ 674257 h 1084407"/>
                  <a:gd name="connsiteX99" fmla="*/ 97928 w 755285"/>
                  <a:gd name="connsiteY99" fmla="*/ 695326 h 1084407"/>
                  <a:gd name="connsiteX100" fmla="*/ 144280 w 755285"/>
                  <a:gd name="connsiteY100" fmla="*/ 733252 h 1084407"/>
                  <a:gd name="connsiteX101" fmla="*/ 148495 w 755285"/>
                  <a:gd name="connsiteY101" fmla="*/ 737465 h 1084407"/>
                  <a:gd name="connsiteX102" fmla="*/ 156922 w 755285"/>
                  <a:gd name="connsiteY102" fmla="*/ 750106 h 1084407"/>
                  <a:gd name="connsiteX103" fmla="*/ 186419 w 755285"/>
                  <a:gd name="connsiteY103" fmla="*/ 766961 h 1084407"/>
                  <a:gd name="connsiteX104" fmla="*/ 211701 w 755285"/>
                  <a:gd name="connsiteY104" fmla="*/ 804886 h 1084407"/>
                  <a:gd name="connsiteX105" fmla="*/ 236984 w 755285"/>
                  <a:gd name="connsiteY105" fmla="*/ 880735 h 1084407"/>
                  <a:gd name="connsiteX106" fmla="*/ 287549 w 755285"/>
                  <a:gd name="connsiteY106" fmla="*/ 906017 h 1084407"/>
                  <a:gd name="connsiteX107" fmla="*/ 258054 w 755285"/>
                  <a:gd name="connsiteY107" fmla="*/ 922872 h 1084407"/>
                  <a:gd name="connsiteX108" fmla="*/ 266481 w 755285"/>
                  <a:gd name="connsiteY108" fmla="*/ 935513 h 1084407"/>
                  <a:gd name="connsiteX109" fmla="*/ 258053 w 755285"/>
                  <a:gd name="connsiteY109" fmla="*/ 973438 h 1084407"/>
                  <a:gd name="connsiteX110" fmla="*/ 211701 w 755285"/>
                  <a:gd name="connsiteY110" fmla="*/ 977653 h 1084407"/>
                  <a:gd name="connsiteX111" fmla="*/ 220129 w 755285"/>
                  <a:gd name="connsiteY111" fmla="*/ 1002935 h 1084407"/>
                  <a:gd name="connsiteX112" fmla="*/ 228556 w 755285"/>
                  <a:gd name="connsiteY112" fmla="*/ 1032432 h 1084407"/>
                  <a:gd name="connsiteX113" fmla="*/ 232770 w 755285"/>
                  <a:gd name="connsiteY113" fmla="*/ 1057715 h 1084407"/>
                  <a:gd name="connsiteX114" fmla="*/ 236984 w 755285"/>
                  <a:gd name="connsiteY114" fmla="*/ 1070357 h 1084407"/>
                  <a:gd name="connsiteX115" fmla="*/ 262267 w 755285"/>
                  <a:gd name="connsiteY115" fmla="*/ 1078784 h 1084407"/>
                  <a:gd name="connsiteX116" fmla="*/ 274909 w 755285"/>
                  <a:gd name="connsiteY116" fmla="*/ 1082998 h 1084407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586732 w 755285"/>
                  <a:gd name="connsiteY47" fmla="*/ 185409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489814 w 755285"/>
                  <a:gd name="connsiteY50" fmla="*/ 147484 h 1063293"/>
                  <a:gd name="connsiteX51" fmla="*/ 477172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35034 w 755285"/>
                  <a:gd name="connsiteY54" fmla="*/ 101132 h 1063293"/>
                  <a:gd name="connsiteX55" fmla="*/ 405537 w 755285"/>
                  <a:gd name="connsiteY55" fmla="*/ 105346 h 1063293"/>
                  <a:gd name="connsiteX56" fmla="*/ 392896 w 755285"/>
                  <a:gd name="connsiteY56" fmla="*/ 109560 h 1063293"/>
                  <a:gd name="connsiteX57" fmla="*/ 346544 w 755285"/>
                  <a:gd name="connsiteY57" fmla="*/ 105346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14783 w 755285"/>
                  <a:gd name="connsiteY82" fmla="*/ 299182 h 1063293"/>
                  <a:gd name="connsiteX83" fmla="*/ 106356 w 755285"/>
                  <a:gd name="connsiteY83" fmla="*/ 311823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586732 w 755285"/>
                  <a:gd name="connsiteY47" fmla="*/ 185409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489814 w 755285"/>
                  <a:gd name="connsiteY50" fmla="*/ 147484 h 1063293"/>
                  <a:gd name="connsiteX51" fmla="*/ 477172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35034 w 755285"/>
                  <a:gd name="connsiteY54" fmla="*/ 101132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46544 w 755285"/>
                  <a:gd name="connsiteY57" fmla="*/ 105346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14783 w 755285"/>
                  <a:gd name="connsiteY82" fmla="*/ 299182 h 1063293"/>
                  <a:gd name="connsiteX83" fmla="*/ 106356 w 755285"/>
                  <a:gd name="connsiteY83" fmla="*/ 311823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586732 w 755285"/>
                  <a:gd name="connsiteY47" fmla="*/ 185409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489814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35034 w 755285"/>
                  <a:gd name="connsiteY54" fmla="*/ 101132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46544 w 755285"/>
                  <a:gd name="connsiteY57" fmla="*/ 105346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14783 w 755285"/>
                  <a:gd name="connsiteY82" fmla="*/ 299182 h 1063293"/>
                  <a:gd name="connsiteX83" fmla="*/ 106356 w 755285"/>
                  <a:gd name="connsiteY83" fmla="*/ 311823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586732 w 755285"/>
                  <a:gd name="connsiteY47" fmla="*/ 185409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35034 w 755285"/>
                  <a:gd name="connsiteY54" fmla="*/ 101132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46544 w 755285"/>
                  <a:gd name="connsiteY57" fmla="*/ 105346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14783 w 755285"/>
                  <a:gd name="connsiteY82" fmla="*/ 299182 h 1063293"/>
                  <a:gd name="connsiteX83" fmla="*/ 106356 w 755285"/>
                  <a:gd name="connsiteY83" fmla="*/ 311823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586732 w 755285"/>
                  <a:gd name="connsiteY47" fmla="*/ 185409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46544 w 755285"/>
                  <a:gd name="connsiteY57" fmla="*/ 105346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14783 w 755285"/>
                  <a:gd name="connsiteY82" fmla="*/ 299182 h 1063293"/>
                  <a:gd name="connsiteX83" fmla="*/ 106356 w 755285"/>
                  <a:gd name="connsiteY83" fmla="*/ 311823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46544 w 755285"/>
                  <a:gd name="connsiteY57" fmla="*/ 105346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14783 w 755285"/>
                  <a:gd name="connsiteY82" fmla="*/ 299182 h 1063293"/>
                  <a:gd name="connsiteX83" fmla="*/ 106356 w 755285"/>
                  <a:gd name="connsiteY83" fmla="*/ 311823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14783 w 755285"/>
                  <a:gd name="connsiteY82" fmla="*/ 299182 h 1063293"/>
                  <a:gd name="connsiteX83" fmla="*/ 106356 w 755285"/>
                  <a:gd name="connsiteY83" fmla="*/ 311823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14783 w 755285"/>
                  <a:gd name="connsiteY82" fmla="*/ 299182 h 1063293"/>
                  <a:gd name="connsiteX83" fmla="*/ 148494 w 755285"/>
                  <a:gd name="connsiteY83" fmla="*/ 303395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48493 w 755285"/>
                  <a:gd name="connsiteY82" fmla="*/ 299182 h 1063293"/>
                  <a:gd name="connsiteX83" fmla="*/ 148494 w 755285"/>
                  <a:gd name="connsiteY83" fmla="*/ 303395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48493 w 755285"/>
                  <a:gd name="connsiteY82" fmla="*/ 299182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36984 w 755285"/>
                  <a:gd name="connsiteY105" fmla="*/ 859621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48493 w 755285"/>
                  <a:gd name="connsiteY82" fmla="*/ 299182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83772 h 1063293"/>
                  <a:gd name="connsiteX105" fmla="*/ 266481 w 755285"/>
                  <a:gd name="connsiteY105" fmla="*/ 855407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48493 w 755285"/>
                  <a:gd name="connsiteY82" fmla="*/ 299182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41198 w 755285"/>
                  <a:gd name="connsiteY104" fmla="*/ 779558 h 1063293"/>
                  <a:gd name="connsiteX105" fmla="*/ 266481 w 755285"/>
                  <a:gd name="connsiteY105" fmla="*/ 855407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48493 w 755285"/>
                  <a:gd name="connsiteY82" fmla="*/ 299182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97928 w 755285"/>
                  <a:gd name="connsiteY99" fmla="*/ 674212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41198 w 755285"/>
                  <a:gd name="connsiteY104" fmla="*/ 779558 h 1063293"/>
                  <a:gd name="connsiteX105" fmla="*/ 266481 w 755285"/>
                  <a:gd name="connsiteY105" fmla="*/ 855407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48493 w 755285"/>
                  <a:gd name="connsiteY82" fmla="*/ 299182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56922 w 755285"/>
                  <a:gd name="connsiteY102" fmla="*/ 728992 h 1063293"/>
                  <a:gd name="connsiteX103" fmla="*/ 186419 w 755285"/>
                  <a:gd name="connsiteY103" fmla="*/ 745847 h 1063293"/>
                  <a:gd name="connsiteX104" fmla="*/ 241198 w 755285"/>
                  <a:gd name="connsiteY104" fmla="*/ 779558 h 1063293"/>
                  <a:gd name="connsiteX105" fmla="*/ 266481 w 755285"/>
                  <a:gd name="connsiteY105" fmla="*/ 855407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48493 w 755285"/>
                  <a:gd name="connsiteY82" fmla="*/ 299182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48495 w 755285"/>
                  <a:gd name="connsiteY101" fmla="*/ 716351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41198 w 755285"/>
                  <a:gd name="connsiteY104" fmla="*/ 779558 h 1063293"/>
                  <a:gd name="connsiteX105" fmla="*/ 266481 w 755285"/>
                  <a:gd name="connsiteY105" fmla="*/ 855407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48493 w 755285"/>
                  <a:gd name="connsiteY82" fmla="*/ 299182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41198 w 755285"/>
                  <a:gd name="connsiteY104" fmla="*/ 779558 h 1063293"/>
                  <a:gd name="connsiteX105" fmla="*/ 266481 w 755285"/>
                  <a:gd name="connsiteY105" fmla="*/ 855407 h 1063293"/>
                  <a:gd name="connsiteX106" fmla="*/ 287549 w 755285"/>
                  <a:gd name="connsiteY106" fmla="*/ 884903 h 1063293"/>
                  <a:gd name="connsiteX107" fmla="*/ 258054 w 755285"/>
                  <a:gd name="connsiteY107" fmla="*/ 901758 h 1063293"/>
                  <a:gd name="connsiteX108" fmla="*/ 266481 w 755285"/>
                  <a:gd name="connsiteY108" fmla="*/ 914399 h 1063293"/>
                  <a:gd name="connsiteX109" fmla="*/ 258053 w 755285"/>
                  <a:gd name="connsiteY109" fmla="*/ 952324 h 1063293"/>
                  <a:gd name="connsiteX110" fmla="*/ 211701 w 755285"/>
                  <a:gd name="connsiteY110" fmla="*/ 956539 h 1063293"/>
                  <a:gd name="connsiteX111" fmla="*/ 220129 w 755285"/>
                  <a:gd name="connsiteY111" fmla="*/ 981821 h 1063293"/>
                  <a:gd name="connsiteX112" fmla="*/ 228556 w 755285"/>
                  <a:gd name="connsiteY112" fmla="*/ 1011318 h 1063293"/>
                  <a:gd name="connsiteX113" fmla="*/ 232770 w 755285"/>
                  <a:gd name="connsiteY113" fmla="*/ 1036601 h 1063293"/>
                  <a:gd name="connsiteX114" fmla="*/ 236984 w 755285"/>
                  <a:gd name="connsiteY114" fmla="*/ 1049243 h 1063293"/>
                  <a:gd name="connsiteX115" fmla="*/ 262267 w 755285"/>
                  <a:gd name="connsiteY115" fmla="*/ 1057670 h 1063293"/>
                  <a:gd name="connsiteX116" fmla="*/ 274909 w 755285"/>
                  <a:gd name="connsiteY116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48493 w 755285"/>
                  <a:gd name="connsiteY82" fmla="*/ 299182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35852 w 755285"/>
                  <a:gd name="connsiteY81" fmla="*/ 286540 h 1063293"/>
                  <a:gd name="connsiteX82" fmla="*/ 165349 w 755285"/>
                  <a:gd name="connsiteY82" fmla="*/ 294968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77991 w 755285"/>
                  <a:gd name="connsiteY79" fmla="*/ 202263 h 1063293"/>
                  <a:gd name="connsiteX80" fmla="*/ 169563 w 755285"/>
                  <a:gd name="connsiteY80" fmla="*/ 252829 h 1063293"/>
                  <a:gd name="connsiteX81" fmla="*/ 161135 w 755285"/>
                  <a:gd name="connsiteY81" fmla="*/ 286540 h 1063293"/>
                  <a:gd name="connsiteX82" fmla="*/ 165349 w 755285"/>
                  <a:gd name="connsiteY82" fmla="*/ 294968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90632 w 755285"/>
                  <a:gd name="connsiteY77" fmla="*/ 172767 h 1063293"/>
                  <a:gd name="connsiteX78" fmla="*/ 177991 w 755285"/>
                  <a:gd name="connsiteY78" fmla="*/ 185409 h 1063293"/>
                  <a:gd name="connsiteX79" fmla="*/ 165350 w 755285"/>
                  <a:gd name="connsiteY79" fmla="*/ 176980 h 1063293"/>
                  <a:gd name="connsiteX80" fmla="*/ 169563 w 755285"/>
                  <a:gd name="connsiteY80" fmla="*/ 252829 h 1063293"/>
                  <a:gd name="connsiteX81" fmla="*/ 161135 w 755285"/>
                  <a:gd name="connsiteY81" fmla="*/ 286540 h 1063293"/>
                  <a:gd name="connsiteX82" fmla="*/ 165349 w 755285"/>
                  <a:gd name="connsiteY82" fmla="*/ 294968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15915 w 755285"/>
                  <a:gd name="connsiteY72" fmla="*/ 117987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82204 w 755285"/>
                  <a:gd name="connsiteY77" fmla="*/ 147484 h 1063293"/>
                  <a:gd name="connsiteX78" fmla="*/ 177991 w 755285"/>
                  <a:gd name="connsiteY78" fmla="*/ 185409 h 1063293"/>
                  <a:gd name="connsiteX79" fmla="*/ 165350 w 755285"/>
                  <a:gd name="connsiteY79" fmla="*/ 176980 h 1063293"/>
                  <a:gd name="connsiteX80" fmla="*/ 169563 w 755285"/>
                  <a:gd name="connsiteY80" fmla="*/ 252829 h 1063293"/>
                  <a:gd name="connsiteX81" fmla="*/ 161135 w 755285"/>
                  <a:gd name="connsiteY81" fmla="*/ 286540 h 1063293"/>
                  <a:gd name="connsiteX82" fmla="*/ 165349 w 755285"/>
                  <a:gd name="connsiteY82" fmla="*/ 294968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82518 w 755285"/>
                  <a:gd name="connsiteY48" fmla="*/ 164339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03273 w 755285"/>
                  <a:gd name="connsiteY72" fmla="*/ 101132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82204 w 755285"/>
                  <a:gd name="connsiteY77" fmla="*/ 147484 h 1063293"/>
                  <a:gd name="connsiteX78" fmla="*/ 177991 w 755285"/>
                  <a:gd name="connsiteY78" fmla="*/ 185409 h 1063293"/>
                  <a:gd name="connsiteX79" fmla="*/ 165350 w 755285"/>
                  <a:gd name="connsiteY79" fmla="*/ 176980 h 1063293"/>
                  <a:gd name="connsiteX80" fmla="*/ 169563 w 755285"/>
                  <a:gd name="connsiteY80" fmla="*/ 252829 h 1063293"/>
                  <a:gd name="connsiteX81" fmla="*/ 161135 w 755285"/>
                  <a:gd name="connsiteY81" fmla="*/ 286540 h 1063293"/>
                  <a:gd name="connsiteX82" fmla="*/ 165349 w 755285"/>
                  <a:gd name="connsiteY82" fmla="*/ 294968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79436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95159 w 755285"/>
                  <a:gd name="connsiteY48" fmla="*/ 155911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03273 w 755285"/>
                  <a:gd name="connsiteY72" fmla="*/ 101132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82204 w 755285"/>
                  <a:gd name="connsiteY77" fmla="*/ 147484 h 1063293"/>
                  <a:gd name="connsiteX78" fmla="*/ 177991 w 755285"/>
                  <a:gd name="connsiteY78" fmla="*/ 185409 h 1063293"/>
                  <a:gd name="connsiteX79" fmla="*/ 165350 w 755285"/>
                  <a:gd name="connsiteY79" fmla="*/ 176980 h 1063293"/>
                  <a:gd name="connsiteX80" fmla="*/ 169563 w 755285"/>
                  <a:gd name="connsiteY80" fmla="*/ 252829 h 1063293"/>
                  <a:gd name="connsiteX81" fmla="*/ 161135 w 755285"/>
                  <a:gd name="connsiteY81" fmla="*/ 286540 h 1063293"/>
                  <a:gd name="connsiteX82" fmla="*/ 165349 w 755285"/>
                  <a:gd name="connsiteY82" fmla="*/ 294968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08932 w 755285"/>
                  <a:gd name="connsiteY42" fmla="*/ 181195 h 1063293"/>
                  <a:gd name="connsiteX43" fmla="*/ 692078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95159 w 755285"/>
                  <a:gd name="connsiteY48" fmla="*/ 155911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03273 w 755285"/>
                  <a:gd name="connsiteY72" fmla="*/ 101132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82204 w 755285"/>
                  <a:gd name="connsiteY77" fmla="*/ 147484 h 1063293"/>
                  <a:gd name="connsiteX78" fmla="*/ 177991 w 755285"/>
                  <a:gd name="connsiteY78" fmla="*/ 185409 h 1063293"/>
                  <a:gd name="connsiteX79" fmla="*/ 165350 w 755285"/>
                  <a:gd name="connsiteY79" fmla="*/ 176980 h 1063293"/>
                  <a:gd name="connsiteX80" fmla="*/ 169563 w 755285"/>
                  <a:gd name="connsiteY80" fmla="*/ 252829 h 1063293"/>
                  <a:gd name="connsiteX81" fmla="*/ 161135 w 755285"/>
                  <a:gd name="connsiteY81" fmla="*/ 286540 h 1063293"/>
                  <a:gd name="connsiteX82" fmla="*/ 165349 w 755285"/>
                  <a:gd name="connsiteY82" fmla="*/ 294968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82518 w 755285"/>
                  <a:gd name="connsiteY12" fmla="*/ 914400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13146 w 755285"/>
                  <a:gd name="connsiteY42" fmla="*/ 168553 h 1063293"/>
                  <a:gd name="connsiteX43" fmla="*/ 692078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95159 w 755285"/>
                  <a:gd name="connsiteY48" fmla="*/ 155911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03273 w 755285"/>
                  <a:gd name="connsiteY72" fmla="*/ 101132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82204 w 755285"/>
                  <a:gd name="connsiteY77" fmla="*/ 147484 h 1063293"/>
                  <a:gd name="connsiteX78" fmla="*/ 177991 w 755285"/>
                  <a:gd name="connsiteY78" fmla="*/ 185409 h 1063293"/>
                  <a:gd name="connsiteX79" fmla="*/ 165350 w 755285"/>
                  <a:gd name="connsiteY79" fmla="*/ 176980 h 1063293"/>
                  <a:gd name="connsiteX80" fmla="*/ 169563 w 755285"/>
                  <a:gd name="connsiteY80" fmla="*/ 252829 h 1063293"/>
                  <a:gd name="connsiteX81" fmla="*/ 161135 w 755285"/>
                  <a:gd name="connsiteY81" fmla="*/ 286540 h 1063293"/>
                  <a:gd name="connsiteX82" fmla="*/ 165349 w 755285"/>
                  <a:gd name="connsiteY82" fmla="*/ 294968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  <a:gd name="connsiteX0" fmla="*/ 274909 w 755285"/>
                  <a:gd name="connsiteY0" fmla="*/ 1061884 h 1063293"/>
                  <a:gd name="connsiteX1" fmla="*/ 295978 w 755285"/>
                  <a:gd name="connsiteY1" fmla="*/ 1045029 h 1063293"/>
                  <a:gd name="connsiteX2" fmla="*/ 312833 w 755285"/>
                  <a:gd name="connsiteY2" fmla="*/ 1023960 h 1063293"/>
                  <a:gd name="connsiteX3" fmla="*/ 359185 w 755285"/>
                  <a:gd name="connsiteY3" fmla="*/ 1011318 h 1063293"/>
                  <a:gd name="connsiteX4" fmla="*/ 371826 w 755285"/>
                  <a:gd name="connsiteY4" fmla="*/ 1002891 h 1063293"/>
                  <a:gd name="connsiteX5" fmla="*/ 397109 w 755285"/>
                  <a:gd name="connsiteY5" fmla="*/ 994463 h 1063293"/>
                  <a:gd name="connsiteX6" fmla="*/ 426606 w 755285"/>
                  <a:gd name="connsiteY6" fmla="*/ 964966 h 1063293"/>
                  <a:gd name="connsiteX7" fmla="*/ 439248 w 755285"/>
                  <a:gd name="connsiteY7" fmla="*/ 956539 h 1063293"/>
                  <a:gd name="connsiteX8" fmla="*/ 447675 w 755285"/>
                  <a:gd name="connsiteY8" fmla="*/ 943897 h 1063293"/>
                  <a:gd name="connsiteX9" fmla="*/ 472958 w 755285"/>
                  <a:gd name="connsiteY9" fmla="*/ 931256 h 1063293"/>
                  <a:gd name="connsiteX10" fmla="*/ 498241 w 755285"/>
                  <a:gd name="connsiteY10" fmla="*/ 935469 h 1063293"/>
                  <a:gd name="connsiteX11" fmla="*/ 544593 w 755285"/>
                  <a:gd name="connsiteY11" fmla="*/ 922828 h 1063293"/>
                  <a:gd name="connsiteX12" fmla="*/ 578305 w 755285"/>
                  <a:gd name="connsiteY12" fmla="*/ 935469 h 1063293"/>
                  <a:gd name="connsiteX13" fmla="*/ 599373 w 755285"/>
                  <a:gd name="connsiteY13" fmla="*/ 889117 h 1063293"/>
                  <a:gd name="connsiteX14" fmla="*/ 586732 w 755285"/>
                  <a:gd name="connsiteY14" fmla="*/ 838551 h 1063293"/>
                  <a:gd name="connsiteX15" fmla="*/ 582518 w 755285"/>
                  <a:gd name="connsiteY15" fmla="*/ 825910 h 1063293"/>
                  <a:gd name="connsiteX16" fmla="*/ 569876 w 755285"/>
                  <a:gd name="connsiteY16" fmla="*/ 817482 h 1063293"/>
                  <a:gd name="connsiteX17" fmla="*/ 565662 w 755285"/>
                  <a:gd name="connsiteY17" fmla="*/ 804841 h 1063293"/>
                  <a:gd name="connsiteX18" fmla="*/ 586732 w 755285"/>
                  <a:gd name="connsiteY18" fmla="*/ 783772 h 1063293"/>
                  <a:gd name="connsiteX19" fmla="*/ 582518 w 755285"/>
                  <a:gd name="connsiteY19" fmla="*/ 758489 h 1063293"/>
                  <a:gd name="connsiteX20" fmla="*/ 540379 w 755285"/>
                  <a:gd name="connsiteY20" fmla="*/ 754275 h 1063293"/>
                  <a:gd name="connsiteX21" fmla="*/ 548807 w 755285"/>
                  <a:gd name="connsiteY21" fmla="*/ 674212 h 1063293"/>
                  <a:gd name="connsiteX22" fmla="*/ 544593 w 755285"/>
                  <a:gd name="connsiteY22" fmla="*/ 657357 h 1063293"/>
                  <a:gd name="connsiteX23" fmla="*/ 519310 w 755285"/>
                  <a:gd name="connsiteY23" fmla="*/ 632074 h 1063293"/>
                  <a:gd name="connsiteX24" fmla="*/ 515097 w 755285"/>
                  <a:gd name="connsiteY24" fmla="*/ 619433 h 1063293"/>
                  <a:gd name="connsiteX25" fmla="*/ 519310 w 755285"/>
                  <a:gd name="connsiteY25" fmla="*/ 539370 h 1063293"/>
                  <a:gd name="connsiteX26" fmla="*/ 544593 w 755285"/>
                  <a:gd name="connsiteY26" fmla="*/ 514087 h 1063293"/>
                  <a:gd name="connsiteX27" fmla="*/ 569876 w 755285"/>
                  <a:gd name="connsiteY27" fmla="*/ 505659 h 1063293"/>
                  <a:gd name="connsiteX28" fmla="*/ 582518 w 755285"/>
                  <a:gd name="connsiteY28" fmla="*/ 501445 h 1063293"/>
                  <a:gd name="connsiteX29" fmla="*/ 616228 w 755285"/>
                  <a:gd name="connsiteY29" fmla="*/ 493018 h 1063293"/>
                  <a:gd name="connsiteX30" fmla="*/ 624656 w 755285"/>
                  <a:gd name="connsiteY30" fmla="*/ 467735 h 1063293"/>
                  <a:gd name="connsiteX31" fmla="*/ 628870 w 755285"/>
                  <a:gd name="connsiteY31" fmla="*/ 446666 h 1063293"/>
                  <a:gd name="connsiteX32" fmla="*/ 654153 w 755285"/>
                  <a:gd name="connsiteY32" fmla="*/ 429810 h 1063293"/>
                  <a:gd name="connsiteX33" fmla="*/ 658367 w 755285"/>
                  <a:gd name="connsiteY33" fmla="*/ 349748 h 1063293"/>
                  <a:gd name="connsiteX34" fmla="*/ 649939 w 755285"/>
                  <a:gd name="connsiteY34" fmla="*/ 324465 h 1063293"/>
                  <a:gd name="connsiteX35" fmla="*/ 662580 w 755285"/>
                  <a:gd name="connsiteY35" fmla="*/ 278113 h 1063293"/>
                  <a:gd name="connsiteX36" fmla="*/ 687863 w 755285"/>
                  <a:gd name="connsiteY36" fmla="*/ 269685 h 1063293"/>
                  <a:gd name="connsiteX37" fmla="*/ 713146 w 755285"/>
                  <a:gd name="connsiteY37" fmla="*/ 261257 h 1063293"/>
                  <a:gd name="connsiteX38" fmla="*/ 725788 w 755285"/>
                  <a:gd name="connsiteY38" fmla="*/ 257044 h 1063293"/>
                  <a:gd name="connsiteX39" fmla="*/ 755285 w 755285"/>
                  <a:gd name="connsiteY39" fmla="*/ 248616 h 1063293"/>
                  <a:gd name="connsiteX40" fmla="*/ 751071 w 755285"/>
                  <a:gd name="connsiteY40" fmla="*/ 219119 h 1063293"/>
                  <a:gd name="connsiteX41" fmla="*/ 738429 w 755285"/>
                  <a:gd name="connsiteY41" fmla="*/ 214905 h 1063293"/>
                  <a:gd name="connsiteX42" fmla="*/ 713146 w 755285"/>
                  <a:gd name="connsiteY42" fmla="*/ 168553 h 1063293"/>
                  <a:gd name="connsiteX43" fmla="*/ 692078 w 755285"/>
                  <a:gd name="connsiteY43" fmla="*/ 176981 h 1063293"/>
                  <a:gd name="connsiteX44" fmla="*/ 645725 w 755285"/>
                  <a:gd name="connsiteY44" fmla="*/ 181195 h 1063293"/>
                  <a:gd name="connsiteX45" fmla="*/ 633084 w 755285"/>
                  <a:gd name="connsiteY45" fmla="*/ 193836 h 1063293"/>
                  <a:gd name="connsiteX46" fmla="*/ 620442 w 755285"/>
                  <a:gd name="connsiteY46" fmla="*/ 202264 h 1063293"/>
                  <a:gd name="connsiteX47" fmla="*/ 603587 w 755285"/>
                  <a:gd name="connsiteY47" fmla="*/ 181196 h 1063293"/>
                  <a:gd name="connsiteX48" fmla="*/ 595159 w 755285"/>
                  <a:gd name="connsiteY48" fmla="*/ 155911 h 1063293"/>
                  <a:gd name="connsiteX49" fmla="*/ 557235 w 755285"/>
                  <a:gd name="connsiteY49" fmla="*/ 155912 h 1063293"/>
                  <a:gd name="connsiteX50" fmla="*/ 510883 w 755285"/>
                  <a:gd name="connsiteY50" fmla="*/ 147484 h 1063293"/>
                  <a:gd name="connsiteX51" fmla="*/ 502455 w 755285"/>
                  <a:gd name="connsiteY51" fmla="*/ 134843 h 1063293"/>
                  <a:gd name="connsiteX52" fmla="*/ 464531 w 755285"/>
                  <a:gd name="connsiteY52" fmla="*/ 126415 h 1063293"/>
                  <a:gd name="connsiteX53" fmla="*/ 460317 w 755285"/>
                  <a:gd name="connsiteY53" fmla="*/ 113774 h 1063293"/>
                  <a:gd name="connsiteX54" fmla="*/ 422392 w 755285"/>
                  <a:gd name="connsiteY54" fmla="*/ 84277 h 1063293"/>
                  <a:gd name="connsiteX55" fmla="*/ 405537 w 755285"/>
                  <a:gd name="connsiteY55" fmla="*/ 105346 h 1063293"/>
                  <a:gd name="connsiteX56" fmla="*/ 413966 w 755285"/>
                  <a:gd name="connsiteY56" fmla="*/ 105346 h 1063293"/>
                  <a:gd name="connsiteX57" fmla="*/ 359186 w 755285"/>
                  <a:gd name="connsiteY57" fmla="*/ 101132 h 1063293"/>
                  <a:gd name="connsiteX58" fmla="*/ 363399 w 755285"/>
                  <a:gd name="connsiteY58" fmla="*/ 80063 h 1063293"/>
                  <a:gd name="connsiteX59" fmla="*/ 359185 w 755285"/>
                  <a:gd name="connsiteY59" fmla="*/ 33711 h 1063293"/>
                  <a:gd name="connsiteX60" fmla="*/ 333902 w 755285"/>
                  <a:gd name="connsiteY60" fmla="*/ 21069 h 1063293"/>
                  <a:gd name="connsiteX61" fmla="*/ 279122 w 755285"/>
                  <a:gd name="connsiteY61" fmla="*/ 16856 h 1063293"/>
                  <a:gd name="connsiteX62" fmla="*/ 266481 w 755285"/>
                  <a:gd name="connsiteY62" fmla="*/ 12642 h 1063293"/>
                  <a:gd name="connsiteX63" fmla="*/ 262267 w 755285"/>
                  <a:gd name="connsiteY63" fmla="*/ 0 h 1063293"/>
                  <a:gd name="connsiteX64" fmla="*/ 295977 w 755285"/>
                  <a:gd name="connsiteY64" fmla="*/ 12642 h 1063293"/>
                  <a:gd name="connsiteX65" fmla="*/ 262268 w 755285"/>
                  <a:gd name="connsiteY65" fmla="*/ 8428 h 1063293"/>
                  <a:gd name="connsiteX66" fmla="*/ 266481 w 755285"/>
                  <a:gd name="connsiteY66" fmla="*/ 21068 h 1063293"/>
                  <a:gd name="connsiteX67" fmla="*/ 274909 w 755285"/>
                  <a:gd name="connsiteY67" fmla="*/ 8428 h 1063293"/>
                  <a:gd name="connsiteX68" fmla="*/ 262267 w 755285"/>
                  <a:gd name="connsiteY68" fmla="*/ 33711 h 1063293"/>
                  <a:gd name="connsiteX69" fmla="*/ 266481 w 755285"/>
                  <a:gd name="connsiteY69" fmla="*/ 46353 h 1063293"/>
                  <a:gd name="connsiteX70" fmla="*/ 236984 w 755285"/>
                  <a:gd name="connsiteY70" fmla="*/ 75849 h 1063293"/>
                  <a:gd name="connsiteX71" fmla="*/ 207487 w 755285"/>
                  <a:gd name="connsiteY71" fmla="*/ 88491 h 1063293"/>
                  <a:gd name="connsiteX72" fmla="*/ 203273 w 755285"/>
                  <a:gd name="connsiteY72" fmla="*/ 101132 h 1063293"/>
                  <a:gd name="connsiteX73" fmla="*/ 203273 w 755285"/>
                  <a:gd name="connsiteY73" fmla="*/ 143270 h 1063293"/>
                  <a:gd name="connsiteX74" fmla="*/ 182204 w 755285"/>
                  <a:gd name="connsiteY74" fmla="*/ 130629 h 1063293"/>
                  <a:gd name="connsiteX75" fmla="*/ 186418 w 755285"/>
                  <a:gd name="connsiteY75" fmla="*/ 151698 h 1063293"/>
                  <a:gd name="connsiteX76" fmla="*/ 186418 w 755285"/>
                  <a:gd name="connsiteY76" fmla="*/ 172767 h 1063293"/>
                  <a:gd name="connsiteX77" fmla="*/ 182204 w 755285"/>
                  <a:gd name="connsiteY77" fmla="*/ 147484 h 1063293"/>
                  <a:gd name="connsiteX78" fmla="*/ 177991 w 755285"/>
                  <a:gd name="connsiteY78" fmla="*/ 185409 h 1063293"/>
                  <a:gd name="connsiteX79" fmla="*/ 165350 w 755285"/>
                  <a:gd name="connsiteY79" fmla="*/ 176980 h 1063293"/>
                  <a:gd name="connsiteX80" fmla="*/ 169563 w 755285"/>
                  <a:gd name="connsiteY80" fmla="*/ 252829 h 1063293"/>
                  <a:gd name="connsiteX81" fmla="*/ 161135 w 755285"/>
                  <a:gd name="connsiteY81" fmla="*/ 286540 h 1063293"/>
                  <a:gd name="connsiteX82" fmla="*/ 165349 w 755285"/>
                  <a:gd name="connsiteY82" fmla="*/ 294968 h 1063293"/>
                  <a:gd name="connsiteX83" fmla="*/ 173777 w 755285"/>
                  <a:gd name="connsiteY83" fmla="*/ 294968 h 1063293"/>
                  <a:gd name="connsiteX84" fmla="*/ 123211 w 755285"/>
                  <a:gd name="connsiteY84" fmla="*/ 362390 h 1063293"/>
                  <a:gd name="connsiteX85" fmla="*/ 118997 w 755285"/>
                  <a:gd name="connsiteY85" fmla="*/ 379244 h 1063293"/>
                  <a:gd name="connsiteX86" fmla="*/ 9438 w 755285"/>
                  <a:gd name="connsiteY86" fmla="*/ 396100 h 1063293"/>
                  <a:gd name="connsiteX87" fmla="*/ 5224 w 755285"/>
                  <a:gd name="connsiteY87" fmla="*/ 408741 h 1063293"/>
                  <a:gd name="connsiteX88" fmla="*/ 1010 w 755285"/>
                  <a:gd name="connsiteY88" fmla="*/ 429810 h 1063293"/>
                  <a:gd name="connsiteX89" fmla="*/ 5224 w 755285"/>
                  <a:gd name="connsiteY89" fmla="*/ 488804 h 1063293"/>
                  <a:gd name="connsiteX90" fmla="*/ 9438 w 755285"/>
                  <a:gd name="connsiteY90" fmla="*/ 501445 h 1063293"/>
                  <a:gd name="connsiteX91" fmla="*/ 22079 w 755285"/>
                  <a:gd name="connsiteY91" fmla="*/ 509873 h 1063293"/>
                  <a:gd name="connsiteX92" fmla="*/ 30507 w 755285"/>
                  <a:gd name="connsiteY92" fmla="*/ 535156 h 1063293"/>
                  <a:gd name="connsiteX93" fmla="*/ 47362 w 755285"/>
                  <a:gd name="connsiteY93" fmla="*/ 560439 h 1063293"/>
                  <a:gd name="connsiteX94" fmla="*/ 55790 w 755285"/>
                  <a:gd name="connsiteY94" fmla="*/ 577294 h 1063293"/>
                  <a:gd name="connsiteX95" fmla="*/ 72645 w 755285"/>
                  <a:gd name="connsiteY95" fmla="*/ 602577 h 1063293"/>
                  <a:gd name="connsiteX96" fmla="*/ 81073 w 755285"/>
                  <a:gd name="connsiteY96" fmla="*/ 615219 h 1063293"/>
                  <a:gd name="connsiteX97" fmla="*/ 89500 w 755285"/>
                  <a:gd name="connsiteY97" fmla="*/ 640502 h 1063293"/>
                  <a:gd name="connsiteX98" fmla="*/ 93714 w 755285"/>
                  <a:gd name="connsiteY98" fmla="*/ 653143 h 1063293"/>
                  <a:gd name="connsiteX99" fmla="*/ 127424 w 755285"/>
                  <a:gd name="connsiteY99" fmla="*/ 665784 h 1063293"/>
                  <a:gd name="connsiteX100" fmla="*/ 144280 w 755285"/>
                  <a:gd name="connsiteY100" fmla="*/ 712138 h 1063293"/>
                  <a:gd name="connsiteX101" fmla="*/ 165350 w 755285"/>
                  <a:gd name="connsiteY101" fmla="*/ 699496 h 1063293"/>
                  <a:gd name="connsiteX102" fmla="*/ 177991 w 755285"/>
                  <a:gd name="connsiteY102" fmla="*/ 724778 h 1063293"/>
                  <a:gd name="connsiteX103" fmla="*/ 186419 w 755285"/>
                  <a:gd name="connsiteY103" fmla="*/ 745847 h 1063293"/>
                  <a:gd name="connsiteX104" fmla="*/ 211701 w 755285"/>
                  <a:gd name="connsiteY104" fmla="*/ 741633 h 1063293"/>
                  <a:gd name="connsiteX105" fmla="*/ 241198 w 755285"/>
                  <a:gd name="connsiteY105" fmla="*/ 779558 h 1063293"/>
                  <a:gd name="connsiteX106" fmla="*/ 266481 w 755285"/>
                  <a:gd name="connsiteY106" fmla="*/ 855407 h 1063293"/>
                  <a:gd name="connsiteX107" fmla="*/ 287549 w 755285"/>
                  <a:gd name="connsiteY107" fmla="*/ 884903 h 1063293"/>
                  <a:gd name="connsiteX108" fmla="*/ 258054 w 755285"/>
                  <a:gd name="connsiteY108" fmla="*/ 901758 h 1063293"/>
                  <a:gd name="connsiteX109" fmla="*/ 266481 w 755285"/>
                  <a:gd name="connsiteY109" fmla="*/ 914399 h 1063293"/>
                  <a:gd name="connsiteX110" fmla="*/ 258053 w 755285"/>
                  <a:gd name="connsiteY110" fmla="*/ 952324 h 1063293"/>
                  <a:gd name="connsiteX111" fmla="*/ 211701 w 755285"/>
                  <a:gd name="connsiteY111" fmla="*/ 956539 h 1063293"/>
                  <a:gd name="connsiteX112" fmla="*/ 220129 w 755285"/>
                  <a:gd name="connsiteY112" fmla="*/ 981821 h 1063293"/>
                  <a:gd name="connsiteX113" fmla="*/ 228556 w 755285"/>
                  <a:gd name="connsiteY113" fmla="*/ 1011318 h 1063293"/>
                  <a:gd name="connsiteX114" fmla="*/ 232770 w 755285"/>
                  <a:gd name="connsiteY114" fmla="*/ 1036601 h 1063293"/>
                  <a:gd name="connsiteX115" fmla="*/ 236984 w 755285"/>
                  <a:gd name="connsiteY115" fmla="*/ 1049243 h 1063293"/>
                  <a:gd name="connsiteX116" fmla="*/ 262267 w 755285"/>
                  <a:gd name="connsiteY116" fmla="*/ 1057670 h 1063293"/>
                  <a:gd name="connsiteX117" fmla="*/ 274909 w 755285"/>
                  <a:gd name="connsiteY117" fmla="*/ 1061884 h 10632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755285" h="1063293">
                    <a:moveTo>
                      <a:pt x="274909" y="1061884"/>
                    </a:moveTo>
                    <a:cubicBezTo>
                      <a:pt x="280528" y="1059777"/>
                      <a:pt x="290582" y="1052224"/>
                      <a:pt x="295978" y="1045029"/>
                    </a:cubicBezTo>
                    <a:cubicBezTo>
                      <a:pt x="315378" y="1019161"/>
                      <a:pt x="283874" y="1033613"/>
                      <a:pt x="312833" y="1023960"/>
                    </a:cubicBezTo>
                    <a:cubicBezTo>
                      <a:pt x="341391" y="1004920"/>
                      <a:pt x="305926" y="1025843"/>
                      <a:pt x="359185" y="1011318"/>
                    </a:cubicBezTo>
                    <a:cubicBezTo>
                      <a:pt x="364071" y="1009986"/>
                      <a:pt x="367198" y="1004948"/>
                      <a:pt x="371826" y="1002891"/>
                    </a:cubicBezTo>
                    <a:cubicBezTo>
                      <a:pt x="379944" y="999283"/>
                      <a:pt x="397109" y="994463"/>
                      <a:pt x="397109" y="994463"/>
                    </a:cubicBezTo>
                    <a:cubicBezTo>
                      <a:pt x="404526" y="972212"/>
                      <a:pt x="397627" y="984284"/>
                      <a:pt x="426606" y="964966"/>
                    </a:cubicBezTo>
                    <a:lnTo>
                      <a:pt x="439248" y="956539"/>
                    </a:lnTo>
                    <a:cubicBezTo>
                      <a:pt x="442057" y="952325"/>
                      <a:pt x="444094" y="947478"/>
                      <a:pt x="447675" y="943897"/>
                    </a:cubicBezTo>
                    <a:cubicBezTo>
                      <a:pt x="455844" y="935728"/>
                      <a:pt x="462676" y="934683"/>
                      <a:pt x="472958" y="931256"/>
                    </a:cubicBezTo>
                    <a:cubicBezTo>
                      <a:pt x="481386" y="932660"/>
                      <a:pt x="489697" y="935469"/>
                      <a:pt x="498241" y="935469"/>
                    </a:cubicBezTo>
                    <a:cubicBezTo>
                      <a:pt x="510157" y="935469"/>
                      <a:pt x="531249" y="922828"/>
                      <a:pt x="544593" y="922828"/>
                    </a:cubicBezTo>
                    <a:cubicBezTo>
                      <a:pt x="557937" y="922828"/>
                      <a:pt x="548643" y="940413"/>
                      <a:pt x="578305" y="935469"/>
                    </a:cubicBezTo>
                    <a:cubicBezTo>
                      <a:pt x="583923" y="927041"/>
                      <a:pt x="597969" y="905270"/>
                      <a:pt x="599373" y="889117"/>
                    </a:cubicBezTo>
                    <a:cubicBezTo>
                      <a:pt x="600777" y="872964"/>
                      <a:pt x="597860" y="871936"/>
                      <a:pt x="586732" y="838551"/>
                    </a:cubicBezTo>
                    <a:cubicBezTo>
                      <a:pt x="585327" y="834337"/>
                      <a:pt x="586214" y="828374"/>
                      <a:pt x="582518" y="825910"/>
                    </a:cubicBezTo>
                    <a:lnTo>
                      <a:pt x="569876" y="817482"/>
                    </a:lnTo>
                    <a:cubicBezTo>
                      <a:pt x="568471" y="813268"/>
                      <a:pt x="564932" y="809222"/>
                      <a:pt x="565662" y="804841"/>
                    </a:cubicBezTo>
                    <a:cubicBezTo>
                      <a:pt x="567418" y="794305"/>
                      <a:pt x="579357" y="788688"/>
                      <a:pt x="586732" y="783772"/>
                    </a:cubicBezTo>
                    <a:cubicBezTo>
                      <a:pt x="585327" y="775344"/>
                      <a:pt x="589726" y="763076"/>
                      <a:pt x="582518" y="758489"/>
                    </a:cubicBezTo>
                    <a:cubicBezTo>
                      <a:pt x="570609" y="750910"/>
                      <a:pt x="546984" y="766751"/>
                      <a:pt x="540379" y="754275"/>
                    </a:cubicBezTo>
                    <a:cubicBezTo>
                      <a:pt x="528437" y="731719"/>
                      <a:pt x="540714" y="698491"/>
                      <a:pt x="548807" y="674212"/>
                    </a:cubicBezTo>
                    <a:cubicBezTo>
                      <a:pt x="547402" y="668594"/>
                      <a:pt x="546874" y="662680"/>
                      <a:pt x="544593" y="657357"/>
                    </a:cubicBezTo>
                    <a:cubicBezTo>
                      <a:pt x="538755" y="643734"/>
                      <a:pt x="531226" y="641010"/>
                      <a:pt x="519310" y="632074"/>
                    </a:cubicBezTo>
                    <a:cubicBezTo>
                      <a:pt x="517906" y="627860"/>
                      <a:pt x="515097" y="623875"/>
                      <a:pt x="515097" y="619433"/>
                    </a:cubicBezTo>
                    <a:cubicBezTo>
                      <a:pt x="515097" y="592708"/>
                      <a:pt x="512104" y="565105"/>
                      <a:pt x="519310" y="539370"/>
                    </a:cubicBezTo>
                    <a:cubicBezTo>
                      <a:pt x="522524" y="527893"/>
                      <a:pt x="533286" y="517856"/>
                      <a:pt x="544593" y="514087"/>
                    </a:cubicBezTo>
                    <a:lnTo>
                      <a:pt x="569876" y="505659"/>
                    </a:lnTo>
                    <a:cubicBezTo>
                      <a:pt x="574090" y="504254"/>
                      <a:pt x="578162" y="502316"/>
                      <a:pt x="582518" y="501445"/>
                    </a:cubicBezTo>
                    <a:cubicBezTo>
                      <a:pt x="607942" y="496361"/>
                      <a:pt x="596793" y="499497"/>
                      <a:pt x="616228" y="493018"/>
                    </a:cubicBezTo>
                    <a:cubicBezTo>
                      <a:pt x="619037" y="484590"/>
                      <a:pt x="622914" y="476446"/>
                      <a:pt x="624656" y="467735"/>
                    </a:cubicBezTo>
                    <a:cubicBezTo>
                      <a:pt x="626061" y="460712"/>
                      <a:pt x="625667" y="453072"/>
                      <a:pt x="628870" y="446666"/>
                    </a:cubicBezTo>
                    <a:cubicBezTo>
                      <a:pt x="635183" y="434039"/>
                      <a:pt x="642915" y="433556"/>
                      <a:pt x="654153" y="429810"/>
                    </a:cubicBezTo>
                    <a:cubicBezTo>
                      <a:pt x="674071" y="399933"/>
                      <a:pt x="667340" y="415556"/>
                      <a:pt x="658367" y="349748"/>
                    </a:cubicBezTo>
                    <a:cubicBezTo>
                      <a:pt x="657167" y="340946"/>
                      <a:pt x="649939" y="324465"/>
                      <a:pt x="649939" y="324465"/>
                    </a:cubicBezTo>
                    <a:cubicBezTo>
                      <a:pt x="650878" y="316950"/>
                      <a:pt x="649617" y="286215"/>
                      <a:pt x="662580" y="278113"/>
                    </a:cubicBezTo>
                    <a:cubicBezTo>
                      <a:pt x="670113" y="273405"/>
                      <a:pt x="679435" y="272494"/>
                      <a:pt x="687863" y="269685"/>
                    </a:cubicBezTo>
                    <a:lnTo>
                      <a:pt x="713146" y="261257"/>
                    </a:lnTo>
                    <a:cubicBezTo>
                      <a:pt x="717360" y="259852"/>
                      <a:pt x="721479" y="258121"/>
                      <a:pt x="725788" y="257044"/>
                    </a:cubicBezTo>
                    <a:cubicBezTo>
                      <a:pt x="746952" y="251753"/>
                      <a:pt x="737149" y="254661"/>
                      <a:pt x="755285" y="248616"/>
                    </a:cubicBezTo>
                    <a:cubicBezTo>
                      <a:pt x="753880" y="238784"/>
                      <a:pt x="755513" y="228003"/>
                      <a:pt x="751071" y="219119"/>
                    </a:cubicBezTo>
                    <a:cubicBezTo>
                      <a:pt x="749084" y="215146"/>
                      <a:pt x="744750" y="223333"/>
                      <a:pt x="738429" y="214905"/>
                    </a:cubicBezTo>
                    <a:cubicBezTo>
                      <a:pt x="732108" y="206477"/>
                      <a:pt x="720871" y="174874"/>
                      <a:pt x="713146" y="168553"/>
                    </a:cubicBezTo>
                    <a:cubicBezTo>
                      <a:pt x="705421" y="162232"/>
                      <a:pt x="701910" y="178386"/>
                      <a:pt x="692078" y="176981"/>
                    </a:cubicBezTo>
                    <a:cubicBezTo>
                      <a:pt x="680841" y="178386"/>
                      <a:pt x="655557" y="178386"/>
                      <a:pt x="645725" y="181195"/>
                    </a:cubicBezTo>
                    <a:cubicBezTo>
                      <a:pt x="635893" y="184004"/>
                      <a:pt x="637662" y="190021"/>
                      <a:pt x="633084" y="193836"/>
                    </a:cubicBezTo>
                    <a:cubicBezTo>
                      <a:pt x="629193" y="197078"/>
                      <a:pt x="624656" y="199455"/>
                      <a:pt x="620442" y="202264"/>
                    </a:cubicBezTo>
                    <a:cubicBezTo>
                      <a:pt x="600530" y="198945"/>
                      <a:pt x="607801" y="188921"/>
                      <a:pt x="603587" y="181196"/>
                    </a:cubicBezTo>
                    <a:cubicBezTo>
                      <a:pt x="599373" y="173471"/>
                      <a:pt x="602884" y="160125"/>
                      <a:pt x="595159" y="155911"/>
                    </a:cubicBezTo>
                    <a:cubicBezTo>
                      <a:pt x="587434" y="151697"/>
                      <a:pt x="571281" y="157316"/>
                      <a:pt x="557235" y="155912"/>
                    </a:cubicBezTo>
                    <a:cubicBezTo>
                      <a:pt x="543189" y="154508"/>
                      <a:pt x="561523" y="152548"/>
                      <a:pt x="510883" y="147484"/>
                    </a:cubicBezTo>
                    <a:cubicBezTo>
                      <a:pt x="506669" y="143270"/>
                      <a:pt x="510180" y="138355"/>
                      <a:pt x="502455" y="134843"/>
                    </a:cubicBezTo>
                    <a:cubicBezTo>
                      <a:pt x="494730" y="131332"/>
                      <a:pt x="471554" y="129926"/>
                      <a:pt x="464531" y="126415"/>
                    </a:cubicBezTo>
                    <a:cubicBezTo>
                      <a:pt x="457508" y="122904"/>
                      <a:pt x="467340" y="120797"/>
                      <a:pt x="460317" y="113774"/>
                    </a:cubicBezTo>
                    <a:cubicBezTo>
                      <a:pt x="453294" y="106751"/>
                      <a:pt x="430720" y="87053"/>
                      <a:pt x="422392" y="84277"/>
                    </a:cubicBezTo>
                    <a:cubicBezTo>
                      <a:pt x="416774" y="91300"/>
                      <a:pt x="406941" y="101835"/>
                      <a:pt x="405537" y="105346"/>
                    </a:cubicBezTo>
                    <a:cubicBezTo>
                      <a:pt x="404133" y="108857"/>
                      <a:pt x="421691" y="106048"/>
                      <a:pt x="413966" y="105346"/>
                    </a:cubicBezTo>
                    <a:cubicBezTo>
                      <a:pt x="406241" y="104644"/>
                      <a:pt x="374637" y="102537"/>
                      <a:pt x="359186" y="101132"/>
                    </a:cubicBezTo>
                    <a:cubicBezTo>
                      <a:pt x="364804" y="92704"/>
                      <a:pt x="363399" y="91300"/>
                      <a:pt x="363399" y="80063"/>
                    </a:cubicBezTo>
                    <a:cubicBezTo>
                      <a:pt x="363399" y="68826"/>
                      <a:pt x="363747" y="48539"/>
                      <a:pt x="359185" y="33711"/>
                    </a:cubicBezTo>
                    <a:cubicBezTo>
                      <a:pt x="357679" y="28817"/>
                      <a:pt x="338340" y="21624"/>
                      <a:pt x="333902" y="21069"/>
                    </a:cubicBezTo>
                    <a:cubicBezTo>
                      <a:pt x="315729" y="18798"/>
                      <a:pt x="297382" y="18260"/>
                      <a:pt x="279122" y="16856"/>
                    </a:cubicBezTo>
                    <a:cubicBezTo>
                      <a:pt x="274908" y="15451"/>
                      <a:pt x="269622" y="15783"/>
                      <a:pt x="266481" y="12642"/>
                    </a:cubicBezTo>
                    <a:cubicBezTo>
                      <a:pt x="263340" y="9501"/>
                      <a:pt x="257351" y="0"/>
                      <a:pt x="262267" y="0"/>
                    </a:cubicBezTo>
                    <a:cubicBezTo>
                      <a:pt x="267183" y="0"/>
                      <a:pt x="295977" y="11237"/>
                      <a:pt x="295977" y="12642"/>
                    </a:cubicBezTo>
                    <a:cubicBezTo>
                      <a:pt x="295977" y="14047"/>
                      <a:pt x="267184" y="7024"/>
                      <a:pt x="262268" y="8428"/>
                    </a:cubicBezTo>
                    <a:cubicBezTo>
                      <a:pt x="257352" y="9832"/>
                      <a:pt x="260863" y="16152"/>
                      <a:pt x="266481" y="21068"/>
                    </a:cubicBezTo>
                    <a:cubicBezTo>
                      <a:pt x="272099" y="25984"/>
                      <a:pt x="273504" y="-702"/>
                      <a:pt x="274909" y="8428"/>
                    </a:cubicBezTo>
                    <a:cubicBezTo>
                      <a:pt x="220589" y="13860"/>
                      <a:pt x="263672" y="27390"/>
                      <a:pt x="262267" y="33711"/>
                    </a:cubicBezTo>
                    <a:cubicBezTo>
                      <a:pt x="260862" y="40032"/>
                      <a:pt x="267886" y="42139"/>
                      <a:pt x="266481" y="46353"/>
                    </a:cubicBezTo>
                    <a:cubicBezTo>
                      <a:pt x="265076" y="70231"/>
                      <a:pt x="246816" y="68826"/>
                      <a:pt x="236984" y="75849"/>
                    </a:cubicBezTo>
                    <a:cubicBezTo>
                      <a:pt x="227152" y="82872"/>
                      <a:pt x="213106" y="84277"/>
                      <a:pt x="207487" y="88491"/>
                    </a:cubicBezTo>
                    <a:cubicBezTo>
                      <a:pt x="201869" y="92705"/>
                      <a:pt x="207487" y="98323"/>
                      <a:pt x="203273" y="101132"/>
                    </a:cubicBezTo>
                    <a:cubicBezTo>
                      <a:pt x="199845" y="111415"/>
                      <a:pt x="206784" y="138354"/>
                      <a:pt x="203273" y="143270"/>
                    </a:cubicBezTo>
                    <a:cubicBezTo>
                      <a:pt x="199762" y="148186"/>
                      <a:pt x="186418" y="127820"/>
                      <a:pt x="182204" y="130629"/>
                    </a:cubicBezTo>
                    <a:cubicBezTo>
                      <a:pt x="177990" y="135545"/>
                      <a:pt x="187823" y="138354"/>
                      <a:pt x="186418" y="151698"/>
                    </a:cubicBezTo>
                    <a:cubicBezTo>
                      <a:pt x="185013" y="165042"/>
                      <a:pt x="187120" y="173469"/>
                      <a:pt x="186418" y="172767"/>
                    </a:cubicBezTo>
                    <a:cubicBezTo>
                      <a:pt x="185716" y="172065"/>
                      <a:pt x="170967" y="151698"/>
                      <a:pt x="182204" y="147484"/>
                    </a:cubicBezTo>
                    <a:cubicBezTo>
                      <a:pt x="193441" y="143270"/>
                      <a:pt x="168861" y="186111"/>
                      <a:pt x="177991" y="185409"/>
                    </a:cubicBezTo>
                    <a:cubicBezTo>
                      <a:pt x="187121" y="184707"/>
                      <a:pt x="166755" y="165743"/>
                      <a:pt x="165350" y="176980"/>
                    </a:cubicBezTo>
                    <a:cubicBezTo>
                      <a:pt x="163945" y="188217"/>
                      <a:pt x="170968" y="248615"/>
                      <a:pt x="169563" y="252829"/>
                    </a:cubicBezTo>
                    <a:cubicBezTo>
                      <a:pt x="168109" y="265914"/>
                      <a:pt x="161837" y="279517"/>
                      <a:pt x="161135" y="286540"/>
                    </a:cubicBezTo>
                    <a:cubicBezTo>
                      <a:pt x="160433" y="293563"/>
                      <a:pt x="169563" y="293563"/>
                      <a:pt x="165349" y="294968"/>
                    </a:cubicBezTo>
                    <a:cubicBezTo>
                      <a:pt x="146030" y="323947"/>
                      <a:pt x="196028" y="287551"/>
                      <a:pt x="173777" y="294968"/>
                    </a:cubicBezTo>
                    <a:cubicBezTo>
                      <a:pt x="149624" y="331195"/>
                      <a:pt x="132341" y="348344"/>
                      <a:pt x="123211" y="362390"/>
                    </a:cubicBezTo>
                    <a:cubicBezTo>
                      <a:pt x="114081" y="376436"/>
                      <a:pt x="155517" y="373625"/>
                      <a:pt x="118997" y="379244"/>
                    </a:cubicBezTo>
                    <a:cubicBezTo>
                      <a:pt x="82477" y="384863"/>
                      <a:pt x="28400" y="391184"/>
                      <a:pt x="9438" y="396100"/>
                    </a:cubicBezTo>
                    <a:cubicBezTo>
                      <a:pt x="-9524" y="401016"/>
                      <a:pt x="6095" y="404386"/>
                      <a:pt x="5224" y="408741"/>
                    </a:cubicBezTo>
                    <a:lnTo>
                      <a:pt x="1010" y="429810"/>
                    </a:lnTo>
                    <a:cubicBezTo>
                      <a:pt x="2415" y="449475"/>
                      <a:pt x="2920" y="469224"/>
                      <a:pt x="5224" y="488804"/>
                    </a:cubicBezTo>
                    <a:cubicBezTo>
                      <a:pt x="5743" y="493215"/>
                      <a:pt x="6663" y="497977"/>
                      <a:pt x="9438" y="501445"/>
                    </a:cubicBezTo>
                    <a:cubicBezTo>
                      <a:pt x="12602" y="505400"/>
                      <a:pt x="17865" y="507064"/>
                      <a:pt x="22079" y="509873"/>
                    </a:cubicBezTo>
                    <a:cubicBezTo>
                      <a:pt x="24888" y="518301"/>
                      <a:pt x="25579" y="527764"/>
                      <a:pt x="30507" y="535156"/>
                    </a:cubicBezTo>
                    <a:cubicBezTo>
                      <a:pt x="36125" y="543584"/>
                      <a:pt x="42832" y="551380"/>
                      <a:pt x="47362" y="560439"/>
                    </a:cubicBezTo>
                    <a:cubicBezTo>
                      <a:pt x="50171" y="566057"/>
                      <a:pt x="52558" y="571908"/>
                      <a:pt x="55790" y="577294"/>
                    </a:cubicBezTo>
                    <a:cubicBezTo>
                      <a:pt x="61001" y="585979"/>
                      <a:pt x="67027" y="594149"/>
                      <a:pt x="72645" y="602577"/>
                    </a:cubicBezTo>
                    <a:lnTo>
                      <a:pt x="81073" y="615219"/>
                    </a:lnTo>
                    <a:lnTo>
                      <a:pt x="89500" y="640502"/>
                    </a:lnTo>
                    <a:cubicBezTo>
                      <a:pt x="90905" y="644716"/>
                      <a:pt x="87393" y="648929"/>
                      <a:pt x="93714" y="653143"/>
                    </a:cubicBezTo>
                    <a:cubicBezTo>
                      <a:pt x="100035" y="657357"/>
                      <a:pt x="116187" y="661570"/>
                      <a:pt x="127424" y="665784"/>
                    </a:cubicBezTo>
                    <a:cubicBezTo>
                      <a:pt x="126019" y="686853"/>
                      <a:pt x="137959" y="706519"/>
                      <a:pt x="144280" y="712138"/>
                    </a:cubicBezTo>
                    <a:cubicBezTo>
                      <a:pt x="150601" y="717757"/>
                      <a:pt x="159732" y="697389"/>
                      <a:pt x="165350" y="699496"/>
                    </a:cubicBezTo>
                    <a:cubicBezTo>
                      <a:pt x="170968" y="701603"/>
                      <a:pt x="174480" y="717053"/>
                      <a:pt x="177991" y="724778"/>
                    </a:cubicBezTo>
                    <a:cubicBezTo>
                      <a:pt x="181503" y="732503"/>
                      <a:pt x="180801" y="743038"/>
                      <a:pt x="186419" y="745847"/>
                    </a:cubicBezTo>
                    <a:cubicBezTo>
                      <a:pt x="192037" y="748656"/>
                      <a:pt x="202571" y="736015"/>
                      <a:pt x="211701" y="741633"/>
                    </a:cubicBezTo>
                    <a:cubicBezTo>
                      <a:pt x="220831" y="747251"/>
                      <a:pt x="229961" y="762000"/>
                      <a:pt x="241198" y="779558"/>
                    </a:cubicBezTo>
                    <a:cubicBezTo>
                      <a:pt x="260716" y="808833"/>
                      <a:pt x="258756" y="837850"/>
                      <a:pt x="266481" y="855407"/>
                    </a:cubicBezTo>
                    <a:cubicBezTo>
                      <a:pt x="274206" y="872964"/>
                      <a:pt x="288953" y="877178"/>
                      <a:pt x="287549" y="884903"/>
                    </a:cubicBezTo>
                    <a:cubicBezTo>
                      <a:pt x="286145" y="892628"/>
                      <a:pt x="262268" y="898949"/>
                      <a:pt x="258054" y="901758"/>
                    </a:cubicBezTo>
                    <a:cubicBezTo>
                      <a:pt x="252658" y="917945"/>
                      <a:pt x="266481" y="905971"/>
                      <a:pt x="266481" y="914399"/>
                    </a:cubicBezTo>
                    <a:cubicBezTo>
                      <a:pt x="266481" y="922827"/>
                      <a:pt x="253839" y="949515"/>
                      <a:pt x="258053" y="952324"/>
                    </a:cubicBezTo>
                    <a:cubicBezTo>
                      <a:pt x="260862" y="956538"/>
                      <a:pt x="218022" y="951623"/>
                      <a:pt x="211701" y="956539"/>
                    </a:cubicBezTo>
                    <a:cubicBezTo>
                      <a:pt x="205380" y="961455"/>
                      <a:pt x="217320" y="973394"/>
                      <a:pt x="220129" y="981821"/>
                    </a:cubicBezTo>
                    <a:cubicBezTo>
                      <a:pt x="224146" y="993872"/>
                      <a:pt x="225910" y="998087"/>
                      <a:pt x="228556" y="1011318"/>
                    </a:cubicBezTo>
                    <a:cubicBezTo>
                      <a:pt x="230231" y="1019696"/>
                      <a:pt x="230917" y="1028261"/>
                      <a:pt x="232770" y="1036601"/>
                    </a:cubicBezTo>
                    <a:cubicBezTo>
                      <a:pt x="233734" y="1040937"/>
                      <a:pt x="233369" y="1046661"/>
                      <a:pt x="236984" y="1049243"/>
                    </a:cubicBezTo>
                    <a:cubicBezTo>
                      <a:pt x="244213" y="1054406"/>
                      <a:pt x="253839" y="1054861"/>
                      <a:pt x="262267" y="1057670"/>
                    </a:cubicBezTo>
                    <a:cubicBezTo>
                      <a:pt x="282905" y="1064549"/>
                      <a:pt x="269290" y="1063991"/>
                      <a:pt x="274909" y="1061884"/>
                    </a:cubicBezTo>
                    <a:close/>
                  </a:path>
                </a:pathLst>
              </a:custGeom>
              <a:solidFill>
                <a:schemeClr val="bg2"/>
              </a:solidFill>
              <a:ln w="158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534">
                <a:extLst>
                  <a:ext uri="{FF2B5EF4-FFF2-40B4-BE49-F238E27FC236}">
                    <a16:creationId xmlns:a16="http://schemas.microsoft.com/office/drawing/2014/main" id="{B61159DD-1807-67EB-412B-8B1BFD1249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694472">
                <a:off x="2264768" y="2117022"/>
                <a:ext cx="855221" cy="1043329"/>
              </a:xfrm>
              <a:custGeom>
                <a:avLst/>
                <a:gdLst>
                  <a:gd name="T0" fmla="*/ 2147483647 w 549"/>
                  <a:gd name="T1" fmla="*/ 2147483647 h 665"/>
                  <a:gd name="T2" fmla="*/ 2147483647 w 549"/>
                  <a:gd name="T3" fmla="*/ 2147483647 h 665"/>
                  <a:gd name="T4" fmla="*/ 2147483647 w 549"/>
                  <a:gd name="T5" fmla="*/ 2147483647 h 665"/>
                  <a:gd name="T6" fmla="*/ 2147483647 w 549"/>
                  <a:gd name="T7" fmla="*/ 2147483647 h 665"/>
                  <a:gd name="T8" fmla="*/ 2147483647 w 549"/>
                  <a:gd name="T9" fmla="*/ 2147483647 h 665"/>
                  <a:gd name="T10" fmla="*/ 2147483647 w 549"/>
                  <a:gd name="T11" fmla="*/ 2147483647 h 665"/>
                  <a:gd name="T12" fmla="*/ 2147483647 w 549"/>
                  <a:gd name="T13" fmla="*/ 2147483647 h 665"/>
                  <a:gd name="T14" fmla="*/ 2147483647 w 549"/>
                  <a:gd name="T15" fmla="*/ 2147483647 h 665"/>
                  <a:gd name="T16" fmla="*/ 2137013786 w 549"/>
                  <a:gd name="T17" fmla="*/ 2147483647 h 665"/>
                  <a:gd name="T18" fmla="*/ 1848237297 w 549"/>
                  <a:gd name="T19" fmla="*/ 2147483647 h 665"/>
                  <a:gd name="T20" fmla="*/ 1463185550 w 549"/>
                  <a:gd name="T21" fmla="*/ 2147483647 h 665"/>
                  <a:gd name="T22" fmla="*/ 1655711424 w 549"/>
                  <a:gd name="T23" fmla="*/ 2147483647 h 665"/>
                  <a:gd name="T24" fmla="*/ 1366924325 w 549"/>
                  <a:gd name="T25" fmla="*/ 2147483647 h 665"/>
                  <a:gd name="T26" fmla="*/ 1058887171 w 549"/>
                  <a:gd name="T27" fmla="*/ 2147483647 h 665"/>
                  <a:gd name="T28" fmla="*/ 385049865 w 549"/>
                  <a:gd name="T29" fmla="*/ 2147483647 h 665"/>
                  <a:gd name="T30" fmla="*/ 288787527 w 549"/>
                  <a:gd name="T31" fmla="*/ 2147483647 h 665"/>
                  <a:gd name="T32" fmla="*/ 577575054 w 549"/>
                  <a:gd name="T33" fmla="*/ 2147483647 h 665"/>
                  <a:gd name="T34" fmla="*/ 770099730 w 549"/>
                  <a:gd name="T35" fmla="*/ 2147483647 h 665"/>
                  <a:gd name="T36" fmla="*/ 1463185550 w 549"/>
                  <a:gd name="T37" fmla="*/ 2147483647 h 665"/>
                  <a:gd name="T38" fmla="*/ 2147483647 w 549"/>
                  <a:gd name="T39" fmla="*/ 1686585906 h 665"/>
                  <a:gd name="T40" fmla="*/ 2147483647 w 549"/>
                  <a:gd name="T41" fmla="*/ 2147483647 h 665"/>
                  <a:gd name="T42" fmla="*/ 2147483647 w 549"/>
                  <a:gd name="T43" fmla="*/ 2147483647 h 665"/>
                  <a:gd name="T44" fmla="*/ 2147483647 w 549"/>
                  <a:gd name="T45" fmla="*/ 2147483647 h 665"/>
                  <a:gd name="T46" fmla="*/ 2147483647 w 549"/>
                  <a:gd name="T47" fmla="*/ 2147483647 h 665"/>
                  <a:gd name="T48" fmla="*/ 2147483647 w 549"/>
                  <a:gd name="T49" fmla="*/ 2147483647 h 665"/>
                  <a:gd name="T50" fmla="*/ 2147483647 w 549"/>
                  <a:gd name="T51" fmla="*/ 2147483647 h 665"/>
                  <a:gd name="T52" fmla="*/ 2147483647 w 549"/>
                  <a:gd name="T53" fmla="*/ 2147483647 h 665"/>
                  <a:gd name="T54" fmla="*/ 2147483647 w 549"/>
                  <a:gd name="T55" fmla="*/ 2147483647 h 665"/>
                  <a:gd name="T56" fmla="*/ 2147483647 w 549"/>
                  <a:gd name="T57" fmla="*/ 2147483647 h 665"/>
                  <a:gd name="T58" fmla="*/ 2147483647 w 549"/>
                  <a:gd name="T59" fmla="*/ 2147483647 h 665"/>
                  <a:gd name="T60" fmla="*/ 2147483647 w 549"/>
                  <a:gd name="T61" fmla="*/ 2147483647 h 665"/>
                  <a:gd name="T62" fmla="*/ 2147483647 w 549"/>
                  <a:gd name="T63" fmla="*/ 2147483647 h 665"/>
                  <a:gd name="T64" fmla="*/ 2147483647 w 549"/>
                  <a:gd name="T65" fmla="*/ 2147483647 h 665"/>
                  <a:gd name="T66" fmla="*/ 2147483647 w 549"/>
                  <a:gd name="T67" fmla="*/ 2147483647 h 665"/>
                  <a:gd name="T68" fmla="*/ 2147483647 w 549"/>
                  <a:gd name="T69" fmla="*/ 2147483647 h 665"/>
                  <a:gd name="T70" fmla="*/ 2147483647 w 549"/>
                  <a:gd name="T71" fmla="*/ 2147483647 h 665"/>
                  <a:gd name="T72" fmla="*/ 2147483647 w 549"/>
                  <a:gd name="T73" fmla="*/ 2147483647 h 665"/>
                  <a:gd name="T74" fmla="*/ 2147483647 w 549"/>
                  <a:gd name="T75" fmla="*/ 2147483647 h 665"/>
                  <a:gd name="T76" fmla="*/ 2147483647 w 549"/>
                  <a:gd name="T77" fmla="*/ 2147483647 h 665"/>
                  <a:gd name="T78" fmla="*/ 2147483647 w 549"/>
                  <a:gd name="T79" fmla="*/ 2147483647 h 665"/>
                  <a:gd name="T80" fmla="*/ 2147483647 w 549"/>
                  <a:gd name="T81" fmla="*/ 2147483647 h 665"/>
                  <a:gd name="T82" fmla="*/ 2147483647 w 549"/>
                  <a:gd name="T83" fmla="*/ 2147483647 h 665"/>
                  <a:gd name="T84" fmla="*/ 2147483647 w 549"/>
                  <a:gd name="T85" fmla="*/ 2147483647 h 665"/>
                  <a:gd name="T86" fmla="*/ 2147483647 w 549"/>
                  <a:gd name="T87" fmla="*/ 2147483647 h 665"/>
                  <a:gd name="T88" fmla="*/ 2147483647 w 549"/>
                  <a:gd name="T89" fmla="*/ 2147483647 h 665"/>
                  <a:gd name="T90" fmla="*/ 2147483647 w 549"/>
                  <a:gd name="T91" fmla="*/ 2147483647 h 665"/>
                  <a:gd name="T92" fmla="*/ 2147483647 w 549"/>
                  <a:gd name="T93" fmla="*/ 2147483647 h 665"/>
                  <a:gd name="T94" fmla="*/ 2147483647 w 549"/>
                  <a:gd name="T95" fmla="*/ 2147483647 h 665"/>
                  <a:gd name="T96" fmla="*/ 2147483647 w 549"/>
                  <a:gd name="T97" fmla="*/ 2147483647 h 665"/>
                  <a:gd name="T98" fmla="*/ 2147483647 w 549"/>
                  <a:gd name="T99" fmla="*/ 2147483647 h 665"/>
                  <a:gd name="T100" fmla="*/ 2147483647 w 549"/>
                  <a:gd name="T101" fmla="*/ 2147483647 h 665"/>
                  <a:gd name="T102" fmla="*/ 2147483647 w 549"/>
                  <a:gd name="T103" fmla="*/ 2147483647 h 665"/>
                  <a:gd name="T104" fmla="*/ 2147483647 w 549"/>
                  <a:gd name="T105" fmla="*/ 2147483647 h 665"/>
                  <a:gd name="T106" fmla="*/ 2147483647 w 549"/>
                  <a:gd name="T107" fmla="*/ 2147483647 h 665"/>
                  <a:gd name="T108" fmla="*/ 2147483647 w 549"/>
                  <a:gd name="T109" fmla="*/ 2147483647 h 665"/>
                  <a:gd name="T110" fmla="*/ 2147483647 w 549"/>
                  <a:gd name="T111" fmla="*/ 2147483647 h 665"/>
                  <a:gd name="T112" fmla="*/ 2147483647 w 549"/>
                  <a:gd name="T113" fmla="*/ 2147483647 h 665"/>
                  <a:gd name="T114" fmla="*/ 2147483647 w 549"/>
                  <a:gd name="T115" fmla="*/ 2147483647 h 665"/>
                  <a:gd name="T116" fmla="*/ 2147483647 w 549"/>
                  <a:gd name="T117" fmla="*/ 2147483647 h 665"/>
                  <a:gd name="T118" fmla="*/ 2147483647 w 549"/>
                  <a:gd name="T119" fmla="*/ 0 h 66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49"/>
                  <a:gd name="T181" fmla="*/ 0 h 665"/>
                  <a:gd name="T182" fmla="*/ 549 w 549"/>
                  <a:gd name="T183" fmla="*/ 665 h 665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49" h="665">
                    <a:moveTo>
                      <a:pt x="222" y="655"/>
                    </a:moveTo>
                    <a:lnTo>
                      <a:pt x="227" y="655"/>
                    </a:lnTo>
                    <a:lnTo>
                      <a:pt x="222" y="650"/>
                    </a:lnTo>
                    <a:lnTo>
                      <a:pt x="217" y="650"/>
                    </a:lnTo>
                    <a:lnTo>
                      <a:pt x="217" y="655"/>
                    </a:lnTo>
                    <a:lnTo>
                      <a:pt x="212" y="655"/>
                    </a:lnTo>
                    <a:lnTo>
                      <a:pt x="202" y="655"/>
                    </a:lnTo>
                    <a:lnTo>
                      <a:pt x="202" y="645"/>
                    </a:lnTo>
                    <a:lnTo>
                      <a:pt x="192" y="640"/>
                    </a:lnTo>
                    <a:lnTo>
                      <a:pt x="192" y="645"/>
                    </a:lnTo>
                    <a:lnTo>
                      <a:pt x="187" y="645"/>
                    </a:lnTo>
                    <a:lnTo>
                      <a:pt x="181" y="640"/>
                    </a:lnTo>
                    <a:lnTo>
                      <a:pt x="181" y="635"/>
                    </a:lnTo>
                    <a:lnTo>
                      <a:pt x="176" y="630"/>
                    </a:lnTo>
                    <a:lnTo>
                      <a:pt x="176" y="625"/>
                    </a:lnTo>
                    <a:lnTo>
                      <a:pt x="181" y="620"/>
                    </a:lnTo>
                    <a:lnTo>
                      <a:pt x="181" y="615"/>
                    </a:lnTo>
                    <a:lnTo>
                      <a:pt x="187" y="615"/>
                    </a:lnTo>
                    <a:lnTo>
                      <a:pt x="187" y="610"/>
                    </a:lnTo>
                    <a:lnTo>
                      <a:pt x="187" y="605"/>
                    </a:lnTo>
                    <a:lnTo>
                      <a:pt x="181" y="605"/>
                    </a:lnTo>
                    <a:lnTo>
                      <a:pt x="176" y="600"/>
                    </a:lnTo>
                    <a:lnTo>
                      <a:pt x="181" y="595"/>
                    </a:lnTo>
                    <a:lnTo>
                      <a:pt x="176" y="590"/>
                    </a:lnTo>
                    <a:lnTo>
                      <a:pt x="171" y="590"/>
                    </a:lnTo>
                    <a:lnTo>
                      <a:pt x="171" y="585"/>
                    </a:lnTo>
                    <a:lnTo>
                      <a:pt x="171" y="590"/>
                    </a:lnTo>
                    <a:lnTo>
                      <a:pt x="171" y="585"/>
                    </a:lnTo>
                    <a:lnTo>
                      <a:pt x="166" y="580"/>
                    </a:lnTo>
                    <a:lnTo>
                      <a:pt x="156" y="575"/>
                    </a:lnTo>
                    <a:lnTo>
                      <a:pt x="161" y="564"/>
                    </a:lnTo>
                    <a:lnTo>
                      <a:pt x="156" y="559"/>
                    </a:lnTo>
                    <a:lnTo>
                      <a:pt x="156" y="554"/>
                    </a:lnTo>
                    <a:lnTo>
                      <a:pt x="151" y="554"/>
                    </a:lnTo>
                    <a:lnTo>
                      <a:pt x="151" y="544"/>
                    </a:lnTo>
                    <a:lnTo>
                      <a:pt x="141" y="544"/>
                    </a:lnTo>
                    <a:lnTo>
                      <a:pt x="141" y="539"/>
                    </a:lnTo>
                    <a:lnTo>
                      <a:pt x="141" y="529"/>
                    </a:lnTo>
                    <a:lnTo>
                      <a:pt x="136" y="524"/>
                    </a:lnTo>
                    <a:lnTo>
                      <a:pt x="136" y="519"/>
                    </a:lnTo>
                    <a:lnTo>
                      <a:pt x="141" y="519"/>
                    </a:lnTo>
                    <a:lnTo>
                      <a:pt x="141" y="524"/>
                    </a:lnTo>
                    <a:lnTo>
                      <a:pt x="146" y="519"/>
                    </a:lnTo>
                    <a:lnTo>
                      <a:pt x="141" y="519"/>
                    </a:lnTo>
                    <a:lnTo>
                      <a:pt x="146" y="519"/>
                    </a:lnTo>
                    <a:lnTo>
                      <a:pt x="141" y="514"/>
                    </a:lnTo>
                    <a:lnTo>
                      <a:pt x="146" y="509"/>
                    </a:lnTo>
                    <a:lnTo>
                      <a:pt x="151" y="514"/>
                    </a:lnTo>
                    <a:lnTo>
                      <a:pt x="151" y="509"/>
                    </a:lnTo>
                    <a:lnTo>
                      <a:pt x="156" y="509"/>
                    </a:lnTo>
                    <a:lnTo>
                      <a:pt x="156" y="504"/>
                    </a:lnTo>
                    <a:lnTo>
                      <a:pt x="161" y="499"/>
                    </a:lnTo>
                    <a:lnTo>
                      <a:pt x="166" y="494"/>
                    </a:lnTo>
                    <a:lnTo>
                      <a:pt x="171" y="494"/>
                    </a:lnTo>
                    <a:lnTo>
                      <a:pt x="166" y="489"/>
                    </a:lnTo>
                    <a:lnTo>
                      <a:pt x="161" y="489"/>
                    </a:lnTo>
                    <a:lnTo>
                      <a:pt x="166" y="489"/>
                    </a:lnTo>
                    <a:lnTo>
                      <a:pt x="166" y="479"/>
                    </a:lnTo>
                    <a:lnTo>
                      <a:pt x="176" y="474"/>
                    </a:lnTo>
                    <a:lnTo>
                      <a:pt x="171" y="469"/>
                    </a:lnTo>
                    <a:lnTo>
                      <a:pt x="171" y="464"/>
                    </a:lnTo>
                    <a:lnTo>
                      <a:pt x="166" y="464"/>
                    </a:lnTo>
                    <a:lnTo>
                      <a:pt x="161" y="464"/>
                    </a:lnTo>
                    <a:lnTo>
                      <a:pt x="161" y="459"/>
                    </a:lnTo>
                    <a:lnTo>
                      <a:pt x="156" y="454"/>
                    </a:lnTo>
                    <a:lnTo>
                      <a:pt x="161" y="449"/>
                    </a:lnTo>
                    <a:lnTo>
                      <a:pt x="156" y="438"/>
                    </a:lnTo>
                    <a:lnTo>
                      <a:pt x="151" y="438"/>
                    </a:lnTo>
                    <a:lnTo>
                      <a:pt x="151" y="433"/>
                    </a:lnTo>
                    <a:lnTo>
                      <a:pt x="146" y="433"/>
                    </a:lnTo>
                    <a:lnTo>
                      <a:pt x="151" y="423"/>
                    </a:lnTo>
                    <a:lnTo>
                      <a:pt x="151" y="418"/>
                    </a:lnTo>
                    <a:lnTo>
                      <a:pt x="141" y="413"/>
                    </a:lnTo>
                    <a:lnTo>
                      <a:pt x="146" y="403"/>
                    </a:lnTo>
                    <a:lnTo>
                      <a:pt x="146" y="398"/>
                    </a:lnTo>
                    <a:lnTo>
                      <a:pt x="141" y="393"/>
                    </a:lnTo>
                    <a:lnTo>
                      <a:pt x="141" y="388"/>
                    </a:lnTo>
                    <a:lnTo>
                      <a:pt x="141" y="383"/>
                    </a:lnTo>
                    <a:lnTo>
                      <a:pt x="136" y="378"/>
                    </a:lnTo>
                    <a:lnTo>
                      <a:pt x="141" y="378"/>
                    </a:lnTo>
                    <a:lnTo>
                      <a:pt x="141" y="373"/>
                    </a:lnTo>
                    <a:lnTo>
                      <a:pt x="136" y="378"/>
                    </a:lnTo>
                    <a:lnTo>
                      <a:pt x="131" y="378"/>
                    </a:lnTo>
                    <a:lnTo>
                      <a:pt x="126" y="378"/>
                    </a:lnTo>
                    <a:lnTo>
                      <a:pt x="126" y="373"/>
                    </a:lnTo>
                    <a:lnTo>
                      <a:pt x="126" y="368"/>
                    </a:lnTo>
                    <a:lnTo>
                      <a:pt x="121" y="368"/>
                    </a:lnTo>
                    <a:lnTo>
                      <a:pt x="116" y="368"/>
                    </a:lnTo>
                    <a:lnTo>
                      <a:pt x="116" y="363"/>
                    </a:lnTo>
                    <a:lnTo>
                      <a:pt x="111" y="353"/>
                    </a:lnTo>
                    <a:lnTo>
                      <a:pt x="96" y="363"/>
                    </a:lnTo>
                    <a:lnTo>
                      <a:pt x="91" y="368"/>
                    </a:lnTo>
                    <a:lnTo>
                      <a:pt x="91" y="363"/>
                    </a:lnTo>
                    <a:lnTo>
                      <a:pt x="96" y="358"/>
                    </a:lnTo>
                    <a:lnTo>
                      <a:pt x="101" y="353"/>
                    </a:lnTo>
                    <a:lnTo>
                      <a:pt x="96" y="353"/>
                    </a:lnTo>
                    <a:lnTo>
                      <a:pt x="91" y="353"/>
                    </a:lnTo>
                    <a:lnTo>
                      <a:pt x="86" y="353"/>
                    </a:lnTo>
                    <a:lnTo>
                      <a:pt x="91" y="348"/>
                    </a:lnTo>
                    <a:lnTo>
                      <a:pt x="96" y="353"/>
                    </a:lnTo>
                    <a:lnTo>
                      <a:pt x="96" y="348"/>
                    </a:lnTo>
                    <a:lnTo>
                      <a:pt x="96" y="343"/>
                    </a:lnTo>
                    <a:lnTo>
                      <a:pt x="96" y="338"/>
                    </a:lnTo>
                    <a:lnTo>
                      <a:pt x="86" y="338"/>
                    </a:lnTo>
                    <a:lnTo>
                      <a:pt x="86" y="333"/>
                    </a:lnTo>
                    <a:lnTo>
                      <a:pt x="91" y="328"/>
                    </a:lnTo>
                    <a:lnTo>
                      <a:pt x="86" y="323"/>
                    </a:lnTo>
                    <a:lnTo>
                      <a:pt x="86" y="313"/>
                    </a:lnTo>
                    <a:lnTo>
                      <a:pt x="81" y="313"/>
                    </a:lnTo>
                    <a:lnTo>
                      <a:pt x="76" y="313"/>
                    </a:lnTo>
                    <a:lnTo>
                      <a:pt x="81" y="307"/>
                    </a:lnTo>
                    <a:lnTo>
                      <a:pt x="81" y="302"/>
                    </a:lnTo>
                    <a:lnTo>
                      <a:pt x="86" y="297"/>
                    </a:lnTo>
                    <a:lnTo>
                      <a:pt x="86" y="292"/>
                    </a:lnTo>
                    <a:lnTo>
                      <a:pt x="91" y="287"/>
                    </a:lnTo>
                    <a:lnTo>
                      <a:pt x="91" y="282"/>
                    </a:lnTo>
                    <a:lnTo>
                      <a:pt x="91" y="277"/>
                    </a:lnTo>
                    <a:lnTo>
                      <a:pt x="86" y="272"/>
                    </a:lnTo>
                    <a:lnTo>
                      <a:pt x="91" y="267"/>
                    </a:lnTo>
                    <a:lnTo>
                      <a:pt x="86" y="267"/>
                    </a:lnTo>
                    <a:lnTo>
                      <a:pt x="81" y="267"/>
                    </a:lnTo>
                    <a:lnTo>
                      <a:pt x="76" y="272"/>
                    </a:lnTo>
                    <a:lnTo>
                      <a:pt x="66" y="267"/>
                    </a:lnTo>
                    <a:lnTo>
                      <a:pt x="76" y="267"/>
                    </a:lnTo>
                    <a:lnTo>
                      <a:pt x="71" y="267"/>
                    </a:lnTo>
                    <a:lnTo>
                      <a:pt x="76" y="262"/>
                    </a:lnTo>
                    <a:lnTo>
                      <a:pt x="71" y="262"/>
                    </a:lnTo>
                    <a:lnTo>
                      <a:pt x="71" y="257"/>
                    </a:lnTo>
                    <a:lnTo>
                      <a:pt x="76" y="252"/>
                    </a:lnTo>
                    <a:lnTo>
                      <a:pt x="71" y="252"/>
                    </a:lnTo>
                    <a:lnTo>
                      <a:pt x="71" y="242"/>
                    </a:lnTo>
                    <a:lnTo>
                      <a:pt x="66" y="237"/>
                    </a:lnTo>
                    <a:lnTo>
                      <a:pt x="61" y="237"/>
                    </a:lnTo>
                    <a:lnTo>
                      <a:pt x="55" y="232"/>
                    </a:lnTo>
                    <a:lnTo>
                      <a:pt x="55" y="227"/>
                    </a:lnTo>
                    <a:lnTo>
                      <a:pt x="45" y="227"/>
                    </a:lnTo>
                    <a:lnTo>
                      <a:pt x="45" y="217"/>
                    </a:lnTo>
                    <a:lnTo>
                      <a:pt x="50" y="217"/>
                    </a:lnTo>
                    <a:lnTo>
                      <a:pt x="55" y="217"/>
                    </a:lnTo>
                    <a:lnTo>
                      <a:pt x="55" y="212"/>
                    </a:lnTo>
                    <a:lnTo>
                      <a:pt x="50" y="212"/>
                    </a:lnTo>
                    <a:lnTo>
                      <a:pt x="50" y="207"/>
                    </a:lnTo>
                    <a:lnTo>
                      <a:pt x="55" y="197"/>
                    </a:lnTo>
                    <a:lnTo>
                      <a:pt x="55" y="192"/>
                    </a:lnTo>
                    <a:lnTo>
                      <a:pt x="40" y="187"/>
                    </a:lnTo>
                    <a:lnTo>
                      <a:pt x="35" y="176"/>
                    </a:lnTo>
                    <a:lnTo>
                      <a:pt x="25" y="176"/>
                    </a:lnTo>
                    <a:lnTo>
                      <a:pt x="20" y="171"/>
                    </a:lnTo>
                    <a:lnTo>
                      <a:pt x="20" y="176"/>
                    </a:lnTo>
                    <a:lnTo>
                      <a:pt x="20" y="181"/>
                    </a:lnTo>
                    <a:lnTo>
                      <a:pt x="20" y="187"/>
                    </a:lnTo>
                    <a:lnTo>
                      <a:pt x="15" y="181"/>
                    </a:lnTo>
                    <a:lnTo>
                      <a:pt x="0" y="151"/>
                    </a:lnTo>
                    <a:lnTo>
                      <a:pt x="5" y="146"/>
                    </a:lnTo>
                    <a:lnTo>
                      <a:pt x="10" y="141"/>
                    </a:lnTo>
                    <a:lnTo>
                      <a:pt x="10" y="146"/>
                    </a:lnTo>
                    <a:lnTo>
                      <a:pt x="15" y="146"/>
                    </a:lnTo>
                    <a:lnTo>
                      <a:pt x="15" y="136"/>
                    </a:lnTo>
                    <a:lnTo>
                      <a:pt x="15" y="126"/>
                    </a:lnTo>
                    <a:lnTo>
                      <a:pt x="15" y="116"/>
                    </a:lnTo>
                    <a:lnTo>
                      <a:pt x="10" y="116"/>
                    </a:lnTo>
                    <a:lnTo>
                      <a:pt x="5" y="116"/>
                    </a:lnTo>
                    <a:lnTo>
                      <a:pt x="10" y="116"/>
                    </a:lnTo>
                    <a:lnTo>
                      <a:pt x="10" y="111"/>
                    </a:lnTo>
                    <a:lnTo>
                      <a:pt x="10" y="106"/>
                    </a:lnTo>
                    <a:lnTo>
                      <a:pt x="15" y="106"/>
                    </a:lnTo>
                    <a:lnTo>
                      <a:pt x="15" y="101"/>
                    </a:lnTo>
                    <a:lnTo>
                      <a:pt x="20" y="101"/>
                    </a:lnTo>
                    <a:lnTo>
                      <a:pt x="25" y="106"/>
                    </a:lnTo>
                    <a:lnTo>
                      <a:pt x="30" y="106"/>
                    </a:lnTo>
                    <a:lnTo>
                      <a:pt x="30" y="101"/>
                    </a:lnTo>
                    <a:lnTo>
                      <a:pt x="35" y="101"/>
                    </a:lnTo>
                    <a:lnTo>
                      <a:pt x="30" y="91"/>
                    </a:lnTo>
                    <a:lnTo>
                      <a:pt x="30" y="86"/>
                    </a:lnTo>
                    <a:lnTo>
                      <a:pt x="30" y="81"/>
                    </a:lnTo>
                    <a:lnTo>
                      <a:pt x="35" y="81"/>
                    </a:lnTo>
                    <a:lnTo>
                      <a:pt x="35" y="86"/>
                    </a:lnTo>
                    <a:lnTo>
                      <a:pt x="40" y="86"/>
                    </a:lnTo>
                    <a:lnTo>
                      <a:pt x="40" y="81"/>
                    </a:lnTo>
                    <a:lnTo>
                      <a:pt x="40" y="76"/>
                    </a:lnTo>
                    <a:lnTo>
                      <a:pt x="45" y="71"/>
                    </a:lnTo>
                    <a:lnTo>
                      <a:pt x="50" y="66"/>
                    </a:lnTo>
                    <a:lnTo>
                      <a:pt x="55" y="66"/>
                    </a:lnTo>
                    <a:lnTo>
                      <a:pt x="61" y="61"/>
                    </a:lnTo>
                    <a:lnTo>
                      <a:pt x="61" y="66"/>
                    </a:lnTo>
                    <a:lnTo>
                      <a:pt x="66" y="76"/>
                    </a:lnTo>
                    <a:lnTo>
                      <a:pt x="71" y="76"/>
                    </a:lnTo>
                    <a:lnTo>
                      <a:pt x="71" y="81"/>
                    </a:lnTo>
                    <a:lnTo>
                      <a:pt x="76" y="81"/>
                    </a:lnTo>
                    <a:lnTo>
                      <a:pt x="76" y="76"/>
                    </a:lnTo>
                    <a:lnTo>
                      <a:pt x="86" y="76"/>
                    </a:lnTo>
                    <a:lnTo>
                      <a:pt x="86" y="71"/>
                    </a:lnTo>
                    <a:lnTo>
                      <a:pt x="86" y="66"/>
                    </a:lnTo>
                    <a:lnTo>
                      <a:pt x="91" y="66"/>
                    </a:lnTo>
                    <a:lnTo>
                      <a:pt x="91" y="61"/>
                    </a:lnTo>
                    <a:lnTo>
                      <a:pt x="96" y="61"/>
                    </a:lnTo>
                    <a:lnTo>
                      <a:pt x="106" y="56"/>
                    </a:lnTo>
                    <a:lnTo>
                      <a:pt x="111" y="50"/>
                    </a:lnTo>
                    <a:lnTo>
                      <a:pt x="116" y="50"/>
                    </a:lnTo>
                    <a:lnTo>
                      <a:pt x="121" y="50"/>
                    </a:lnTo>
                    <a:lnTo>
                      <a:pt x="126" y="45"/>
                    </a:lnTo>
                    <a:lnTo>
                      <a:pt x="131" y="45"/>
                    </a:lnTo>
                    <a:lnTo>
                      <a:pt x="136" y="45"/>
                    </a:lnTo>
                    <a:lnTo>
                      <a:pt x="141" y="45"/>
                    </a:lnTo>
                    <a:lnTo>
                      <a:pt x="146" y="45"/>
                    </a:lnTo>
                    <a:lnTo>
                      <a:pt x="151" y="50"/>
                    </a:lnTo>
                    <a:lnTo>
                      <a:pt x="156" y="56"/>
                    </a:lnTo>
                    <a:lnTo>
                      <a:pt x="161" y="56"/>
                    </a:lnTo>
                    <a:lnTo>
                      <a:pt x="166" y="61"/>
                    </a:lnTo>
                    <a:lnTo>
                      <a:pt x="166" y="66"/>
                    </a:lnTo>
                    <a:lnTo>
                      <a:pt x="171" y="66"/>
                    </a:lnTo>
                    <a:lnTo>
                      <a:pt x="171" y="71"/>
                    </a:lnTo>
                    <a:lnTo>
                      <a:pt x="171" y="76"/>
                    </a:lnTo>
                    <a:lnTo>
                      <a:pt x="176" y="81"/>
                    </a:lnTo>
                    <a:lnTo>
                      <a:pt x="187" y="86"/>
                    </a:lnTo>
                    <a:lnTo>
                      <a:pt x="192" y="86"/>
                    </a:lnTo>
                    <a:lnTo>
                      <a:pt x="192" y="81"/>
                    </a:lnTo>
                    <a:lnTo>
                      <a:pt x="192" y="86"/>
                    </a:lnTo>
                    <a:lnTo>
                      <a:pt x="197" y="91"/>
                    </a:lnTo>
                    <a:lnTo>
                      <a:pt x="202" y="86"/>
                    </a:lnTo>
                    <a:lnTo>
                      <a:pt x="207" y="91"/>
                    </a:lnTo>
                    <a:lnTo>
                      <a:pt x="212" y="91"/>
                    </a:lnTo>
                    <a:lnTo>
                      <a:pt x="217" y="96"/>
                    </a:lnTo>
                    <a:lnTo>
                      <a:pt x="212" y="101"/>
                    </a:lnTo>
                    <a:lnTo>
                      <a:pt x="207" y="101"/>
                    </a:lnTo>
                    <a:lnTo>
                      <a:pt x="207" y="106"/>
                    </a:lnTo>
                    <a:lnTo>
                      <a:pt x="212" y="106"/>
                    </a:lnTo>
                    <a:lnTo>
                      <a:pt x="212" y="111"/>
                    </a:lnTo>
                    <a:lnTo>
                      <a:pt x="217" y="111"/>
                    </a:lnTo>
                    <a:lnTo>
                      <a:pt x="217" y="116"/>
                    </a:lnTo>
                    <a:lnTo>
                      <a:pt x="212" y="116"/>
                    </a:lnTo>
                    <a:lnTo>
                      <a:pt x="207" y="116"/>
                    </a:lnTo>
                    <a:lnTo>
                      <a:pt x="207" y="121"/>
                    </a:lnTo>
                    <a:lnTo>
                      <a:pt x="207" y="126"/>
                    </a:lnTo>
                    <a:lnTo>
                      <a:pt x="217" y="126"/>
                    </a:lnTo>
                    <a:lnTo>
                      <a:pt x="217" y="131"/>
                    </a:lnTo>
                    <a:lnTo>
                      <a:pt x="217" y="136"/>
                    </a:lnTo>
                    <a:lnTo>
                      <a:pt x="212" y="136"/>
                    </a:lnTo>
                    <a:lnTo>
                      <a:pt x="217" y="141"/>
                    </a:lnTo>
                    <a:lnTo>
                      <a:pt x="217" y="146"/>
                    </a:lnTo>
                    <a:lnTo>
                      <a:pt x="217" y="151"/>
                    </a:lnTo>
                    <a:lnTo>
                      <a:pt x="222" y="156"/>
                    </a:lnTo>
                    <a:lnTo>
                      <a:pt x="237" y="146"/>
                    </a:lnTo>
                    <a:lnTo>
                      <a:pt x="237" y="151"/>
                    </a:lnTo>
                    <a:lnTo>
                      <a:pt x="247" y="151"/>
                    </a:lnTo>
                    <a:lnTo>
                      <a:pt x="247" y="156"/>
                    </a:lnTo>
                    <a:lnTo>
                      <a:pt x="247" y="161"/>
                    </a:lnTo>
                    <a:lnTo>
                      <a:pt x="252" y="166"/>
                    </a:lnTo>
                    <a:lnTo>
                      <a:pt x="252" y="171"/>
                    </a:lnTo>
                    <a:lnTo>
                      <a:pt x="257" y="171"/>
                    </a:lnTo>
                    <a:lnTo>
                      <a:pt x="257" y="176"/>
                    </a:lnTo>
                    <a:lnTo>
                      <a:pt x="262" y="176"/>
                    </a:lnTo>
                    <a:lnTo>
                      <a:pt x="267" y="176"/>
                    </a:lnTo>
                    <a:lnTo>
                      <a:pt x="272" y="181"/>
                    </a:lnTo>
                    <a:lnTo>
                      <a:pt x="277" y="187"/>
                    </a:lnTo>
                    <a:lnTo>
                      <a:pt x="282" y="187"/>
                    </a:lnTo>
                    <a:lnTo>
                      <a:pt x="282" y="192"/>
                    </a:lnTo>
                    <a:lnTo>
                      <a:pt x="277" y="192"/>
                    </a:lnTo>
                    <a:lnTo>
                      <a:pt x="277" y="197"/>
                    </a:lnTo>
                    <a:lnTo>
                      <a:pt x="277" y="202"/>
                    </a:lnTo>
                    <a:lnTo>
                      <a:pt x="277" y="207"/>
                    </a:lnTo>
                    <a:lnTo>
                      <a:pt x="282" y="202"/>
                    </a:lnTo>
                    <a:lnTo>
                      <a:pt x="287" y="207"/>
                    </a:lnTo>
                    <a:lnTo>
                      <a:pt x="292" y="207"/>
                    </a:lnTo>
                    <a:lnTo>
                      <a:pt x="292" y="202"/>
                    </a:lnTo>
                    <a:lnTo>
                      <a:pt x="297" y="197"/>
                    </a:lnTo>
                    <a:lnTo>
                      <a:pt x="297" y="202"/>
                    </a:lnTo>
                    <a:lnTo>
                      <a:pt x="297" y="207"/>
                    </a:lnTo>
                    <a:lnTo>
                      <a:pt x="302" y="207"/>
                    </a:lnTo>
                    <a:lnTo>
                      <a:pt x="302" y="202"/>
                    </a:lnTo>
                    <a:lnTo>
                      <a:pt x="307" y="202"/>
                    </a:lnTo>
                    <a:lnTo>
                      <a:pt x="313" y="202"/>
                    </a:lnTo>
                    <a:lnTo>
                      <a:pt x="318" y="197"/>
                    </a:lnTo>
                    <a:lnTo>
                      <a:pt x="323" y="197"/>
                    </a:lnTo>
                    <a:lnTo>
                      <a:pt x="333" y="192"/>
                    </a:lnTo>
                    <a:lnTo>
                      <a:pt x="338" y="187"/>
                    </a:lnTo>
                    <a:lnTo>
                      <a:pt x="343" y="192"/>
                    </a:lnTo>
                    <a:lnTo>
                      <a:pt x="343" y="197"/>
                    </a:lnTo>
                    <a:lnTo>
                      <a:pt x="348" y="197"/>
                    </a:lnTo>
                    <a:lnTo>
                      <a:pt x="353" y="197"/>
                    </a:lnTo>
                    <a:lnTo>
                      <a:pt x="353" y="202"/>
                    </a:lnTo>
                    <a:lnTo>
                      <a:pt x="358" y="202"/>
                    </a:lnTo>
                    <a:lnTo>
                      <a:pt x="358" y="207"/>
                    </a:lnTo>
                    <a:lnTo>
                      <a:pt x="363" y="207"/>
                    </a:lnTo>
                    <a:lnTo>
                      <a:pt x="368" y="212"/>
                    </a:lnTo>
                    <a:lnTo>
                      <a:pt x="363" y="217"/>
                    </a:lnTo>
                    <a:lnTo>
                      <a:pt x="363" y="222"/>
                    </a:lnTo>
                    <a:lnTo>
                      <a:pt x="368" y="222"/>
                    </a:lnTo>
                    <a:lnTo>
                      <a:pt x="373" y="227"/>
                    </a:lnTo>
                    <a:lnTo>
                      <a:pt x="373" y="232"/>
                    </a:lnTo>
                    <a:lnTo>
                      <a:pt x="363" y="232"/>
                    </a:lnTo>
                    <a:lnTo>
                      <a:pt x="363" y="237"/>
                    </a:lnTo>
                    <a:lnTo>
                      <a:pt x="368" y="237"/>
                    </a:lnTo>
                    <a:lnTo>
                      <a:pt x="373" y="237"/>
                    </a:lnTo>
                    <a:lnTo>
                      <a:pt x="378" y="237"/>
                    </a:lnTo>
                    <a:lnTo>
                      <a:pt x="378" y="242"/>
                    </a:lnTo>
                    <a:lnTo>
                      <a:pt x="383" y="237"/>
                    </a:lnTo>
                    <a:lnTo>
                      <a:pt x="383" y="242"/>
                    </a:lnTo>
                    <a:lnTo>
                      <a:pt x="393" y="242"/>
                    </a:lnTo>
                    <a:lnTo>
                      <a:pt x="393" y="247"/>
                    </a:lnTo>
                    <a:lnTo>
                      <a:pt x="398" y="252"/>
                    </a:lnTo>
                    <a:lnTo>
                      <a:pt x="398" y="247"/>
                    </a:lnTo>
                    <a:lnTo>
                      <a:pt x="403" y="237"/>
                    </a:lnTo>
                    <a:lnTo>
                      <a:pt x="408" y="242"/>
                    </a:lnTo>
                    <a:lnTo>
                      <a:pt x="413" y="247"/>
                    </a:lnTo>
                    <a:lnTo>
                      <a:pt x="418" y="247"/>
                    </a:lnTo>
                    <a:lnTo>
                      <a:pt x="418" y="242"/>
                    </a:lnTo>
                    <a:lnTo>
                      <a:pt x="423" y="237"/>
                    </a:lnTo>
                    <a:lnTo>
                      <a:pt x="423" y="232"/>
                    </a:lnTo>
                    <a:lnTo>
                      <a:pt x="423" y="237"/>
                    </a:lnTo>
                    <a:lnTo>
                      <a:pt x="428" y="232"/>
                    </a:lnTo>
                    <a:lnTo>
                      <a:pt x="433" y="232"/>
                    </a:lnTo>
                    <a:lnTo>
                      <a:pt x="439" y="232"/>
                    </a:lnTo>
                    <a:lnTo>
                      <a:pt x="444" y="232"/>
                    </a:lnTo>
                    <a:lnTo>
                      <a:pt x="449" y="222"/>
                    </a:lnTo>
                    <a:lnTo>
                      <a:pt x="444" y="222"/>
                    </a:lnTo>
                    <a:lnTo>
                      <a:pt x="449" y="217"/>
                    </a:lnTo>
                    <a:lnTo>
                      <a:pt x="449" y="222"/>
                    </a:lnTo>
                    <a:lnTo>
                      <a:pt x="449" y="217"/>
                    </a:lnTo>
                    <a:lnTo>
                      <a:pt x="469" y="212"/>
                    </a:lnTo>
                    <a:lnTo>
                      <a:pt x="469" y="207"/>
                    </a:lnTo>
                    <a:lnTo>
                      <a:pt x="464" y="202"/>
                    </a:lnTo>
                    <a:lnTo>
                      <a:pt x="464" y="197"/>
                    </a:lnTo>
                    <a:lnTo>
                      <a:pt x="469" y="197"/>
                    </a:lnTo>
                    <a:lnTo>
                      <a:pt x="474" y="192"/>
                    </a:lnTo>
                    <a:lnTo>
                      <a:pt x="479" y="192"/>
                    </a:lnTo>
                    <a:lnTo>
                      <a:pt x="484" y="197"/>
                    </a:lnTo>
                    <a:lnTo>
                      <a:pt x="489" y="197"/>
                    </a:lnTo>
                    <a:lnTo>
                      <a:pt x="494" y="202"/>
                    </a:lnTo>
                    <a:lnTo>
                      <a:pt x="499" y="207"/>
                    </a:lnTo>
                    <a:lnTo>
                      <a:pt x="514" y="202"/>
                    </a:lnTo>
                    <a:lnTo>
                      <a:pt x="519" y="207"/>
                    </a:lnTo>
                    <a:lnTo>
                      <a:pt x="519" y="212"/>
                    </a:lnTo>
                    <a:lnTo>
                      <a:pt x="514" y="217"/>
                    </a:lnTo>
                    <a:lnTo>
                      <a:pt x="509" y="217"/>
                    </a:lnTo>
                    <a:lnTo>
                      <a:pt x="509" y="222"/>
                    </a:lnTo>
                    <a:lnTo>
                      <a:pt x="504" y="222"/>
                    </a:lnTo>
                    <a:lnTo>
                      <a:pt x="504" y="227"/>
                    </a:lnTo>
                    <a:lnTo>
                      <a:pt x="509" y="227"/>
                    </a:lnTo>
                    <a:lnTo>
                      <a:pt x="514" y="227"/>
                    </a:lnTo>
                    <a:lnTo>
                      <a:pt x="519" y="227"/>
                    </a:lnTo>
                    <a:lnTo>
                      <a:pt x="519" y="237"/>
                    </a:lnTo>
                    <a:lnTo>
                      <a:pt x="524" y="237"/>
                    </a:lnTo>
                    <a:lnTo>
                      <a:pt x="524" y="242"/>
                    </a:lnTo>
                    <a:lnTo>
                      <a:pt x="529" y="237"/>
                    </a:lnTo>
                    <a:lnTo>
                      <a:pt x="534" y="237"/>
                    </a:lnTo>
                    <a:lnTo>
                      <a:pt x="529" y="242"/>
                    </a:lnTo>
                    <a:lnTo>
                      <a:pt x="529" y="247"/>
                    </a:lnTo>
                    <a:lnTo>
                      <a:pt x="534" y="247"/>
                    </a:lnTo>
                    <a:lnTo>
                      <a:pt x="534" y="242"/>
                    </a:lnTo>
                    <a:lnTo>
                      <a:pt x="539" y="242"/>
                    </a:lnTo>
                    <a:lnTo>
                      <a:pt x="544" y="237"/>
                    </a:lnTo>
                    <a:lnTo>
                      <a:pt x="549" y="237"/>
                    </a:lnTo>
                    <a:lnTo>
                      <a:pt x="549" y="242"/>
                    </a:lnTo>
                    <a:lnTo>
                      <a:pt x="544" y="247"/>
                    </a:lnTo>
                    <a:lnTo>
                      <a:pt x="544" y="252"/>
                    </a:lnTo>
                    <a:lnTo>
                      <a:pt x="549" y="252"/>
                    </a:lnTo>
                    <a:lnTo>
                      <a:pt x="544" y="257"/>
                    </a:lnTo>
                    <a:lnTo>
                      <a:pt x="544" y="262"/>
                    </a:lnTo>
                    <a:lnTo>
                      <a:pt x="544" y="267"/>
                    </a:lnTo>
                    <a:lnTo>
                      <a:pt x="539" y="267"/>
                    </a:lnTo>
                    <a:lnTo>
                      <a:pt x="539" y="272"/>
                    </a:lnTo>
                    <a:lnTo>
                      <a:pt x="544" y="272"/>
                    </a:lnTo>
                    <a:lnTo>
                      <a:pt x="544" y="277"/>
                    </a:lnTo>
                    <a:lnTo>
                      <a:pt x="549" y="282"/>
                    </a:lnTo>
                    <a:lnTo>
                      <a:pt x="549" y="287"/>
                    </a:lnTo>
                    <a:lnTo>
                      <a:pt x="544" y="287"/>
                    </a:lnTo>
                    <a:lnTo>
                      <a:pt x="544" y="297"/>
                    </a:lnTo>
                    <a:lnTo>
                      <a:pt x="539" y="297"/>
                    </a:lnTo>
                    <a:lnTo>
                      <a:pt x="534" y="292"/>
                    </a:lnTo>
                    <a:lnTo>
                      <a:pt x="529" y="297"/>
                    </a:lnTo>
                    <a:lnTo>
                      <a:pt x="529" y="307"/>
                    </a:lnTo>
                    <a:lnTo>
                      <a:pt x="524" y="307"/>
                    </a:lnTo>
                    <a:lnTo>
                      <a:pt x="529" y="318"/>
                    </a:lnTo>
                    <a:lnTo>
                      <a:pt x="529" y="313"/>
                    </a:lnTo>
                    <a:lnTo>
                      <a:pt x="534" y="318"/>
                    </a:lnTo>
                    <a:lnTo>
                      <a:pt x="529" y="323"/>
                    </a:lnTo>
                    <a:lnTo>
                      <a:pt x="529" y="338"/>
                    </a:lnTo>
                    <a:lnTo>
                      <a:pt x="534" y="338"/>
                    </a:lnTo>
                    <a:lnTo>
                      <a:pt x="534" y="333"/>
                    </a:lnTo>
                    <a:lnTo>
                      <a:pt x="539" y="333"/>
                    </a:lnTo>
                    <a:lnTo>
                      <a:pt x="544" y="338"/>
                    </a:lnTo>
                    <a:lnTo>
                      <a:pt x="539" y="338"/>
                    </a:lnTo>
                    <a:lnTo>
                      <a:pt x="529" y="348"/>
                    </a:lnTo>
                    <a:lnTo>
                      <a:pt x="534" y="348"/>
                    </a:lnTo>
                    <a:lnTo>
                      <a:pt x="539" y="353"/>
                    </a:lnTo>
                    <a:lnTo>
                      <a:pt x="539" y="358"/>
                    </a:lnTo>
                    <a:lnTo>
                      <a:pt x="539" y="363"/>
                    </a:lnTo>
                    <a:lnTo>
                      <a:pt x="534" y="368"/>
                    </a:lnTo>
                    <a:lnTo>
                      <a:pt x="529" y="363"/>
                    </a:lnTo>
                    <a:lnTo>
                      <a:pt x="519" y="368"/>
                    </a:lnTo>
                    <a:lnTo>
                      <a:pt x="519" y="373"/>
                    </a:lnTo>
                    <a:lnTo>
                      <a:pt x="519" y="378"/>
                    </a:lnTo>
                    <a:lnTo>
                      <a:pt x="519" y="388"/>
                    </a:lnTo>
                    <a:lnTo>
                      <a:pt x="514" y="398"/>
                    </a:lnTo>
                    <a:lnTo>
                      <a:pt x="504" y="403"/>
                    </a:lnTo>
                    <a:lnTo>
                      <a:pt x="494" y="403"/>
                    </a:lnTo>
                    <a:lnTo>
                      <a:pt x="494" y="398"/>
                    </a:lnTo>
                    <a:lnTo>
                      <a:pt x="494" y="393"/>
                    </a:lnTo>
                    <a:lnTo>
                      <a:pt x="484" y="393"/>
                    </a:lnTo>
                    <a:lnTo>
                      <a:pt x="489" y="398"/>
                    </a:lnTo>
                    <a:lnTo>
                      <a:pt x="484" y="398"/>
                    </a:lnTo>
                    <a:lnTo>
                      <a:pt x="484" y="403"/>
                    </a:lnTo>
                    <a:lnTo>
                      <a:pt x="479" y="403"/>
                    </a:lnTo>
                    <a:lnTo>
                      <a:pt x="479" y="408"/>
                    </a:lnTo>
                    <a:lnTo>
                      <a:pt x="479" y="413"/>
                    </a:lnTo>
                    <a:lnTo>
                      <a:pt x="474" y="408"/>
                    </a:lnTo>
                    <a:lnTo>
                      <a:pt x="469" y="408"/>
                    </a:lnTo>
                    <a:lnTo>
                      <a:pt x="464" y="403"/>
                    </a:lnTo>
                    <a:lnTo>
                      <a:pt x="464" y="393"/>
                    </a:lnTo>
                    <a:lnTo>
                      <a:pt x="459" y="393"/>
                    </a:lnTo>
                    <a:lnTo>
                      <a:pt x="459" y="383"/>
                    </a:lnTo>
                    <a:lnTo>
                      <a:pt x="459" y="378"/>
                    </a:lnTo>
                    <a:lnTo>
                      <a:pt x="454" y="378"/>
                    </a:lnTo>
                    <a:lnTo>
                      <a:pt x="444" y="378"/>
                    </a:lnTo>
                    <a:lnTo>
                      <a:pt x="439" y="383"/>
                    </a:lnTo>
                    <a:lnTo>
                      <a:pt x="433" y="383"/>
                    </a:lnTo>
                    <a:lnTo>
                      <a:pt x="433" y="388"/>
                    </a:lnTo>
                    <a:lnTo>
                      <a:pt x="433" y="393"/>
                    </a:lnTo>
                    <a:lnTo>
                      <a:pt x="439" y="393"/>
                    </a:lnTo>
                    <a:lnTo>
                      <a:pt x="444" y="393"/>
                    </a:lnTo>
                    <a:lnTo>
                      <a:pt x="444" y="398"/>
                    </a:lnTo>
                    <a:lnTo>
                      <a:pt x="454" y="398"/>
                    </a:lnTo>
                    <a:lnTo>
                      <a:pt x="449" y="403"/>
                    </a:lnTo>
                    <a:lnTo>
                      <a:pt x="444" y="408"/>
                    </a:lnTo>
                    <a:lnTo>
                      <a:pt x="439" y="413"/>
                    </a:lnTo>
                    <a:lnTo>
                      <a:pt x="433" y="418"/>
                    </a:lnTo>
                    <a:lnTo>
                      <a:pt x="428" y="428"/>
                    </a:lnTo>
                    <a:lnTo>
                      <a:pt x="433" y="433"/>
                    </a:lnTo>
                    <a:lnTo>
                      <a:pt x="428" y="438"/>
                    </a:lnTo>
                    <a:lnTo>
                      <a:pt x="433" y="444"/>
                    </a:lnTo>
                    <a:lnTo>
                      <a:pt x="433" y="449"/>
                    </a:lnTo>
                    <a:lnTo>
                      <a:pt x="439" y="454"/>
                    </a:lnTo>
                    <a:lnTo>
                      <a:pt x="439" y="459"/>
                    </a:lnTo>
                    <a:lnTo>
                      <a:pt x="439" y="464"/>
                    </a:lnTo>
                    <a:lnTo>
                      <a:pt x="444" y="464"/>
                    </a:lnTo>
                    <a:lnTo>
                      <a:pt x="444" y="469"/>
                    </a:lnTo>
                    <a:lnTo>
                      <a:pt x="439" y="469"/>
                    </a:lnTo>
                    <a:lnTo>
                      <a:pt x="439" y="474"/>
                    </a:lnTo>
                    <a:lnTo>
                      <a:pt x="439" y="489"/>
                    </a:lnTo>
                    <a:lnTo>
                      <a:pt x="433" y="499"/>
                    </a:lnTo>
                    <a:lnTo>
                      <a:pt x="439" y="499"/>
                    </a:lnTo>
                    <a:lnTo>
                      <a:pt x="444" y="504"/>
                    </a:lnTo>
                    <a:lnTo>
                      <a:pt x="444" y="509"/>
                    </a:lnTo>
                    <a:lnTo>
                      <a:pt x="439" y="509"/>
                    </a:lnTo>
                    <a:lnTo>
                      <a:pt x="433" y="504"/>
                    </a:lnTo>
                    <a:lnTo>
                      <a:pt x="433" y="514"/>
                    </a:lnTo>
                    <a:lnTo>
                      <a:pt x="433" y="519"/>
                    </a:lnTo>
                    <a:lnTo>
                      <a:pt x="433" y="529"/>
                    </a:lnTo>
                    <a:lnTo>
                      <a:pt x="428" y="529"/>
                    </a:lnTo>
                    <a:lnTo>
                      <a:pt x="423" y="534"/>
                    </a:lnTo>
                    <a:lnTo>
                      <a:pt x="428" y="544"/>
                    </a:lnTo>
                    <a:lnTo>
                      <a:pt x="423" y="544"/>
                    </a:lnTo>
                    <a:lnTo>
                      <a:pt x="418" y="544"/>
                    </a:lnTo>
                    <a:lnTo>
                      <a:pt x="413" y="549"/>
                    </a:lnTo>
                    <a:lnTo>
                      <a:pt x="418" y="554"/>
                    </a:lnTo>
                    <a:lnTo>
                      <a:pt x="418" y="559"/>
                    </a:lnTo>
                    <a:lnTo>
                      <a:pt x="413" y="559"/>
                    </a:lnTo>
                    <a:lnTo>
                      <a:pt x="413" y="564"/>
                    </a:lnTo>
                    <a:lnTo>
                      <a:pt x="413" y="569"/>
                    </a:lnTo>
                    <a:lnTo>
                      <a:pt x="408" y="569"/>
                    </a:lnTo>
                    <a:lnTo>
                      <a:pt x="403" y="575"/>
                    </a:lnTo>
                    <a:lnTo>
                      <a:pt x="393" y="575"/>
                    </a:lnTo>
                    <a:lnTo>
                      <a:pt x="388" y="580"/>
                    </a:lnTo>
                    <a:lnTo>
                      <a:pt x="383" y="585"/>
                    </a:lnTo>
                    <a:lnTo>
                      <a:pt x="373" y="580"/>
                    </a:lnTo>
                    <a:lnTo>
                      <a:pt x="368" y="580"/>
                    </a:lnTo>
                    <a:lnTo>
                      <a:pt x="363" y="580"/>
                    </a:lnTo>
                    <a:lnTo>
                      <a:pt x="363" y="585"/>
                    </a:lnTo>
                    <a:lnTo>
                      <a:pt x="358" y="585"/>
                    </a:lnTo>
                    <a:lnTo>
                      <a:pt x="353" y="595"/>
                    </a:lnTo>
                    <a:lnTo>
                      <a:pt x="343" y="585"/>
                    </a:lnTo>
                    <a:lnTo>
                      <a:pt x="338" y="595"/>
                    </a:lnTo>
                    <a:lnTo>
                      <a:pt x="333" y="600"/>
                    </a:lnTo>
                    <a:lnTo>
                      <a:pt x="338" y="605"/>
                    </a:lnTo>
                    <a:lnTo>
                      <a:pt x="333" y="605"/>
                    </a:lnTo>
                    <a:lnTo>
                      <a:pt x="338" y="625"/>
                    </a:lnTo>
                    <a:lnTo>
                      <a:pt x="333" y="625"/>
                    </a:lnTo>
                    <a:lnTo>
                      <a:pt x="333" y="620"/>
                    </a:lnTo>
                    <a:lnTo>
                      <a:pt x="307" y="620"/>
                    </a:lnTo>
                    <a:lnTo>
                      <a:pt x="297" y="620"/>
                    </a:lnTo>
                    <a:lnTo>
                      <a:pt x="297" y="610"/>
                    </a:lnTo>
                    <a:lnTo>
                      <a:pt x="292" y="610"/>
                    </a:lnTo>
                    <a:lnTo>
                      <a:pt x="287" y="610"/>
                    </a:lnTo>
                    <a:lnTo>
                      <a:pt x="287" y="615"/>
                    </a:lnTo>
                    <a:lnTo>
                      <a:pt x="287" y="620"/>
                    </a:lnTo>
                    <a:lnTo>
                      <a:pt x="282" y="615"/>
                    </a:lnTo>
                    <a:lnTo>
                      <a:pt x="282" y="620"/>
                    </a:lnTo>
                    <a:lnTo>
                      <a:pt x="287" y="625"/>
                    </a:lnTo>
                    <a:lnTo>
                      <a:pt x="282" y="630"/>
                    </a:lnTo>
                    <a:lnTo>
                      <a:pt x="277" y="630"/>
                    </a:lnTo>
                    <a:lnTo>
                      <a:pt x="277" y="625"/>
                    </a:lnTo>
                    <a:lnTo>
                      <a:pt x="277" y="615"/>
                    </a:lnTo>
                    <a:lnTo>
                      <a:pt x="272" y="615"/>
                    </a:lnTo>
                    <a:lnTo>
                      <a:pt x="267" y="625"/>
                    </a:lnTo>
                    <a:lnTo>
                      <a:pt x="262" y="620"/>
                    </a:lnTo>
                    <a:lnTo>
                      <a:pt x="257" y="625"/>
                    </a:lnTo>
                    <a:lnTo>
                      <a:pt x="262" y="630"/>
                    </a:lnTo>
                    <a:lnTo>
                      <a:pt x="262" y="635"/>
                    </a:lnTo>
                    <a:lnTo>
                      <a:pt x="262" y="640"/>
                    </a:lnTo>
                    <a:lnTo>
                      <a:pt x="257" y="650"/>
                    </a:lnTo>
                    <a:lnTo>
                      <a:pt x="257" y="655"/>
                    </a:lnTo>
                    <a:lnTo>
                      <a:pt x="252" y="655"/>
                    </a:lnTo>
                    <a:lnTo>
                      <a:pt x="257" y="660"/>
                    </a:lnTo>
                    <a:lnTo>
                      <a:pt x="252" y="660"/>
                    </a:lnTo>
                    <a:lnTo>
                      <a:pt x="247" y="665"/>
                    </a:lnTo>
                    <a:lnTo>
                      <a:pt x="242" y="665"/>
                    </a:lnTo>
                    <a:lnTo>
                      <a:pt x="237" y="665"/>
                    </a:lnTo>
                    <a:lnTo>
                      <a:pt x="227" y="660"/>
                    </a:lnTo>
                    <a:lnTo>
                      <a:pt x="232" y="660"/>
                    </a:lnTo>
                    <a:lnTo>
                      <a:pt x="227" y="655"/>
                    </a:lnTo>
                    <a:lnTo>
                      <a:pt x="222" y="655"/>
                    </a:lnTo>
                    <a:close/>
                    <a:moveTo>
                      <a:pt x="302" y="282"/>
                    </a:moveTo>
                    <a:lnTo>
                      <a:pt x="297" y="282"/>
                    </a:lnTo>
                    <a:lnTo>
                      <a:pt x="297" y="277"/>
                    </a:lnTo>
                    <a:lnTo>
                      <a:pt x="302" y="277"/>
                    </a:lnTo>
                    <a:lnTo>
                      <a:pt x="297" y="272"/>
                    </a:lnTo>
                    <a:lnTo>
                      <a:pt x="302" y="272"/>
                    </a:lnTo>
                    <a:lnTo>
                      <a:pt x="307" y="267"/>
                    </a:lnTo>
                    <a:lnTo>
                      <a:pt x="307" y="262"/>
                    </a:lnTo>
                    <a:lnTo>
                      <a:pt x="302" y="257"/>
                    </a:lnTo>
                    <a:lnTo>
                      <a:pt x="297" y="257"/>
                    </a:lnTo>
                    <a:lnTo>
                      <a:pt x="292" y="257"/>
                    </a:lnTo>
                    <a:lnTo>
                      <a:pt x="287" y="257"/>
                    </a:lnTo>
                    <a:lnTo>
                      <a:pt x="287" y="262"/>
                    </a:lnTo>
                    <a:lnTo>
                      <a:pt x="287" y="267"/>
                    </a:lnTo>
                    <a:lnTo>
                      <a:pt x="282" y="262"/>
                    </a:lnTo>
                    <a:lnTo>
                      <a:pt x="282" y="267"/>
                    </a:lnTo>
                    <a:lnTo>
                      <a:pt x="282" y="272"/>
                    </a:lnTo>
                    <a:lnTo>
                      <a:pt x="267" y="277"/>
                    </a:lnTo>
                    <a:lnTo>
                      <a:pt x="267" y="282"/>
                    </a:lnTo>
                    <a:lnTo>
                      <a:pt x="262" y="282"/>
                    </a:lnTo>
                    <a:lnTo>
                      <a:pt x="252" y="277"/>
                    </a:lnTo>
                    <a:lnTo>
                      <a:pt x="247" y="272"/>
                    </a:lnTo>
                    <a:lnTo>
                      <a:pt x="232" y="272"/>
                    </a:lnTo>
                    <a:lnTo>
                      <a:pt x="232" y="277"/>
                    </a:lnTo>
                    <a:lnTo>
                      <a:pt x="222" y="277"/>
                    </a:lnTo>
                    <a:lnTo>
                      <a:pt x="227" y="282"/>
                    </a:lnTo>
                    <a:lnTo>
                      <a:pt x="227" y="287"/>
                    </a:lnTo>
                    <a:lnTo>
                      <a:pt x="232" y="287"/>
                    </a:lnTo>
                    <a:lnTo>
                      <a:pt x="227" y="287"/>
                    </a:lnTo>
                    <a:lnTo>
                      <a:pt x="222" y="292"/>
                    </a:lnTo>
                    <a:lnTo>
                      <a:pt x="222" y="297"/>
                    </a:lnTo>
                    <a:lnTo>
                      <a:pt x="222" y="302"/>
                    </a:lnTo>
                    <a:lnTo>
                      <a:pt x="222" y="307"/>
                    </a:lnTo>
                    <a:lnTo>
                      <a:pt x="222" y="318"/>
                    </a:lnTo>
                    <a:lnTo>
                      <a:pt x="222" y="323"/>
                    </a:lnTo>
                    <a:lnTo>
                      <a:pt x="227" y="323"/>
                    </a:lnTo>
                    <a:lnTo>
                      <a:pt x="227" y="318"/>
                    </a:lnTo>
                    <a:lnTo>
                      <a:pt x="222" y="318"/>
                    </a:lnTo>
                    <a:lnTo>
                      <a:pt x="227" y="318"/>
                    </a:lnTo>
                    <a:lnTo>
                      <a:pt x="237" y="313"/>
                    </a:lnTo>
                    <a:lnTo>
                      <a:pt x="242" y="313"/>
                    </a:lnTo>
                    <a:lnTo>
                      <a:pt x="242" y="318"/>
                    </a:lnTo>
                    <a:lnTo>
                      <a:pt x="242" y="323"/>
                    </a:lnTo>
                    <a:lnTo>
                      <a:pt x="247" y="323"/>
                    </a:lnTo>
                    <a:lnTo>
                      <a:pt x="247" y="318"/>
                    </a:lnTo>
                    <a:lnTo>
                      <a:pt x="252" y="323"/>
                    </a:lnTo>
                    <a:lnTo>
                      <a:pt x="257" y="328"/>
                    </a:lnTo>
                    <a:lnTo>
                      <a:pt x="257" y="333"/>
                    </a:lnTo>
                    <a:lnTo>
                      <a:pt x="267" y="333"/>
                    </a:lnTo>
                    <a:lnTo>
                      <a:pt x="272" y="333"/>
                    </a:lnTo>
                    <a:lnTo>
                      <a:pt x="267" y="338"/>
                    </a:lnTo>
                    <a:lnTo>
                      <a:pt x="272" y="338"/>
                    </a:lnTo>
                    <a:lnTo>
                      <a:pt x="277" y="338"/>
                    </a:lnTo>
                    <a:lnTo>
                      <a:pt x="277" y="343"/>
                    </a:lnTo>
                    <a:lnTo>
                      <a:pt x="282" y="343"/>
                    </a:lnTo>
                    <a:lnTo>
                      <a:pt x="282" y="353"/>
                    </a:lnTo>
                    <a:lnTo>
                      <a:pt x="287" y="353"/>
                    </a:lnTo>
                    <a:lnTo>
                      <a:pt x="292" y="358"/>
                    </a:lnTo>
                    <a:lnTo>
                      <a:pt x="292" y="363"/>
                    </a:lnTo>
                    <a:lnTo>
                      <a:pt x="302" y="358"/>
                    </a:lnTo>
                    <a:lnTo>
                      <a:pt x="297" y="353"/>
                    </a:lnTo>
                    <a:lnTo>
                      <a:pt x="297" y="348"/>
                    </a:lnTo>
                    <a:lnTo>
                      <a:pt x="302" y="343"/>
                    </a:lnTo>
                    <a:lnTo>
                      <a:pt x="302" y="338"/>
                    </a:lnTo>
                    <a:lnTo>
                      <a:pt x="297" y="338"/>
                    </a:lnTo>
                    <a:lnTo>
                      <a:pt x="297" y="333"/>
                    </a:lnTo>
                    <a:lnTo>
                      <a:pt x="292" y="328"/>
                    </a:lnTo>
                    <a:lnTo>
                      <a:pt x="287" y="323"/>
                    </a:lnTo>
                    <a:lnTo>
                      <a:pt x="292" y="323"/>
                    </a:lnTo>
                    <a:lnTo>
                      <a:pt x="297" y="323"/>
                    </a:lnTo>
                    <a:lnTo>
                      <a:pt x="302" y="323"/>
                    </a:lnTo>
                    <a:lnTo>
                      <a:pt x="307" y="318"/>
                    </a:lnTo>
                    <a:lnTo>
                      <a:pt x="302" y="318"/>
                    </a:lnTo>
                    <a:lnTo>
                      <a:pt x="307" y="313"/>
                    </a:lnTo>
                    <a:lnTo>
                      <a:pt x="307" y="318"/>
                    </a:lnTo>
                    <a:lnTo>
                      <a:pt x="313" y="313"/>
                    </a:lnTo>
                    <a:lnTo>
                      <a:pt x="313" y="307"/>
                    </a:lnTo>
                    <a:lnTo>
                      <a:pt x="313" y="302"/>
                    </a:lnTo>
                    <a:lnTo>
                      <a:pt x="318" y="302"/>
                    </a:lnTo>
                    <a:lnTo>
                      <a:pt x="313" y="297"/>
                    </a:lnTo>
                    <a:lnTo>
                      <a:pt x="307" y="292"/>
                    </a:lnTo>
                    <a:lnTo>
                      <a:pt x="302" y="292"/>
                    </a:lnTo>
                    <a:lnTo>
                      <a:pt x="302" y="287"/>
                    </a:lnTo>
                    <a:lnTo>
                      <a:pt x="302" y="282"/>
                    </a:lnTo>
                    <a:close/>
                    <a:moveTo>
                      <a:pt x="212" y="20"/>
                    </a:moveTo>
                    <a:lnTo>
                      <a:pt x="207" y="15"/>
                    </a:lnTo>
                    <a:lnTo>
                      <a:pt x="212" y="10"/>
                    </a:lnTo>
                    <a:lnTo>
                      <a:pt x="232" y="0"/>
                    </a:lnTo>
                    <a:lnTo>
                      <a:pt x="237" y="0"/>
                    </a:lnTo>
                    <a:lnTo>
                      <a:pt x="242" y="0"/>
                    </a:lnTo>
                    <a:lnTo>
                      <a:pt x="242" y="5"/>
                    </a:lnTo>
                    <a:lnTo>
                      <a:pt x="237" y="10"/>
                    </a:lnTo>
                    <a:lnTo>
                      <a:pt x="232" y="10"/>
                    </a:lnTo>
                    <a:lnTo>
                      <a:pt x="227" y="15"/>
                    </a:lnTo>
                    <a:lnTo>
                      <a:pt x="222" y="20"/>
                    </a:lnTo>
                    <a:lnTo>
                      <a:pt x="217" y="20"/>
                    </a:lnTo>
                    <a:lnTo>
                      <a:pt x="212" y="20"/>
                    </a:lnTo>
                    <a:close/>
                  </a:path>
                </a:pathLst>
              </a:custGeom>
              <a:solidFill>
                <a:srgbClr val="84BA5B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474">
                <a:extLst>
                  <a:ext uri="{FF2B5EF4-FFF2-40B4-BE49-F238E27FC236}">
                    <a16:creationId xmlns:a16="http://schemas.microsoft.com/office/drawing/2014/main" id="{3ED8B306-842B-93C9-C900-3BF81DCE25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694472">
                <a:off x="3472252" y="4246519"/>
                <a:ext cx="1170977" cy="704088"/>
              </a:xfrm>
              <a:custGeom>
                <a:avLst/>
                <a:gdLst>
                  <a:gd name="T0" fmla="*/ 2147483647 w 751"/>
                  <a:gd name="T1" fmla="*/ 2147483647 h 473"/>
                  <a:gd name="T2" fmla="*/ 2147483647 w 751"/>
                  <a:gd name="T3" fmla="*/ 2147483647 h 473"/>
                  <a:gd name="T4" fmla="*/ 2147483647 w 751"/>
                  <a:gd name="T5" fmla="*/ 2147483647 h 473"/>
                  <a:gd name="T6" fmla="*/ 2147483647 w 751"/>
                  <a:gd name="T7" fmla="*/ 2147483647 h 473"/>
                  <a:gd name="T8" fmla="*/ 2147483647 w 751"/>
                  <a:gd name="T9" fmla="*/ 2147483647 h 473"/>
                  <a:gd name="T10" fmla="*/ 2147483647 w 751"/>
                  <a:gd name="T11" fmla="*/ 2147483647 h 473"/>
                  <a:gd name="T12" fmla="*/ 2147483647 w 751"/>
                  <a:gd name="T13" fmla="*/ 2147483647 h 473"/>
                  <a:gd name="T14" fmla="*/ 2147483647 w 751"/>
                  <a:gd name="T15" fmla="*/ 2147483647 h 473"/>
                  <a:gd name="T16" fmla="*/ 2147483647 w 751"/>
                  <a:gd name="T17" fmla="*/ 2147483647 h 473"/>
                  <a:gd name="T18" fmla="*/ 2147483647 w 751"/>
                  <a:gd name="T19" fmla="*/ 2147483647 h 473"/>
                  <a:gd name="T20" fmla="*/ 2147483647 w 751"/>
                  <a:gd name="T21" fmla="*/ 2147483647 h 473"/>
                  <a:gd name="T22" fmla="*/ 2147483647 w 751"/>
                  <a:gd name="T23" fmla="*/ 2147483647 h 473"/>
                  <a:gd name="T24" fmla="*/ 2147483647 w 751"/>
                  <a:gd name="T25" fmla="*/ 2147483647 h 473"/>
                  <a:gd name="T26" fmla="*/ 2147483647 w 751"/>
                  <a:gd name="T27" fmla="*/ 2147483647 h 473"/>
                  <a:gd name="T28" fmla="*/ 2147483647 w 751"/>
                  <a:gd name="T29" fmla="*/ 2147483647 h 473"/>
                  <a:gd name="T30" fmla="*/ 2147483647 w 751"/>
                  <a:gd name="T31" fmla="*/ 2147483647 h 473"/>
                  <a:gd name="T32" fmla="*/ 2147483647 w 751"/>
                  <a:gd name="T33" fmla="*/ 2147483647 h 473"/>
                  <a:gd name="T34" fmla="*/ 2147483647 w 751"/>
                  <a:gd name="T35" fmla="*/ 2147483647 h 473"/>
                  <a:gd name="T36" fmla="*/ 2147483647 w 751"/>
                  <a:gd name="T37" fmla="*/ 2147483647 h 473"/>
                  <a:gd name="T38" fmla="*/ 2147483647 w 751"/>
                  <a:gd name="T39" fmla="*/ 2147483647 h 473"/>
                  <a:gd name="T40" fmla="*/ 2147483647 w 751"/>
                  <a:gd name="T41" fmla="*/ 2147483647 h 473"/>
                  <a:gd name="T42" fmla="*/ 2147483647 w 751"/>
                  <a:gd name="T43" fmla="*/ 2147483647 h 473"/>
                  <a:gd name="T44" fmla="*/ 2147483647 w 751"/>
                  <a:gd name="T45" fmla="*/ 2147483647 h 473"/>
                  <a:gd name="T46" fmla="*/ 2147483647 w 751"/>
                  <a:gd name="T47" fmla="*/ 2147483647 h 473"/>
                  <a:gd name="T48" fmla="*/ 2147483647 w 751"/>
                  <a:gd name="T49" fmla="*/ 2147483647 h 473"/>
                  <a:gd name="T50" fmla="*/ 2147483647 w 751"/>
                  <a:gd name="T51" fmla="*/ 2147483647 h 473"/>
                  <a:gd name="T52" fmla="*/ 2147483647 w 751"/>
                  <a:gd name="T53" fmla="*/ 2147483647 h 473"/>
                  <a:gd name="T54" fmla="*/ 2147483647 w 751"/>
                  <a:gd name="T55" fmla="*/ 2147483647 h 473"/>
                  <a:gd name="T56" fmla="*/ 2147483647 w 751"/>
                  <a:gd name="T57" fmla="*/ 2147483647 h 473"/>
                  <a:gd name="T58" fmla="*/ 2147483647 w 751"/>
                  <a:gd name="T59" fmla="*/ 2147483647 h 473"/>
                  <a:gd name="T60" fmla="*/ 2147483647 w 751"/>
                  <a:gd name="T61" fmla="*/ 2147483647 h 473"/>
                  <a:gd name="T62" fmla="*/ 2147483647 w 751"/>
                  <a:gd name="T63" fmla="*/ 2147483647 h 473"/>
                  <a:gd name="T64" fmla="*/ 2147483647 w 751"/>
                  <a:gd name="T65" fmla="*/ 2147483647 h 473"/>
                  <a:gd name="T66" fmla="*/ 2147483647 w 751"/>
                  <a:gd name="T67" fmla="*/ 2147483647 h 473"/>
                  <a:gd name="T68" fmla="*/ 2147483647 w 751"/>
                  <a:gd name="T69" fmla="*/ 2147483647 h 473"/>
                  <a:gd name="T70" fmla="*/ 2147483647 w 751"/>
                  <a:gd name="T71" fmla="*/ 2147483647 h 473"/>
                  <a:gd name="T72" fmla="*/ 2147483647 w 751"/>
                  <a:gd name="T73" fmla="*/ 2147483647 h 473"/>
                  <a:gd name="T74" fmla="*/ 2147483647 w 751"/>
                  <a:gd name="T75" fmla="*/ 2147483647 h 473"/>
                  <a:gd name="T76" fmla="*/ 2147483647 w 751"/>
                  <a:gd name="T77" fmla="*/ 2147483647 h 473"/>
                  <a:gd name="T78" fmla="*/ 2147483647 w 751"/>
                  <a:gd name="T79" fmla="*/ 2147483647 h 473"/>
                  <a:gd name="T80" fmla="*/ 2147483647 w 751"/>
                  <a:gd name="T81" fmla="*/ 2147483647 h 473"/>
                  <a:gd name="T82" fmla="*/ 2147483647 w 751"/>
                  <a:gd name="T83" fmla="*/ 2147483647 h 473"/>
                  <a:gd name="T84" fmla="*/ 2147483647 w 751"/>
                  <a:gd name="T85" fmla="*/ 2147483647 h 473"/>
                  <a:gd name="T86" fmla="*/ 2147483647 w 751"/>
                  <a:gd name="T87" fmla="*/ 2147483647 h 473"/>
                  <a:gd name="T88" fmla="*/ 2147483647 w 751"/>
                  <a:gd name="T89" fmla="*/ 2147483647 h 473"/>
                  <a:gd name="T90" fmla="*/ 2147483647 w 751"/>
                  <a:gd name="T91" fmla="*/ 2147483647 h 473"/>
                  <a:gd name="T92" fmla="*/ 2147483647 w 751"/>
                  <a:gd name="T93" fmla="*/ 2147483647 h 473"/>
                  <a:gd name="T94" fmla="*/ 2147483647 w 751"/>
                  <a:gd name="T95" fmla="*/ 2147483647 h 473"/>
                  <a:gd name="T96" fmla="*/ 2147483647 w 751"/>
                  <a:gd name="T97" fmla="*/ 2147483647 h 473"/>
                  <a:gd name="T98" fmla="*/ 2147483647 w 751"/>
                  <a:gd name="T99" fmla="*/ 2147483647 h 473"/>
                  <a:gd name="T100" fmla="*/ 2147483647 w 751"/>
                  <a:gd name="T101" fmla="*/ 2147483647 h 473"/>
                  <a:gd name="T102" fmla="*/ 2147483647 w 751"/>
                  <a:gd name="T103" fmla="*/ 2147483647 h 473"/>
                  <a:gd name="T104" fmla="*/ 2147483647 w 751"/>
                  <a:gd name="T105" fmla="*/ 2147483647 h 473"/>
                  <a:gd name="T106" fmla="*/ 2147483647 w 751"/>
                  <a:gd name="T107" fmla="*/ 2147483647 h 473"/>
                  <a:gd name="T108" fmla="*/ 2147483647 w 751"/>
                  <a:gd name="T109" fmla="*/ 2147483647 h 473"/>
                  <a:gd name="T110" fmla="*/ 2147483647 w 751"/>
                  <a:gd name="T111" fmla="*/ 2147483647 h 473"/>
                  <a:gd name="T112" fmla="*/ 2147483647 w 751"/>
                  <a:gd name="T113" fmla="*/ 2147483647 h 473"/>
                  <a:gd name="T114" fmla="*/ 2147483647 w 751"/>
                  <a:gd name="T115" fmla="*/ 2147483647 h 473"/>
                  <a:gd name="T116" fmla="*/ 2147483647 w 751"/>
                  <a:gd name="T117" fmla="*/ 2147483647 h 473"/>
                  <a:gd name="T118" fmla="*/ 2147483647 w 751"/>
                  <a:gd name="T119" fmla="*/ 2147483647 h 47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51"/>
                  <a:gd name="T181" fmla="*/ 0 h 473"/>
                  <a:gd name="T182" fmla="*/ 751 w 751"/>
                  <a:gd name="T183" fmla="*/ 473 h 47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51" h="473">
                    <a:moveTo>
                      <a:pt x="318" y="473"/>
                    </a:moveTo>
                    <a:lnTo>
                      <a:pt x="323" y="468"/>
                    </a:lnTo>
                    <a:lnTo>
                      <a:pt x="323" y="463"/>
                    </a:lnTo>
                    <a:lnTo>
                      <a:pt x="333" y="458"/>
                    </a:lnTo>
                    <a:lnTo>
                      <a:pt x="338" y="453"/>
                    </a:lnTo>
                    <a:lnTo>
                      <a:pt x="348" y="453"/>
                    </a:lnTo>
                    <a:lnTo>
                      <a:pt x="338" y="443"/>
                    </a:lnTo>
                    <a:lnTo>
                      <a:pt x="328" y="438"/>
                    </a:lnTo>
                    <a:lnTo>
                      <a:pt x="333" y="433"/>
                    </a:lnTo>
                    <a:lnTo>
                      <a:pt x="328" y="433"/>
                    </a:lnTo>
                    <a:lnTo>
                      <a:pt x="323" y="433"/>
                    </a:lnTo>
                    <a:lnTo>
                      <a:pt x="323" y="428"/>
                    </a:lnTo>
                    <a:lnTo>
                      <a:pt x="318" y="418"/>
                    </a:lnTo>
                    <a:lnTo>
                      <a:pt x="313" y="418"/>
                    </a:lnTo>
                    <a:lnTo>
                      <a:pt x="308" y="413"/>
                    </a:lnTo>
                    <a:lnTo>
                      <a:pt x="302" y="418"/>
                    </a:lnTo>
                    <a:lnTo>
                      <a:pt x="297" y="418"/>
                    </a:lnTo>
                    <a:lnTo>
                      <a:pt x="292" y="413"/>
                    </a:lnTo>
                    <a:lnTo>
                      <a:pt x="292" y="408"/>
                    </a:lnTo>
                    <a:lnTo>
                      <a:pt x="297" y="403"/>
                    </a:lnTo>
                    <a:lnTo>
                      <a:pt x="297" y="398"/>
                    </a:lnTo>
                    <a:lnTo>
                      <a:pt x="297" y="393"/>
                    </a:lnTo>
                    <a:lnTo>
                      <a:pt x="297" y="388"/>
                    </a:lnTo>
                    <a:lnTo>
                      <a:pt x="292" y="388"/>
                    </a:lnTo>
                    <a:lnTo>
                      <a:pt x="287" y="388"/>
                    </a:lnTo>
                    <a:lnTo>
                      <a:pt x="282" y="393"/>
                    </a:lnTo>
                    <a:lnTo>
                      <a:pt x="282" y="388"/>
                    </a:lnTo>
                    <a:lnTo>
                      <a:pt x="277" y="388"/>
                    </a:lnTo>
                    <a:lnTo>
                      <a:pt x="277" y="393"/>
                    </a:lnTo>
                    <a:lnTo>
                      <a:pt x="272" y="393"/>
                    </a:lnTo>
                    <a:lnTo>
                      <a:pt x="267" y="398"/>
                    </a:lnTo>
                    <a:lnTo>
                      <a:pt x="262" y="388"/>
                    </a:lnTo>
                    <a:lnTo>
                      <a:pt x="272" y="377"/>
                    </a:lnTo>
                    <a:lnTo>
                      <a:pt x="272" y="372"/>
                    </a:lnTo>
                    <a:lnTo>
                      <a:pt x="262" y="372"/>
                    </a:lnTo>
                    <a:lnTo>
                      <a:pt x="257" y="372"/>
                    </a:lnTo>
                    <a:lnTo>
                      <a:pt x="252" y="372"/>
                    </a:lnTo>
                    <a:lnTo>
                      <a:pt x="247" y="367"/>
                    </a:lnTo>
                    <a:lnTo>
                      <a:pt x="252" y="362"/>
                    </a:lnTo>
                    <a:lnTo>
                      <a:pt x="252" y="357"/>
                    </a:lnTo>
                    <a:lnTo>
                      <a:pt x="247" y="347"/>
                    </a:lnTo>
                    <a:lnTo>
                      <a:pt x="247" y="342"/>
                    </a:lnTo>
                    <a:lnTo>
                      <a:pt x="247" y="337"/>
                    </a:lnTo>
                    <a:lnTo>
                      <a:pt x="242" y="332"/>
                    </a:lnTo>
                    <a:lnTo>
                      <a:pt x="237" y="332"/>
                    </a:lnTo>
                    <a:lnTo>
                      <a:pt x="237" y="327"/>
                    </a:lnTo>
                    <a:lnTo>
                      <a:pt x="242" y="327"/>
                    </a:lnTo>
                    <a:lnTo>
                      <a:pt x="237" y="322"/>
                    </a:lnTo>
                    <a:lnTo>
                      <a:pt x="232" y="312"/>
                    </a:lnTo>
                    <a:lnTo>
                      <a:pt x="222" y="302"/>
                    </a:lnTo>
                    <a:lnTo>
                      <a:pt x="217" y="302"/>
                    </a:lnTo>
                    <a:lnTo>
                      <a:pt x="212" y="292"/>
                    </a:lnTo>
                    <a:lnTo>
                      <a:pt x="207" y="292"/>
                    </a:lnTo>
                    <a:lnTo>
                      <a:pt x="202" y="292"/>
                    </a:lnTo>
                    <a:lnTo>
                      <a:pt x="202" y="287"/>
                    </a:lnTo>
                    <a:lnTo>
                      <a:pt x="197" y="287"/>
                    </a:lnTo>
                    <a:lnTo>
                      <a:pt x="192" y="287"/>
                    </a:lnTo>
                    <a:lnTo>
                      <a:pt x="187" y="287"/>
                    </a:lnTo>
                    <a:lnTo>
                      <a:pt x="182" y="287"/>
                    </a:lnTo>
                    <a:lnTo>
                      <a:pt x="182" y="292"/>
                    </a:lnTo>
                    <a:lnTo>
                      <a:pt x="176" y="297"/>
                    </a:lnTo>
                    <a:lnTo>
                      <a:pt x="171" y="297"/>
                    </a:lnTo>
                    <a:lnTo>
                      <a:pt x="166" y="297"/>
                    </a:lnTo>
                    <a:lnTo>
                      <a:pt x="166" y="302"/>
                    </a:lnTo>
                    <a:lnTo>
                      <a:pt x="161" y="307"/>
                    </a:lnTo>
                    <a:lnTo>
                      <a:pt x="161" y="302"/>
                    </a:lnTo>
                    <a:lnTo>
                      <a:pt x="156" y="302"/>
                    </a:lnTo>
                    <a:lnTo>
                      <a:pt x="151" y="302"/>
                    </a:lnTo>
                    <a:lnTo>
                      <a:pt x="146" y="302"/>
                    </a:lnTo>
                    <a:lnTo>
                      <a:pt x="141" y="302"/>
                    </a:lnTo>
                    <a:lnTo>
                      <a:pt x="141" y="297"/>
                    </a:lnTo>
                    <a:lnTo>
                      <a:pt x="136" y="297"/>
                    </a:lnTo>
                    <a:lnTo>
                      <a:pt x="131" y="297"/>
                    </a:lnTo>
                    <a:lnTo>
                      <a:pt x="126" y="292"/>
                    </a:lnTo>
                    <a:lnTo>
                      <a:pt x="121" y="287"/>
                    </a:lnTo>
                    <a:lnTo>
                      <a:pt x="116" y="287"/>
                    </a:lnTo>
                    <a:lnTo>
                      <a:pt x="106" y="282"/>
                    </a:lnTo>
                    <a:lnTo>
                      <a:pt x="101" y="277"/>
                    </a:lnTo>
                    <a:lnTo>
                      <a:pt x="96" y="277"/>
                    </a:lnTo>
                    <a:lnTo>
                      <a:pt x="101" y="277"/>
                    </a:lnTo>
                    <a:lnTo>
                      <a:pt x="106" y="277"/>
                    </a:lnTo>
                    <a:lnTo>
                      <a:pt x="106" y="272"/>
                    </a:lnTo>
                    <a:lnTo>
                      <a:pt x="101" y="272"/>
                    </a:lnTo>
                    <a:lnTo>
                      <a:pt x="106" y="267"/>
                    </a:lnTo>
                    <a:lnTo>
                      <a:pt x="111" y="267"/>
                    </a:lnTo>
                    <a:lnTo>
                      <a:pt x="106" y="267"/>
                    </a:lnTo>
                    <a:lnTo>
                      <a:pt x="106" y="262"/>
                    </a:lnTo>
                    <a:lnTo>
                      <a:pt x="111" y="256"/>
                    </a:lnTo>
                    <a:lnTo>
                      <a:pt x="111" y="262"/>
                    </a:lnTo>
                    <a:lnTo>
                      <a:pt x="111" y="256"/>
                    </a:lnTo>
                    <a:lnTo>
                      <a:pt x="116" y="256"/>
                    </a:lnTo>
                    <a:lnTo>
                      <a:pt x="111" y="256"/>
                    </a:lnTo>
                    <a:lnTo>
                      <a:pt x="116" y="256"/>
                    </a:lnTo>
                    <a:lnTo>
                      <a:pt x="116" y="251"/>
                    </a:lnTo>
                    <a:lnTo>
                      <a:pt x="121" y="246"/>
                    </a:lnTo>
                    <a:lnTo>
                      <a:pt x="121" y="241"/>
                    </a:lnTo>
                    <a:lnTo>
                      <a:pt x="126" y="236"/>
                    </a:lnTo>
                    <a:lnTo>
                      <a:pt x="126" y="231"/>
                    </a:lnTo>
                    <a:lnTo>
                      <a:pt x="131" y="231"/>
                    </a:lnTo>
                    <a:lnTo>
                      <a:pt x="131" y="226"/>
                    </a:lnTo>
                    <a:lnTo>
                      <a:pt x="136" y="221"/>
                    </a:lnTo>
                    <a:lnTo>
                      <a:pt x="131" y="221"/>
                    </a:lnTo>
                    <a:lnTo>
                      <a:pt x="131" y="216"/>
                    </a:lnTo>
                    <a:lnTo>
                      <a:pt x="131" y="221"/>
                    </a:lnTo>
                    <a:lnTo>
                      <a:pt x="126" y="226"/>
                    </a:lnTo>
                    <a:lnTo>
                      <a:pt x="126" y="231"/>
                    </a:lnTo>
                    <a:lnTo>
                      <a:pt x="121" y="231"/>
                    </a:lnTo>
                    <a:lnTo>
                      <a:pt x="121" y="236"/>
                    </a:lnTo>
                    <a:lnTo>
                      <a:pt x="121" y="241"/>
                    </a:lnTo>
                    <a:lnTo>
                      <a:pt x="116" y="241"/>
                    </a:lnTo>
                    <a:lnTo>
                      <a:pt x="116" y="246"/>
                    </a:lnTo>
                    <a:lnTo>
                      <a:pt x="116" y="251"/>
                    </a:lnTo>
                    <a:lnTo>
                      <a:pt x="111" y="251"/>
                    </a:lnTo>
                    <a:lnTo>
                      <a:pt x="111" y="256"/>
                    </a:lnTo>
                    <a:lnTo>
                      <a:pt x="106" y="256"/>
                    </a:lnTo>
                    <a:lnTo>
                      <a:pt x="106" y="262"/>
                    </a:lnTo>
                    <a:lnTo>
                      <a:pt x="101" y="262"/>
                    </a:lnTo>
                    <a:lnTo>
                      <a:pt x="96" y="267"/>
                    </a:lnTo>
                    <a:lnTo>
                      <a:pt x="96" y="272"/>
                    </a:lnTo>
                    <a:lnTo>
                      <a:pt x="96" y="267"/>
                    </a:lnTo>
                    <a:lnTo>
                      <a:pt x="91" y="272"/>
                    </a:lnTo>
                    <a:lnTo>
                      <a:pt x="86" y="272"/>
                    </a:lnTo>
                    <a:lnTo>
                      <a:pt x="91" y="272"/>
                    </a:lnTo>
                    <a:lnTo>
                      <a:pt x="96" y="277"/>
                    </a:lnTo>
                    <a:lnTo>
                      <a:pt x="91" y="277"/>
                    </a:lnTo>
                    <a:lnTo>
                      <a:pt x="86" y="272"/>
                    </a:lnTo>
                    <a:lnTo>
                      <a:pt x="81" y="272"/>
                    </a:lnTo>
                    <a:lnTo>
                      <a:pt x="76" y="272"/>
                    </a:lnTo>
                    <a:lnTo>
                      <a:pt x="71" y="272"/>
                    </a:lnTo>
                    <a:lnTo>
                      <a:pt x="71" y="277"/>
                    </a:lnTo>
                    <a:lnTo>
                      <a:pt x="71" y="272"/>
                    </a:lnTo>
                    <a:lnTo>
                      <a:pt x="71" y="277"/>
                    </a:lnTo>
                    <a:lnTo>
                      <a:pt x="66" y="277"/>
                    </a:lnTo>
                    <a:lnTo>
                      <a:pt x="61" y="277"/>
                    </a:lnTo>
                    <a:lnTo>
                      <a:pt x="56" y="277"/>
                    </a:lnTo>
                    <a:lnTo>
                      <a:pt x="50" y="282"/>
                    </a:lnTo>
                    <a:lnTo>
                      <a:pt x="50" y="287"/>
                    </a:lnTo>
                    <a:lnTo>
                      <a:pt x="45" y="287"/>
                    </a:lnTo>
                    <a:lnTo>
                      <a:pt x="45" y="292"/>
                    </a:lnTo>
                    <a:lnTo>
                      <a:pt x="40" y="292"/>
                    </a:lnTo>
                    <a:lnTo>
                      <a:pt x="40" y="297"/>
                    </a:lnTo>
                    <a:lnTo>
                      <a:pt x="35" y="297"/>
                    </a:lnTo>
                    <a:lnTo>
                      <a:pt x="35" y="302"/>
                    </a:lnTo>
                    <a:lnTo>
                      <a:pt x="35" y="297"/>
                    </a:lnTo>
                    <a:lnTo>
                      <a:pt x="30" y="302"/>
                    </a:lnTo>
                    <a:lnTo>
                      <a:pt x="30" y="297"/>
                    </a:lnTo>
                    <a:lnTo>
                      <a:pt x="30" y="302"/>
                    </a:lnTo>
                    <a:lnTo>
                      <a:pt x="25" y="297"/>
                    </a:lnTo>
                    <a:lnTo>
                      <a:pt x="25" y="302"/>
                    </a:lnTo>
                    <a:lnTo>
                      <a:pt x="20" y="297"/>
                    </a:lnTo>
                    <a:lnTo>
                      <a:pt x="15" y="302"/>
                    </a:lnTo>
                    <a:lnTo>
                      <a:pt x="10" y="302"/>
                    </a:lnTo>
                    <a:lnTo>
                      <a:pt x="5" y="302"/>
                    </a:lnTo>
                    <a:lnTo>
                      <a:pt x="10" y="297"/>
                    </a:lnTo>
                    <a:lnTo>
                      <a:pt x="10" y="292"/>
                    </a:lnTo>
                    <a:lnTo>
                      <a:pt x="5" y="292"/>
                    </a:lnTo>
                    <a:lnTo>
                      <a:pt x="0" y="292"/>
                    </a:lnTo>
                    <a:lnTo>
                      <a:pt x="0" y="287"/>
                    </a:lnTo>
                    <a:lnTo>
                      <a:pt x="0" y="282"/>
                    </a:lnTo>
                    <a:lnTo>
                      <a:pt x="5" y="277"/>
                    </a:lnTo>
                    <a:lnTo>
                      <a:pt x="5" y="272"/>
                    </a:lnTo>
                    <a:lnTo>
                      <a:pt x="5" y="267"/>
                    </a:lnTo>
                    <a:lnTo>
                      <a:pt x="10" y="262"/>
                    </a:lnTo>
                    <a:lnTo>
                      <a:pt x="15" y="262"/>
                    </a:lnTo>
                    <a:lnTo>
                      <a:pt x="15" y="256"/>
                    </a:lnTo>
                    <a:lnTo>
                      <a:pt x="20" y="256"/>
                    </a:lnTo>
                    <a:lnTo>
                      <a:pt x="20" y="251"/>
                    </a:lnTo>
                    <a:lnTo>
                      <a:pt x="25" y="246"/>
                    </a:lnTo>
                    <a:lnTo>
                      <a:pt x="25" y="241"/>
                    </a:lnTo>
                    <a:lnTo>
                      <a:pt x="30" y="241"/>
                    </a:lnTo>
                    <a:lnTo>
                      <a:pt x="35" y="236"/>
                    </a:lnTo>
                    <a:lnTo>
                      <a:pt x="40" y="231"/>
                    </a:lnTo>
                    <a:lnTo>
                      <a:pt x="40" y="226"/>
                    </a:lnTo>
                    <a:lnTo>
                      <a:pt x="45" y="231"/>
                    </a:lnTo>
                    <a:lnTo>
                      <a:pt x="45" y="226"/>
                    </a:lnTo>
                    <a:lnTo>
                      <a:pt x="50" y="226"/>
                    </a:lnTo>
                    <a:lnTo>
                      <a:pt x="50" y="221"/>
                    </a:lnTo>
                    <a:lnTo>
                      <a:pt x="45" y="221"/>
                    </a:lnTo>
                    <a:lnTo>
                      <a:pt x="50" y="216"/>
                    </a:lnTo>
                    <a:lnTo>
                      <a:pt x="50" y="211"/>
                    </a:lnTo>
                    <a:lnTo>
                      <a:pt x="50" y="206"/>
                    </a:lnTo>
                    <a:lnTo>
                      <a:pt x="56" y="201"/>
                    </a:lnTo>
                    <a:lnTo>
                      <a:pt x="61" y="196"/>
                    </a:lnTo>
                    <a:lnTo>
                      <a:pt x="61" y="191"/>
                    </a:lnTo>
                    <a:lnTo>
                      <a:pt x="66" y="191"/>
                    </a:lnTo>
                    <a:lnTo>
                      <a:pt x="71" y="186"/>
                    </a:lnTo>
                    <a:lnTo>
                      <a:pt x="76" y="181"/>
                    </a:lnTo>
                    <a:lnTo>
                      <a:pt x="76" y="176"/>
                    </a:lnTo>
                    <a:lnTo>
                      <a:pt x="81" y="176"/>
                    </a:lnTo>
                    <a:lnTo>
                      <a:pt x="81" y="171"/>
                    </a:lnTo>
                    <a:lnTo>
                      <a:pt x="86" y="171"/>
                    </a:lnTo>
                    <a:lnTo>
                      <a:pt x="91" y="166"/>
                    </a:lnTo>
                    <a:lnTo>
                      <a:pt x="91" y="161"/>
                    </a:lnTo>
                    <a:lnTo>
                      <a:pt x="91" y="151"/>
                    </a:lnTo>
                    <a:lnTo>
                      <a:pt x="91" y="146"/>
                    </a:lnTo>
                    <a:lnTo>
                      <a:pt x="91" y="141"/>
                    </a:lnTo>
                    <a:lnTo>
                      <a:pt x="91" y="146"/>
                    </a:lnTo>
                    <a:lnTo>
                      <a:pt x="96" y="151"/>
                    </a:lnTo>
                    <a:lnTo>
                      <a:pt x="101" y="151"/>
                    </a:lnTo>
                    <a:lnTo>
                      <a:pt x="106" y="151"/>
                    </a:lnTo>
                    <a:lnTo>
                      <a:pt x="111" y="146"/>
                    </a:lnTo>
                    <a:lnTo>
                      <a:pt x="116" y="146"/>
                    </a:lnTo>
                    <a:lnTo>
                      <a:pt x="116" y="141"/>
                    </a:lnTo>
                    <a:lnTo>
                      <a:pt x="121" y="141"/>
                    </a:lnTo>
                    <a:lnTo>
                      <a:pt x="126" y="136"/>
                    </a:lnTo>
                    <a:lnTo>
                      <a:pt x="126" y="131"/>
                    </a:lnTo>
                    <a:lnTo>
                      <a:pt x="131" y="125"/>
                    </a:lnTo>
                    <a:lnTo>
                      <a:pt x="131" y="120"/>
                    </a:lnTo>
                    <a:lnTo>
                      <a:pt x="136" y="115"/>
                    </a:lnTo>
                    <a:lnTo>
                      <a:pt x="136" y="120"/>
                    </a:lnTo>
                    <a:lnTo>
                      <a:pt x="131" y="120"/>
                    </a:lnTo>
                    <a:lnTo>
                      <a:pt x="131" y="125"/>
                    </a:lnTo>
                    <a:lnTo>
                      <a:pt x="131" y="120"/>
                    </a:lnTo>
                    <a:lnTo>
                      <a:pt x="136" y="120"/>
                    </a:lnTo>
                    <a:lnTo>
                      <a:pt x="136" y="115"/>
                    </a:lnTo>
                    <a:lnTo>
                      <a:pt x="141" y="115"/>
                    </a:lnTo>
                    <a:lnTo>
                      <a:pt x="141" y="110"/>
                    </a:lnTo>
                    <a:lnTo>
                      <a:pt x="146" y="110"/>
                    </a:lnTo>
                    <a:lnTo>
                      <a:pt x="151" y="110"/>
                    </a:lnTo>
                    <a:lnTo>
                      <a:pt x="156" y="110"/>
                    </a:lnTo>
                    <a:lnTo>
                      <a:pt x="156" y="105"/>
                    </a:lnTo>
                    <a:lnTo>
                      <a:pt x="156" y="100"/>
                    </a:lnTo>
                    <a:lnTo>
                      <a:pt x="161" y="95"/>
                    </a:lnTo>
                    <a:lnTo>
                      <a:pt x="166" y="95"/>
                    </a:lnTo>
                    <a:lnTo>
                      <a:pt x="171" y="95"/>
                    </a:lnTo>
                    <a:lnTo>
                      <a:pt x="176" y="100"/>
                    </a:lnTo>
                    <a:lnTo>
                      <a:pt x="176" y="95"/>
                    </a:lnTo>
                    <a:lnTo>
                      <a:pt x="171" y="85"/>
                    </a:lnTo>
                    <a:lnTo>
                      <a:pt x="176" y="85"/>
                    </a:lnTo>
                    <a:lnTo>
                      <a:pt x="182" y="75"/>
                    </a:lnTo>
                    <a:lnTo>
                      <a:pt x="187" y="75"/>
                    </a:lnTo>
                    <a:lnTo>
                      <a:pt x="182" y="75"/>
                    </a:lnTo>
                    <a:lnTo>
                      <a:pt x="182" y="70"/>
                    </a:lnTo>
                    <a:lnTo>
                      <a:pt x="182" y="65"/>
                    </a:lnTo>
                    <a:lnTo>
                      <a:pt x="176" y="70"/>
                    </a:lnTo>
                    <a:lnTo>
                      <a:pt x="171" y="70"/>
                    </a:lnTo>
                    <a:lnTo>
                      <a:pt x="166" y="70"/>
                    </a:lnTo>
                    <a:lnTo>
                      <a:pt x="166" y="75"/>
                    </a:lnTo>
                    <a:lnTo>
                      <a:pt x="161" y="75"/>
                    </a:lnTo>
                    <a:lnTo>
                      <a:pt x="161" y="80"/>
                    </a:lnTo>
                    <a:lnTo>
                      <a:pt x="156" y="80"/>
                    </a:lnTo>
                    <a:lnTo>
                      <a:pt x="156" y="75"/>
                    </a:lnTo>
                    <a:lnTo>
                      <a:pt x="161" y="75"/>
                    </a:lnTo>
                    <a:lnTo>
                      <a:pt x="156" y="70"/>
                    </a:lnTo>
                    <a:lnTo>
                      <a:pt x="156" y="65"/>
                    </a:lnTo>
                    <a:lnTo>
                      <a:pt x="151" y="60"/>
                    </a:lnTo>
                    <a:lnTo>
                      <a:pt x="156" y="60"/>
                    </a:lnTo>
                    <a:lnTo>
                      <a:pt x="156" y="55"/>
                    </a:lnTo>
                    <a:lnTo>
                      <a:pt x="151" y="55"/>
                    </a:lnTo>
                    <a:lnTo>
                      <a:pt x="151" y="60"/>
                    </a:lnTo>
                    <a:lnTo>
                      <a:pt x="151" y="55"/>
                    </a:lnTo>
                    <a:lnTo>
                      <a:pt x="146" y="50"/>
                    </a:lnTo>
                    <a:lnTo>
                      <a:pt x="146" y="45"/>
                    </a:lnTo>
                    <a:lnTo>
                      <a:pt x="151" y="45"/>
                    </a:lnTo>
                    <a:lnTo>
                      <a:pt x="151" y="40"/>
                    </a:lnTo>
                    <a:lnTo>
                      <a:pt x="146" y="40"/>
                    </a:lnTo>
                    <a:lnTo>
                      <a:pt x="146" y="35"/>
                    </a:lnTo>
                    <a:lnTo>
                      <a:pt x="141" y="35"/>
                    </a:lnTo>
                    <a:lnTo>
                      <a:pt x="141" y="30"/>
                    </a:lnTo>
                    <a:lnTo>
                      <a:pt x="141" y="25"/>
                    </a:lnTo>
                    <a:lnTo>
                      <a:pt x="141" y="20"/>
                    </a:lnTo>
                    <a:lnTo>
                      <a:pt x="136" y="10"/>
                    </a:lnTo>
                    <a:lnTo>
                      <a:pt x="131" y="5"/>
                    </a:lnTo>
                    <a:lnTo>
                      <a:pt x="136" y="5"/>
                    </a:lnTo>
                    <a:lnTo>
                      <a:pt x="136" y="0"/>
                    </a:lnTo>
                    <a:lnTo>
                      <a:pt x="141" y="5"/>
                    </a:lnTo>
                    <a:lnTo>
                      <a:pt x="146" y="10"/>
                    </a:lnTo>
                    <a:lnTo>
                      <a:pt x="151" y="10"/>
                    </a:lnTo>
                    <a:lnTo>
                      <a:pt x="151" y="15"/>
                    </a:lnTo>
                    <a:lnTo>
                      <a:pt x="156" y="15"/>
                    </a:lnTo>
                    <a:lnTo>
                      <a:pt x="161" y="20"/>
                    </a:lnTo>
                    <a:lnTo>
                      <a:pt x="166" y="20"/>
                    </a:lnTo>
                    <a:lnTo>
                      <a:pt x="161" y="20"/>
                    </a:lnTo>
                    <a:lnTo>
                      <a:pt x="166" y="20"/>
                    </a:lnTo>
                    <a:lnTo>
                      <a:pt x="171" y="20"/>
                    </a:lnTo>
                    <a:lnTo>
                      <a:pt x="171" y="25"/>
                    </a:lnTo>
                    <a:lnTo>
                      <a:pt x="176" y="25"/>
                    </a:lnTo>
                    <a:lnTo>
                      <a:pt x="176" y="20"/>
                    </a:lnTo>
                    <a:lnTo>
                      <a:pt x="176" y="15"/>
                    </a:lnTo>
                    <a:lnTo>
                      <a:pt x="171" y="15"/>
                    </a:lnTo>
                    <a:lnTo>
                      <a:pt x="171" y="10"/>
                    </a:lnTo>
                    <a:lnTo>
                      <a:pt x="171" y="5"/>
                    </a:lnTo>
                    <a:lnTo>
                      <a:pt x="171" y="10"/>
                    </a:lnTo>
                    <a:lnTo>
                      <a:pt x="176" y="10"/>
                    </a:lnTo>
                    <a:lnTo>
                      <a:pt x="176" y="5"/>
                    </a:lnTo>
                    <a:lnTo>
                      <a:pt x="182" y="10"/>
                    </a:lnTo>
                    <a:lnTo>
                      <a:pt x="182" y="15"/>
                    </a:lnTo>
                    <a:lnTo>
                      <a:pt x="182" y="20"/>
                    </a:lnTo>
                    <a:lnTo>
                      <a:pt x="182" y="25"/>
                    </a:lnTo>
                    <a:lnTo>
                      <a:pt x="176" y="20"/>
                    </a:lnTo>
                    <a:lnTo>
                      <a:pt x="176" y="25"/>
                    </a:lnTo>
                    <a:lnTo>
                      <a:pt x="182" y="25"/>
                    </a:lnTo>
                    <a:lnTo>
                      <a:pt x="176" y="25"/>
                    </a:lnTo>
                    <a:lnTo>
                      <a:pt x="176" y="30"/>
                    </a:lnTo>
                    <a:lnTo>
                      <a:pt x="182" y="25"/>
                    </a:lnTo>
                    <a:lnTo>
                      <a:pt x="187" y="25"/>
                    </a:lnTo>
                    <a:lnTo>
                      <a:pt x="192" y="30"/>
                    </a:lnTo>
                    <a:lnTo>
                      <a:pt x="197" y="35"/>
                    </a:lnTo>
                    <a:lnTo>
                      <a:pt x="192" y="35"/>
                    </a:lnTo>
                    <a:lnTo>
                      <a:pt x="197" y="35"/>
                    </a:lnTo>
                    <a:lnTo>
                      <a:pt x="197" y="40"/>
                    </a:lnTo>
                    <a:lnTo>
                      <a:pt x="202" y="40"/>
                    </a:lnTo>
                    <a:lnTo>
                      <a:pt x="202" y="35"/>
                    </a:lnTo>
                    <a:lnTo>
                      <a:pt x="197" y="30"/>
                    </a:lnTo>
                    <a:lnTo>
                      <a:pt x="202" y="30"/>
                    </a:lnTo>
                    <a:lnTo>
                      <a:pt x="202" y="25"/>
                    </a:lnTo>
                    <a:lnTo>
                      <a:pt x="202" y="30"/>
                    </a:lnTo>
                    <a:lnTo>
                      <a:pt x="207" y="30"/>
                    </a:lnTo>
                    <a:lnTo>
                      <a:pt x="202" y="35"/>
                    </a:lnTo>
                    <a:lnTo>
                      <a:pt x="207" y="35"/>
                    </a:lnTo>
                    <a:lnTo>
                      <a:pt x="202" y="35"/>
                    </a:lnTo>
                    <a:lnTo>
                      <a:pt x="207" y="35"/>
                    </a:lnTo>
                    <a:lnTo>
                      <a:pt x="212" y="35"/>
                    </a:lnTo>
                    <a:lnTo>
                      <a:pt x="217" y="35"/>
                    </a:lnTo>
                    <a:lnTo>
                      <a:pt x="212" y="35"/>
                    </a:lnTo>
                    <a:lnTo>
                      <a:pt x="207" y="35"/>
                    </a:lnTo>
                    <a:lnTo>
                      <a:pt x="207" y="30"/>
                    </a:lnTo>
                    <a:lnTo>
                      <a:pt x="207" y="25"/>
                    </a:lnTo>
                    <a:lnTo>
                      <a:pt x="212" y="25"/>
                    </a:lnTo>
                    <a:lnTo>
                      <a:pt x="217" y="25"/>
                    </a:lnTo>
                    <a:lnTo>
                      <a:pt x="212" y="25"/>
                    </a:lnTo>
                    <a:lnTo>
                      <a:pt x="207" y="25"/>
                    </a:lnTo>
                    <a:lnTo>
                      <a:pt x="202" y="25"/>
                    </a:lnTo>
                    <a:lnTo>
                      <a:pt x="202" y="20"/>
                    </a:lnTo>
                    <a:lnTo>
                      <a:pt x="212" y="15"/>
                    </a:lnTo>
                    <a:lnTo>
                      <a:pt x="217" y="15"/>
                    </a:lnTo>
                    <a:lnTo>
                      <a:pt x="222" y="15"/>
                    </a:lnTo>
                    <a:lnTo>
                      <a:pt x="227" y="15"/>
                    </a:lnTo>
                    <a:lnTo>
                      <a:pt x="227" y="20"/>
                    </a:lnTo>
                    <a:lnTo>
                      <a:pt x="222" y="20"/>
                    </a:lnTo>
                    <a:lnTo>
                      <a:pt x="222" y="25"/>
                    </a:lnTo>
                    <a:lnTo>
                      <a:pt x="227" y="25"/>
                    </a:lnTo>
                    <a:lnTo>
                      <a:pt x="227" y="20"/>
                    </a:lnTo>
                    <a:lnTo>
                      <a:pt x="227" y="15"/>
                    </a:lnTo>
                    <a:lnTo>
                      <a:pt x="227" y="20"/>
                    </a:lnTo>
                    <a:lnTo>
                      <a:pt x="232" y="20"/>
                    </a:lnTo>
                    <a:lnTo>
                      <a:pt x="232" y="25"/>
                    </a:lnTo>
                    <a:lnTo>
                      <a:pt x="237" y="25"/>
                    </a:lnTo>
                    <a:lnTo>
                      <a:pt x="242" y="25"/>
                    </a:lnTo>
                    <a:lnTo>
                      <a:pt x="237" y="25"/>
                    </a:lnTo>
                    <a:lnTo>
                      <a:pt x="237" y="30"/>
                    </a:lnTo>
                    <a:lnTo>
                      <a:pt x="242" y="30"/>
                    </a:lnTo>
                    <a:lnTo>
                      <a:pt x="242" y="25"/>
                    </a:lnTo>
                    <a:lnTo>
                      <a:pt x="247" y="25"/>
                    </a:lnTo>
                    <a:lnTo>
                      <a:pt x="247" y="30"/>
                    </a:lnTo>
                    <a:lnTo>
                      <a:pt x="242" y="30"/>
                    </a:lnTo>
                    <a:lnTo>
                      <a:pt x="247" y="35"/>
                    </a:lnTo>
                    <a:lnTo>
                      <a:pt x="252" y="30"/>
                    </a:lnTo>
                    <a:lnTo>
                      <a:pt x="252" y="35"/>
                    </a:lnTo>
                    <a:lnTo>
                      <a:pt x="247" y="35"/>
                    </a:lnTo>
                    <a:lnTo>
                      <a:pt x="247" y="40"/>
                    </a:lnTo>
                    <a:lnTo>
                      <a:pt x="242" y="40"/>
                    </a:lnTo>
                    <a:lnTo>
                      <a:pt x="247" y="45"/>
                    </a:lnTo>
                    <a:lnTo>
                      <a:pt x="252" y="45"/>
                    </a:lnTo>
                    <a:lnTo>
                      <a:pt x="252" y="50"/>
                    </a:lnTo>
                    <a:lnTo>
                      <a:pt x="252" y="45"/>
                    </a:lnTo>
                    <a:lnTo>
                      <a:pt x="257" y="45"/>
                    </a:lnTo>
                    <a:lnTo>
                      <a:pt x="262" y="45"/>
                    </a:lnTo>
                    <a:lnTo>
                      <a:pt x="262" y="40"/>
                    </a:lnTo>
                    <a:lnTo>
                      <a:pt x="262" y="45"/>
                    </a:lnTo>
                    <a:lnTo>
                      <a:pt x="262" y="40"/>
                    </a:lnTo>
                    <a:lnTo>
                      <a:pt x="267" y="40"/>
                    </a:lnTo>
                    <a:lnTo>
                      <a:pt x="262" y="40"/>
                    </a:lnTo>
                    <a:lnTo>
                      <a:pt x="262" y="35"/>
                    </a:lnTo>
                    <a:lnTo>
                      <a:pt x="257" y="35"/>
                    </a:lnTo>
                    <a:lnTo>
                      <a:pt x="257" y="30"/>
                    </a:lnTo>
                    <a:lnTo>
                      <a:pt x="252" y="30"/>
                    </a:lnTo>
                    <a:lnTo>
                      <a:pt x="252" y="25"/>
                    </a:lnTo>
                    <a:lnTo>
                      <a:pt x="247" y="25"/>
                    </a:lnTo>
                    <a:lnTo>
                      <a:pt x="252" y="25"/>
                    </a:lnTo>
                    <a:lnTo>
                      <a:pt x="247" y="25"/>
                    </a:lnTo>
                    <a:lnTo>
                      <a:pt x="242" y="25"/>
                    </a:lnTo>
                    <a:lnTo>
                      <a:pt x="242" y="20"/>
                    </a:lnTo>
                    <a:lnTo>
                      <a:pt x="237" y="20"/>
                    </a:lnTo>
                    <a:lnTo>
                      <a:pt x="232" y="20"/>
                    </a:lnTo>
                    <a:lnTo>
                      <a:pt x="237" y="20"/>
                    </a:lnTo>
                    <a:lnTo>
                      <a:pt x="232" y="20"/>
                    </a:lnTo>
                    <a:lnTo>
                      <a:pt x="237" y="15"/>
                    </a:lnTo>
                    <a:lnTo>
                      <a:pt x="242" y="20"/>
                    </a:lnTo>
                    <a:lnTo>
                      <a:pt x="242" y="15"/>
                    </a:lnTo>
                    <a:lnTo>
                      <a:pt x="247" y="15"/>
                    </a:lnTo>
                    <a:lnTo>
                      <a:pt x="247" y="20"/>
                    </a:lnTo>
                    <a:lnTo>
                      <a:pt x="247" y="15"/>
                    </a:lnTo>
                    <a:lnTo>
                      <a:pt x="252" y="20"/>
                    </a:lnTo>
                    <a:lnTo>
                      <a:pt x="257" y="15"/>
                    </a:lnTo>
                    <a:lnTo>
                      <a:pt x="257" y="20"/>
                    </a:lnTo>
                    <a:lnTo>
                      <a:pt x="262" y="20"/>
                    </a:lnTo>
                    <a:lnTo>
                      <a:pt x="257" y="20"/>
                    </a:lnTo>
                    <a:lnTo>
                      <a:pt x="257" y="25"/>
                    </a:lnTo>
                    <a:lnTo>
                      <a:pt x="262" y="25"/>
                    </a:lnTo>
                    <a:lnTo>
                      <a:pt x="262" y="30"/>
                    </a:lnTo>
                    <a:lnTo>
                      <a:pt x="267" y="30"/>
                    </a:lnTo>
                    <a:lnTo>
                      <a:pt x="267" y="25"/>
                    </a:lnTo>
                    <a:lnTo>
                      <a:pt x="262" y="25"/>
                    </a:lnTo>
                    <a:lnTo>
                      <a:pt x="262" y="20"/>
                    </a:lnTo>
                    <a:lnTo>
                      <a:pt x="267" y="20"/>
                    </a:lnTo>
                    <a:lnTo>
                      <a:pt x="262" y="20"/>
                    </a:lnTo>
                    <a:lnTo>
                      <a:pt x="262" y="15"/>
                    </a:lnTo>
                    <a:lnTo>
                      <a:pt x="267" y="15"/>
                    </a:lnTo>
                    <a:lnTo>
                      <a:pt x="262" y="15"/>
                    </a:lnTo>
                    <a:lnTo>
                      <a:pt x="267" y="15"/>
                    </a:lnTo>
                    <a:lnTo>
                      <a:pt x="262" y="15"/>
                    </a:lnTo>
                    <a:lnTo>
                      <a:pt x="262" y="10"/>
                    </a:lnTo>
                    <a:lnTo>
                      <a:pt x="267" y="10"/>
                    </a:lnTo>
                    <a:lnTo>
                      <a:pt x="267" y="15"/>
                    </a:lnTo>
                    <a:lnTo>
                      <a:pt x="267" y="20"/>
                    </a:lnTo>
                    <a:lnTo>
                      <a:pt x="272" y="25"/>
                    </a:lnTo>
                    <a:lnTo>
                      <a:pt x="277" y="25"/>
                    </a:lnTo>
                    <a:lnTo>
                      <a:pt x="277" y="20"/>
                    </a:lnTo>
                    <a:lnTo>
                      <a:pt x="277" y="25"/>
                    </a:lnTo>
                    <a:lnTo>
                      <a:pt x="282" y="20"/>
                    </a:lnTo>
                    <a:lnTo>
                      <a:pt x="277" y="20"/>
                    </a:lnTo>
                    <a:lnTo>
                      <a:pt x="277" y="15"/>
                    </a:lnTo>
                    <a:lnTo>
                      <a:pt x="282" y="15"/>
                    </a:lnTo>
                    <a:lnTo>
                      <a:pt x="282" y="10"/>
                    </a:lnTo>
                    <a:lnTo>
                      <a:pt x="287" y="10"/>
                    </a:lnTo>
                    <a:lnTo>
                      <a:pt x="287" y="15"/>
                    </a:lnTo>
                    <a:lnTo>
                      <a:pt x="292" y="15"/>
                    </a:lnTo>
                    <a:lnTo>
                      <a:pt x="292" y="20"/>
                    </a:lnTo>
                    <a:lnTo>
                      <a:pt x="287" y="20"/>
                    </a:lnTo>
                    <a:lnTo>
                      <a:pt x="282" y="20"/>
                    </a:lnTo>
                    <a:lnTo>
                      <a:pt x="287" y="20"/>
                    </a:lnTo>
                    <a:lnTo>
                      <a:pt x="287" y="25"/>
                    </a:lnTo>
                    <a:lnTo>
                      <a:pt x="287" y="20"/>
                    </a:lnTo>
                    <a:lnTo>
                      <a:pt x="287" y="25"/>
                    </a:lnTo>
                    <a:lnTo>
                      <a:pt x="292" y="25"/>
                    </a:lnTo>
                    <a:lnTo>
                      <a:pt x="292" y="20"/>
                    </a:lnTo>
                    <a:lnTo>
                      <a:pt x="297" y="25"/>
                    </a:lnTo>
                    <a:lnTo>
                      <a:pt x="302" y="25"/>
                    </a:lnTo>
                    <a:lnTo>
                      <a:pt x="302" y="30"/>
                    </a:lnTo>
                    <a:lnTo>
                      <a:pt x="297" y="30"/>
                    </a:lnTo>
                    <a:lnTo>
                      <a:pt x="302" y="30"/>
                    </a:lnTo>
                    <a:lnTo>
                      <a:pt x="302" y="35"/>
                    </a:lnTo>
                    <a:lnTo>
                      <a:pt x="297" y="35"/>
                    </a:lnTo>
                    <a:lnTo>
                      <a:pt x="297" y="40"/>
                    </a:lnTo>
                    <a:lnTo>
                      <a:pt x="297" y="35"/>
                    </a:lnTo>
                    <a:lnTo>
                      <a:pt x="297" y="40"/>
                    </a:lnTo>
                    <a:lnTo>
                      <a:pt x="297" y="45"/>
                    </a:lnTo>
                    <a:lnTo>
                      <a:pt x="292" y="40"/>
                    </a:lnTo>
                    <a:lnTo>
                      <a:pt x="292" y="45"/>
                    </a:lnTo>
                    <a:lnTo>
                      <a:pt x="297" y="45"/>
                    </a:lnTo>
                    <a:lnTo>
                      <a:pt x="297" y="40"/>
                    </a:lnTo>
                    <a:lnTo>
                      <a:pt x="302" y="40"/>
                    </a:lnTo>
                    <a:lnTo>
                      <a:pt x="302" y="45"/>
                    </a:lnTo>
                    <a:lnTo>
                      <a:pt x="308" y="45"/>
                    </a:lnTo>
                    <a:lnTo>
                      <a:pt x="302" y="40"/>
                    </a:lnTo>
                    <a:lnTo>
                      <a:pt x="308" y="40"/>
                    </a:lnTo>
                    <a:lnTo>
                      <a:pt x="308" y="35"/>
                    </a:lnTo>
                    <a:lnTo>
                      <a:pt x="302" y="30"/>
                    </a:lnTo>
                    <a:lnTo>
                      <a:pt x="308" y="30"/>
                    </a:lnTo>
                    <a:lnTo>
                      <a:pt x="313" y="30"/>
                    </a:lnTo>
                    <a:lnTo>
                      <a:pt x="318" y="35"/>
                    </a:lnTo>
                    <a:lnTo>
                      <a:pt x="313" y="35"/>
                    </a:lnTo>
                    <a:lnTo>
                      <a:pt x="313" y="40"/>
                    </a:lnTo>
                    <a:lnTo>
                      <a:pt x="318" y="40"/>
                    </a:lnTo>
                    <a:lnTo>
                      <a:pt x="318" y="45"/>
                    </a:lnTo>
                    <a:lnTo>
                      <a:pt x="323" y="40"/>
                    </a:lnTo>
                    <a:lnTo>
                      <a:pt x="323" y="30"/>
                    </a:lnTo>
                    <a:lnTo>
                      <a:pt x="328" y="25"/>
                    </a:lnTo>
                    <a:lnTo>
                      <a:pt x="328" y="30"/>
                    </a:lnTo>
                    <a:lnTo>
                      <a:pt x="333" y="30"/>
                    </a:lnTo>
                    <a:lnTo>
                      <a:pt x="333" y="25"/>
                    </a:lnTo>
                    <a:lnTo>
                      <a:pt x="328" y="20"/>
                    </a:lnTo>
                    <a:lnTo>
                      <a:pt x="323" y="15"/>
                    </a:lnTo>
                    <a:lnTo>
                      <a:pt x="323" y="10"/>
                    </a:lnTo>
                    <a:lnTo>
                      <a:pt x="328" y="10"/>
                    </a:lnTo>
                    <a:lnTo>
                      <a:pt x="333" y="15"/>
                    </a:lnTo>
                    <a:lnTo>
                      <a:pt x="333" y="10"/>
                    </a:lnTo>
                    <a:lnTo>
                      <a:pt x="333" y="15"/>
                    </a:lnTo>
                    <a:lnTo>
                      <a:pt x="338" y="15"/>
                    </a:lnTo>
                    <a:lnTo>
                      <a:pt x="343" y="15"/>
                    </a:lnTo>
                    <a:lnTo>
                      <a:pt x="343" y="20"/>
                    </a:lnTo>
                    <a:lnTo>
                      <a:pt x="338" y="20"/>
                    </a:lnTo>
                    <a:lnTo>
                      <a:pt x="338" y="25"/>
                    </a:lnTo>
                    <a:lnTo>
                      <a:pt x="338" y="30"/>
                    </a:lnTo>
                    <a:lnTo>
                      <a:pt x="343" y="30"/>
                    </a:lnTo>
                    <a:lnTo>
                      <a:pt x="343" y="25"/>
                    </a:lnTo>
                    <a:lnTo>
                      <a:pt x="343" y="30"/>
                    </a:lnTo>
                    <a:lnTo>
                      <a:pt x="343" y="35"/>
                    </a:lnTo>
                    <a:lnTo>
                      <a:pt x="338" y="35"/>
                    </a:lnTo>
                    <a:lnTo>
                      <a:pt x="338" y="40"/>
                    </a:lnTo>
                    <a:lnTo>
                      <a:pt x="333" y="40"/>
                    </a:lnTo>
                    <a:lnTo>
                      <a:pt x="333" y="45"/>
                    </a:lnTo>
                    <a:lnTo>
                      <a:pt x="333" y="50"/>
                    </a:lnTo>
                    <a:lnTo>
                      <a:pt x="328" y="55"/>
                    </a:lnTo>
                    <a:lnTo>
                      <a:pt x="328" y="60"/>
                    </a:lnTo>
                    <a:lnTo>
                      <a:pt x="328" y="65"/>
                    </a:lnTo>
                    <a:lnTo>
                      <a:pt x="333" y="65"/>
                    </a:lnTo>
                    <a:lnTo>
                      <a:pt x="333" y="60"/>
                    </a:lnTo>
                    <a:lnTo>
                      <a:pt x="338" y="60"/>
                    </a:lnTo>
                    <a:lnTo>
                      <a:pt x="338" y="55"/>
                    </a:lnTo>
                    <a:lnTo>
                      <a:pt x="343" y="50"/>
                    </a:lnTo>
                    <a:lnTo>
                      <a:pt x="343" y="45"/>
                    </a:lnTo>
                    <a:lnTo>
                      <a:pt x="348" y="40"/>
                    </a:lnTo>
                    <a:lnTo>
                      <a:pt x="348" y="35"/>
                    </a:lnTo>
                    <a:lnTo>
                      <a:pt x="353" y="30"/>
                    </a:lnTo>
                    <a:lnTo>
                      <a:pt x="363" y="25"/>
                    </a:lnTo>
                    <a:lnTo>
                      <a:pt x="363" y="20"/>
                    </a:lnTo>
                    <a:lnTo>
                      <a:pt x="368" y="20"/>
                    </a:lnTo>
                    <a:lnTo>
                      <a:pt x="373" y="20"/>
                    </a:lnTo>
                    <a:lnTo>
                      <a:pt x="373" y="25"/>
                    </a:lnTo>
                    <a:lnTo>
                      <a:pt x="368" y="30"/>
                    </a:lnTo>
                    <a:lnTo>
                      <a:pt x="368" y="35"/>
                    </a:lnTo>
                    <a:lnTo>
                      <a:pt x="368" y="30"/>
                    </a:lnTo>
                    <a:lnTo>
                      <a:pt x="363" y="25"/>
                    </a:lnTo>
                    <a:lnTo>
                      <a:pt x="363" y="30"/>
                    </a:lnTo>
                    <a:lnTo>
                      <a:pt x="358" y="30"/>
                    </a:lnTo>
                    <a:lnTo>
                      <a:pt x="358" y="35"/>
                    </a:lnTo>
                    <a:lnTo>
                      <a:pt x="353" y="35"/>
                    </a:lnTo>
                    <a:lnTo>
                      <a:pt x="353" y="40"/>
                    </a:lnTo>
                    <a:lnTo>
                      <a:pt x="358" y="40"/>
                    </a:lnTo>
                    <a:lnTo>
                      <a:pt x="358" y="45"/>
                    </a:lnTo>
                    <a:lnTo>
                      <a:pt x="353" y="45"/>
                    </a:lnTo>
                    <a:lnTo>
                      <a:pt x="353" y="50"/>
                    </a:lnTo>
                    <a:lnTo>
                      <a:pt x="353" y="55"/>
                    </a:lnTo>
                    <a:lnTo>
                      <a:pt x="348" y="55"/>
                    </a:lnTo>
                    <a:lnTo>
                      <a:pt x="348" y="60"/>
                    </a:lnTo>
                    <a:lnTo>
                      <a:pt x="343" y="65"/>
                    </a:lnTo>
                    <a:lnTo>
                      <a:pt x="348" y="65"/>
                    </a:lnTo>
                    <a:lnTo>
                      <a:pt x="348" y="60"/>
                    </a:lnTo>
                    <a:lnTo>
                      <a:pt x="353" y="60"/>
                    </a:lnTo>
                    <a:lnTo>
                      <a:pt x="353" y="65"/>
                    </a:lnTo>
                    <a:lnTo>
                      <a:pt x="353" y="70"/>
                    </a:lnTo>
                    <a:lnTo>
                      <a:pt x="348" y="70"/>
                    </a:lnTo>
                    <a:lnTo>
                      <a:pt x="348" y="75"/>
                    </a:lnTo>
                    <a:lnTo>
                      <a:pt x="353" y="70"/>
                    </a:lnTo>
                    <a:lnTo>
                      <a:pt x="358" y="65"/>
                    </a:lnTo>
                    <a:lnTo>
                      <a:pt x="358" y="70"/>
                    </a:lnTo>
                    <a:lnTo>
                      <a:pt x="358" y="65"/>
                    </a:lnTo>
                    <a:lnTo>
                      <a:pt x="358" y="60"/>
                    </a:lnTo>
                    <a:lnTo>
                      <a:pt x="358" y="55"/>
                    </a:lnTo>
                    <a:lnTo>
                      <a:pt x="363" y="50"/>
                    </a:lnTo>
                    <a:lnTo>
                      <a:pt x="363" y="45"/>
                    </a:lnTo>
                    <a:lnTo>
                      <a:pt x="368" y="40"/>
                    </a:lnTo>
                    <a:lnTo>
                      <a:pt x="373" y="40"/>
                    </a:lnTo>
                    <a:lnTo>
                      <a:pt x="378" y="45"/>
                    </a:lnTo>
                    <a:lnTo>
                      <a:pt x="378" y="50"/>
                    </a:lnTo>
                    <a:lnTo>
                      <a:pt x="373" y="55"/>
                    </a:lnTo>
                    <a:lnTo>
                      <a:pt x="378" y="55"/>
                    </a:lnTo>
                    <a:lnTo>
                      <a:pt x="378" y="60"/>
                    </a:lnTo>
                    <a:lnTo>
                      <a:pt x="373" y="60"/>
                    </a:lnTo>
                    <a:lnTo>
                      <a:pt x="368" y="60"/>
                    </a:lnTo>
                    <a:lnTo>
                      <a:pt x="368" y="65"/>
                    </a:lnTo>
                    <a:lnTo>
                      <a:pt x="363" y="70"/>
                    </a:lnTo>
                    <a:lnTo>
                      <a:pt x="363" y="75"/>
                    </a:lnTo>
                    <a:lnTo>
                      <a:pt x="368" y="75"/>
                    </a:lnTo>
                    <a:lnTo>
                      <a:pt x="368" y="80"/>
                    </a:lnTo>
                    <a:lnTo>
                      <a:pt x="368" y="75"/>
                    </a:lnTo>
                    <a:lnTo>
                      <a:pt x="368" y="70"/>
                    </a:lnTo>
                    <a:lnTo>
                      <a:pt x="368" y="75"/>
                    </a:lnTo>
                    <a:lnTo>
                      <a:pt x="373" y="80"/>
                    </a:lnTo>
                    <a:lnTo>
                      <a:pt x="373" y="85"/>
                    </a:lnTo>
                    <a:lnTo>
                      <a:pt x="373" y="80"/>
                    </a:lnTo>
                    <a:lnTo>
                      <a:pt x="373" y="75"/>
                    </a:lnTo>
                    <a:lnTo>
                      <a:pt x="373" y="70"/>
                    </a:lnTo>
                    <a:lnTo>
                      <a:pt x="378" y="70"/>
                    </a:lnTo>
                    <a:lnTo>
                      <a:pt x="378" y="65"/>
                    </a:lnTo>
                    <a:lnTo>
                      <a:pt x="383" y="65"/>
                    </a:lnTo>
                    <a:lnTo>
                      <a:pt x="388" y="60"/>
                    </a:lnTo>
                    <a:lnTo>
                      <a:pt x="393" y="60"/>
                    </a:lnTo>
                    <a:lnTo>
                      <a:pt x="393" y="55"/>
                    </a:lnTo>
                    <a:lnTo>
                      <a:pt x="398" y="55"/>
                    </a:lnTo>
                    <a:lnTo>
                      <a:pt x="398" y="50"/>
                    </a:lnTo>
                    <a:lnTo>
                      <a:pt x="398" y="55"/>
                    </a:lnTo>
                    <a:lnTo>
                      <a:pt x="393" y="55"/>
                    </a:lnTo>
                    <a:lnTo>
                      <a:pt x="393" y="60"/>
                    </a:lnTo>
                    <a:lnTo>
                      <a:pt x="393" y="65"/>
                    </a:lnTo>
                    <a:lnTo>
                      <a:pt x="398" y="65"/>
                    </a:lnTo>
                    <a:lnTo>
                      <a:pt x="398" y="75"/>
                    </a:lnTo>
                    <a:lnTo>
                      <a:pt x="393" y="75"/>
                    </a:lnTo>
                    <a:lnTo>
                      <a:pt x="393" y="80"/>
                    </a:lnTo>
                    <a:lnTo>
                      <a:pt x="398" y="75"/>
                    </a:lnTo>
                    <a:lnTo>
                      <a:pt x="398" y="70"/>
                    </a:lnTo>
                    <a:lnTo>
                      <a:pt x="398" y="65"/>
                    </a:lnTo>
                    <a:lnTo>
                      <a:pt x="403" y="65"/>
                    </a:lnTo>
                    <a:lnTo>
                      <a:pt x="403" y="60"/>
                    </a:lnTo>
                    <a:lnTo>
                      <a:pt x="408" y="60"/>
                    </a:lnTo>
                    <a:lnTo>
                      <a:pt x="408" y="65"/>
                    </a:lnTo>
                    <a:lnTo>
                      <a:pt x="403" y="65"/>
                    </a:lnTo>
                    <a:lnTo>
                      <a:pt x="408" y="65"/>
                    </a:lnTo>
                    <a:lnTo>
                      <a:pt x="403" y="65"/>
                    </a:lnTo>
                    <a:lnTo>
                      <a:pt x="403" y="70"/>
                    </a:lnTo>
                    <a:lnTo>
                      <a:pt x="408" y="70"/>
                    </a:lnTo>
                    <a:lnTo>
                      <a:pt x="413" y="70"/>
                    </a:lnTo>
                    <a:lnTo>
                      <a:pt x="413" y="65"/>
                    </a:lnTo>
                    <a:lnTo>
                      <a:pt x="418" y="65"/>
                    </a:lnTo>
                    <a:lnTo>
                      <a:pt x="423" y="60"/>
                    </a:lnTo>
                    <a:lnTo>
                      <a:pt x="428" y="65"/>
                    </a:lnTo>
                    <a:lnTo>
                      <a:pt x="433" y="70"/>
                    </a:lnTo>
                    <a:lnTo>
                      <a:pt x="439" y="70"/>
                    </a:lnTo>
                    <a:lnTo>
                      <a:pt x="439" y="75"/>
                    </a:lnTo>
                    <a:lnTo>
                      <a:pt x="444" y="75"/>
                    </a:lnTo>
                    <a:lnTo>
                      <a:pt x="449" y="75"/>
                    </a:lnTo>
                    <a:lnTo>
                      <a:pt x="449" y="80"/>
                    </a:lnTo>
                    <a:lnTo>
                      <a:pt x="454" y="85"/>
                    </a:lnTo>
                    <a:lnTo>
                      <a:pt x="459" y="90"/>
                    </a:lnTo>
                    <a:lnTo>
                      <a:pt x="459" y="95"/>
                    </a:lnTo>
                    <a:lnTo>
                      <a:pt x="469" y="100"/>
                    </a:lnTo>
                    <a:lnTo>
                      <a:pt x="469" y="105"/>
                    </a:lnTo>
                    <a:lnTo>
                      <a:pt x="464" y="105"/>
                    </a:lnTo>
                    <a:lnTo>
                      <a:pt x="464" y="110"/>
                    </a:lnTo>
                    <a:lnTo>
                      <a:pt x="459" y="115"/>
                    </a:lnTo>
                    <a:lnTo>
                      <a:pt x="459" y="120"/>
                    </a:lnTo>
                    <a:lnTo>
                      <a:pt x="454" y="120"/>
                    </a:lnTo>
                    <a:lnTo>
                      <a:pt x="454" y="125"/>
                    </a:lnTo>
                    <a:lnTo>
                      <a:pt x="454" y="120"/>
                    </a:lnTo>
                    <a:lnTo>
                      <a:pt x="459" y="120"/>
                    </a:lnTo>
                    <a:lnTo>
                      <a:pt x="459" y="125"/>
                    </a:lnTo>
                    <a:lnTo>
                      <a:pt x="464" y="131"/>
                    </a:lnTo>
                    <a:lnTo>
                      <a:pt x="469" y="131"/>
                    </a:lnTo>
                    <a:lnTo>
                      <a:pt x="469" y="136"/>
                    </a:lnTo>
                    <a:lnTo>
                      <a:pt x="474" y="136"/>
                    </a:lnTo>
                    <a:lnTo>
                      <a:pt x="474" y="141"/>
                    </a:lnTo>
                    <a:lnTo>
                      <a:pt x="479" y="141"/>
                    </a:lnTo>
                    <a:lnTo>
                      <a:pt x="484" y="141"/>
                    </a:lnTo>
                    <a:lnTo>
                      <a:pt x="489" y="141"/>
                    </a:lnTo>
                    <a:lnTo>
                      <a:pt x="489" y="136"/>
                    </a:lnTo>
                    <a:lnTo>
                      <a:pt x="494" y="136"/>
                    </a:lnTo>
                    <a:lnTo>
                      <a:pt x="499" y="136"/>
                    </a:lnTo>
                    <a:lnTo>
                      <a:pt x="504" y="136"/>
                    </a:lnTo>
                    <a:lnTo>
                      <a:pt x="509" y="141"/>
                    </a:lnTo>
                    <a:lnTo>
                      <a:pt x="514" y="141"/>
                    </a:lnTo>
                    <a:lnTo>
                      <a:pt x="519" y="141"/>
                    </a:lnTo>
                    <a:lnTo>
                      <a:pt x="524" y="141"/>
                    </a:lnTo>
                    <a:lnTo>
                      <a:pt x="529" y="141"/>
                    </a:lnTo>
                    <a:lnTo>
                      <a:pt x="534" y="141"/>
                    </a:lnTo>
                    <a:lnTo>
                      <a:pt x="534" y="146"/>
                    </a:lnTo>
                    <a:lnTo>
                      <a:pt x="539" y="146"/>
                    </a:lnTo>
                    <a:lnTo>
                      <a:pt x="544" y="146"/>
                    </a:lnTo>
                    <a:lnTo>
                      <a:pt x="544" y="141"/>
                    </a:lnTo>
                    <a:lnTo>
                      <a:pt x="549" y="136"/>
                    </a:lnTo>
                    <a:lnTo>
                      <a:pt x="549" y="131"/>
                    </a:lnTo>
                    <a:lnTo>
                      <a:pt x="544" y="131"/>
                    </a:lnTo>
                    <a:lnTo>
                      <a:pt x="539" y="131"/>
                    </a:lnTo>
                    <a:lnTo>
                      <a:pt x="534" y="131"/>
                    </a:lnTo>
                    <a:lnTo>
                      <a:pt x="529" y="125"/>
                    </a:lnTo>
                    <a:lnTo>
                      <a:pt x="524" y="125"/>
                    </a:lnTo>
                    <a:lnTo>
                      <a:pt x="524" y="120"/>
                    </a:lnTo>
                    <a:lnTo>
                      <a:pt x="519" y="120"/>
                    </a:lnTo>
                    <a:lnTo>
                      <a:pt x="514" y="115"/>
                    </a:lnTo>
                    <a:lnTo>
                      <a:pt x="509" y="115"/>
                    </a:lnTo>
                    <a:lnTo>
                      <a:pt x="509" y="110"/>
                    </a:lnTo>
                    <a:lnTo>
                      <a:pt x="504" y="110"/>
                    </a:lnTo>
                    <a:lnTo>
                      <a:pt x="494" y="105"/>
                    </a:lnTo>
                    <a:lnTo>
                      <a:pt x="494" y="100"/>
                    </a:lnTo>
                    <a:lnTo>
                      <a:pt x="479" y="90"/>
                    </a:lnTo>
                    <a:lnTo>
                      <a:pt x="474" y="90"/>
                    </a:lnTo>
                    <a:lnTo>
                      <a:pt x="469" y="85"/>
                    </a:lnTo>
                    <a:lnTo>
                      <a:pt x="464" y="85"/>
                    </a:lnTo>
                    <a:lnTo>
                      <a:pt x="459" y="80"/>
                    </a:lnTo>
                    <a:lnTo>
                      <a:pt x="454" y="80"/>
                    </a:lnTo>
                    <a:lnTo>
                      <a:pt x="454" y="75"/>
                    </a:lnTo>
                    <a:lnTo>
                      <a:pt x="449" y="70"/>
                    </a:lnTo>
                    <a:lnTo>
                      <a:pt x="444" y="70"/>
                    </a:lnTo>
                    <a:lnTo>
                      <a:pt x="439" y="65"/>
                    </a:lnTo>
                    <a:lnTo>
                      <a:pt x="428" y="55"/>
                    </a:lnTo>
                    <a:lnTo>
                      <a:pt x="423" y="55"/>
                    </a:lnTo>
                    <a:lnTo>
                      <a:pt x="423" y="50"/>
                    </a:lnTo>
                    <a:lnTo>
                      <a:pt x="418" y="50"/>
                    </a:lnTo>
                    <a:lnTo>
                      <a:pt x="418" y="45"/>
                    </a:lnTo>
                    <a:lnTo>
                      <a:pt x="413" y="45"/>
                    </a:lnTo>
                    <a:lnTo>
                      <a:pt x="413" y="40"/>
                    </a:lnTo>
                    <a:lnTo>
                      <a:pt x="418" y="40"/>
                    </a:lnTo>
                    <a:lnTo>
                      <a:pt x="423" y="45"/>
                    </a:lnTo>
                    <a:lnTo>
                      <a:pt x="439" y="60"/>
                    </a:lnTo>
                    <a:lnTo>
                      <a:pt x="454" y="75"/>
                    </a:lnTo>
                    <a:lnTo>
                      <a:pt x="469" y="85"/>
                    </a:lnTo>
                    <a:lnTo>
                      <a:pt x="479" y="85"/>
                    </a:lnTo>
                    <a:lnTo>
                      <a:pt x="484" y="90"/>
                    </a:lnTo>
                    <a:lnTo>
                      <a:pt x="494" y="100"/>
                    </a:lnTo>
                    <a:lnTo>
                      <a:pt x="499" y="105"/>
                    </a:lnTo>
                    <a:lnTo>
                      <a:pt x="504" y="110"/>
                    </a:lnTo>
                    <a:lnTo>
                      <a:pt x="514" y="115"/>
                    </a:lnTo>
                    <a:lnTo>
                      <a:pt x="519" y="115"/>
                    </a:lnTo>
                    <a:lnTo>
                      <a:pt x="529" y="120"/>
                    </a:lnTo>
                    <a:lnTo>
                      <a:pt x="534" y="125"/>
                    </a:lnTo>
                    <a:lnTo>
                      <a:pt x="544" y="125"/>
                    </a:lnTo>
                    <a:lnTo>
                      <a:pt x="549" y="125"/>
                    </a:lnTo>
                    <a:lnTo>
                      <a:pt x="554" y="131"/>
                    </a:lnTo>
                    <a:lnTo>
                      <a:pt x="559" y="131"/>
                    </a:lnTo>
                    <a:lnTo>
                      <a:pt x="559" y="125"/>
                    </a:lnTo>
                    <a:lnTo>
                      <a:pt x="565" y="125"/>
                    </a:lnTo>
                    <a:lnTo>
                      <a:pt x="575" y="115"/>
                    </a:lnTo>
                    <a:lnTo>
                      <a:pt x="580" y="110"/>
                    </a:lnTo>
                    <a:lnTo>
                      <a:pt x="585" y="105"/>
                    </a:lnTo>
                    <a:lnTo>
                      <a:pt x="590" y="105"/>
                    </a:lnTo>
                    <a:lnTo>
                      <a:pt x="590" y="100"/>
                    </a:lnTo>
                    <a:lnTo>
                      <a:pt x="595" y="100"/>
                    </a:lnTo>
                    <a:lnTo>
                      <a:pt x="590" y="95"/>
                    </a:lnTo>
                    <a:lnTo>
                      <a:pt x="595" y="95"/>
                    </a:lnTo>
                    <a:lnTo>
                      <a:pt x="595" y="90"/>
                    </a:lnTo>
                    <a:lnTo>
                      <a:pt x="590" y="85"/>
                    </a:lnTo>
                    <a:lnTo>
                      <a:pt x="595" y="80"/>
                    </a:lnTo>
                    <a:lnTo>
                      <a:pt x="595" y="75"/>
                    </a:lnTo>
                    <a:lnTo>
                      <a:pt x="600" y="70"/>
                    </a:lnTo>
                    <a:lnTo>
                      <a:pt x="600" y="65"/>
                    </a:lnTo>
                    <a:lnTo>
                      <a:pt x="595" y="65"/>
                    </a:lnTo>
                    <a:lnTo>
                      <a:pt x="600" y="60"/>
                    </a:lnTo>
                    <a:lnTo>
                      <a:pt x="605" y="60"/>
                    </a:lnTo>
                    <a:lnTo>
                      <a:pt x="605" y="65"/>
                    </a:lnTo>
                    <a:lnTo>
                      <a:pt x="605" y="70"/>
                    </a:lnTo>
                    <a:lnTo>
                      <a:pt x="610" y="70"/>
                    </a:lnTo>
                    <a:lnTo>
                      <a:pt x="620" y="75"/>
                    </a:lnTo>
                    <a:lnTo>
                      <a:pt x="630" y="75"/>
                    </a:lnTo>
                    <a:lnTo>
                      <a:pt x="635" y="75"/>
                    </a:lnTo>
                    <a:lnTo>
                      <a:pt x="640" y="75"/>
                    </a:lnTo>
                    <a:lnTo>
                      <a:pt x="640" y="70"/>
                    </a:lnTo>
                    <a:lnTo>
                      <a:pt x="645" y="70"/>
                    </a:lnTo>
                    <a:lnTo>
                      <a:pt x="645" y="65"/>
                    </a:lnTo>
                    <a:lnTo>
                      <a:pt x="645" y="60"/>
                    </a:lnTo>
                    <a:lnTo>
                      <a:pt x="645" y="55"/>
                    </a:lnTo>
                    <a:lnTo>
                      <a:pt x="645" y="50"/>
                    </a:lnTo>
                    <a:lnTo>
                      <a:pt x="650" y="45"/>
                    </a:lnTo>
                    <a:lnTo>
                      <a:pt x="650" y="40"/>
                    </a:lnTo>
                    <a:lnTo>
                      <a:pt x="660" y="35"/>
                    </a:lnTo>
                    <a:lnTo>
                      <a:pt x="665" y="35"/>
                    </a:lnTo>
                    <a:lnTo>
                      <a:pt x="670" y="35"/>
                    </a:lnTo>
                    <a:lnTo>
                      <a:pt x="670" y="30"/>
                    </a:lnTo>
                    <a:lnTo>
                      <a:pt x="675" y="30"/>
                    </a:lnTo>
                    <a:lnTo>
                      <a:pt x="680" y="30"/>
                    </a:lnTo>
                    <a:lnTo>
                      <a:pt x="685" y="30"/>
                    </a:lnTo>
                    <a:lnTo>
                      <a:pt x="685" y="25"/>
                    </a:lnTo>
                    <a:lnTo>
                      <a:pt x="691" y="25"/>
                    </a:lnTo>
                    <a:lnTo>
                      <a:pt x="696" y="25"/>
                    </a:lnTo>
                    <a:lnTo>
                      <a:pt x="701" y="30"/>
                    </a:lnTo>
                    <a:lnTo>
                      <a:pt x="706" y="25"/>
                    </a:lnTo>
                    <a:lnTo>
                      <a:pt x="711" y="25"/>
                    </a:lnTo>
                    <a:lnTo>
                      <a:pt x="711" y="20"/>
                    </a:lnTo>
                    <a:lnTo>
                      <a:pt x="716" y="20"/>
                    </a:lnTo>
                    <a:lnTo>
                      <a:pt x="721" y="25"/>
                    </a:lnTo>
                    <a:lnTo>
                      <a:pt x="726" y="25"/>
                    </a:lnTo>
                    <a:lnTo>
                      <a:pt x="731" y="25"/>
                    </a:lnTo>
                    <a:lnTo>
                      <a:pt x="731" y="20"/>
                    </a:lnTo>
                    <a:lnTo>
                      <a:pt x="736" y="15"/>
                    </a:lnTo>
                    <a:lnTo>
                      <a:pt x="741" y="20"/>
                    </a:lnTo>
                    <a:lnTo>
                      <a:pt x="741" y="25"/>
                    </a:lnTo>
                    <a:lnTo>
                      <a:pt x="746" y="25"/>
                    </a:lnTo>
                    <a:lnTo>
                      <a:pt x="751" y="25"/>
                    </a:lnTo>
                    <a:lnTo>
                      <a:pt x="751" y="30"/>
                    </a:lnTo>
                    <a:lnTo>
                      <a:pt x="751" y="35"/>
                    </a:lnTo>
                    <a:lnTo>
                      <a:pt x="746" y="40"/>
                    </a:lnTo>
                    <a:lnTo>
                      <a:pt x="741" y="40"/>
                    </a:lnTo>
                    <a:lnTo>
                      <a:pt x="741" y="45"/>
                    </a:lnTo>
                    <a:lnTo>
                      <a:pt x="736" y="45"/>
                    </a:lnTo>
                    <a:lnTo>
                      <a:pt x="731" y="45"/>
                    </a:lnTo>
                    <a:lnTo>
                      <a:pt x="726" y="45"/>
                    </a:lnTo>
                    <a:lnTo>
                      <a:pt x="726" y="50"/>
                    </a:lnTo>
                    <a:lnTo>
                      <a:pt x="726" y="55"/>
                    </a:lnTo>
                    <a:lnTo>
                      <a:pt x="726" y="50"/>
                    </a:lnTo>
                    <a:lnTo>
                      <a:pt x="726" y="55"/>
                    </a:lnTo>
                    <a:lnTo>
                      <a:pt x="731" y="55"/>
                    </a:lnTo>
                    <a:lnTo>
                      <a:pt x="731" y="60"/>
                    </a:lnTo>
                    <a:lnTo>
                      <a:pt x="726" y="65"/>
                    </a:lnTo>
                    <a:lnTo>
                      <a:pt x="721" y="65"/>
                    </a:lnTo>
                    <a:lnTo>
                      <a:pt x="721" y="70"/>
                    </a:lnTo>
                    <a:lnTo>
                      <a:pt x="726" y="70"/>
                    </a:lnTo>
                    <a:lnTo>
                      <a:pt x="726" y="75"/>
                    </a:lnTo>
                    <a:lnTo>
                      <a:pt x="726" y="70"/>
                    </a:lnTo>
                    <a:lnTo>
                      <a:pt x="726" y="75"/>
                    </a:lnTo>
                    <a:lnTo>
                      <a:pt x="726" y="80"/>
                    </a:lnTo>
                    <a:lnTo>
                      <a:pt x="726" y="85"/>
                    </a:lnTo>
                    <a:lnTo>
                      <a:pt x="726" y="90"/>
                    </a:lnTo>
                    <a:lnTo>
                      <a:pt x="726" y="95"/>
                    </a:lnTo>
                    <a:lnTo>
                      <a:pt x="731" y="95"/>
                    </a:lnTo>
                    <a:lnTo>
                      <a:pt x="731" y="100"/>
                    </a:lnTo>
                    <a:lnTo>
                      <a:pt x="736" y="100"/>
                    </a:lnTo>
                    <a:lnTo>
                      <a:pt x="736" y="105"/>
                    </a:lnTo>
                    <a:lnTo>
                      <a:pt x="736" y="110"/>
                    </a:lnTo>
                    <a:lnTo>
                      <a:pt x="746" y="110"/>
                    </a:lnTo>
                    <a:lnTo>
                      <a:pt x="746" y="115"/>
                    </a:lnTo>
                    <a:lnTo>
                      <a:pt x="741" y="115"/>
                    </a:lnTo>
                    <a:lnTo>
                      <a:pt x="741" y="120"/>
                    </a:lnTo>
                    <a:lnTo>
                      <a:pt x="736" y="125"/>
                    </a:lnTo>
                    <a:lnTo>
                      <a:pt x="736" y="131"/>
                    </a:lnTo>
                    <a:lnTo>
                      <a:pt x="731" y="131"/>
                    </a:lnTo>
                    <a:lnTo>
                      <a:pt x="726" y="131"/>
                    </a:lnTo>
                    <a:lnTo>
                      <a:pt x="721" y="131"/>
                    </a:lnTo>
                    <a:lnTo>
                      <a:pt x="721" y="136"/>
                    </a:lnTo>
                    <a:lnTo>
                      <a:pt x="716" y="136"/>
                    </a:lnTo>
                    <a:lnTo>
                      <a:pt x="711" y="141"/>
                    </a:lnTo>
                    <a:lnTo>
                      <a:pt x="711" y="146"/>
                    </a:lnTo>
                    <a:lnTo>
                      <a:pt x="706" y="146"/>
                    </a:lnTo>
                    <a:lnTo>
                      <a:pt x="701" y="146"/>
                    </a:lnTo>
                    <a:lnTo>
                      <a:pt x="696" y="151"/>
                    </a:lnTo>
                    <a:lnTo>
                      <a:pt x="685" y="151"/>
                    </a:lnTo>
                    <a:lnTo>
                      <a:pt x="675" y="151"/>
                    </a:lnTo>
                    <a:lnTo>
                      <a:pt x="670" y="156"/>
                    </a:lnTo>
                    <a:lnTo>
                      <a:pt x="670" y="161"/>
                    </a:lnTo>
                    <a:lnTo>
                      <a:pt x="665" y="166"/>
                    </a:lnTo>
                    <a:lnTo>
                      <a:pt x="660" y="166"/>
                    </a:lnTo>
                    <a:lnTo>
                      <a:pt x="655" y="171"/>
                    </a:lnTo>
                    <a:lnTo>
                      <a:pt x="650" y="176"/>
                    </a:lnTo>
                    <a:lnTo>
                      <a:pt x="645" y="176"/>
                    </a:lnTo>
                    <a:lnTo>
                      <a:pt x="645" y="181"/>
                    </a:lnTo>
                    <a:lnTo>
                      <a:pt x="640" y="176"/>
                    </a:lnTo>
                    <a:lnTo>
                      <a:pt x="635" y="176"/>
                    </a:lnTo>
                    <a:lnTo>
                      <a:pt x="635" y="171"/>
                    </a:lnTo>
                    <a:lnTo>
                      <a:pt x="630" y="166"/>
                    </a:lnTo>
                    <a:lnTo>
                      <a:pt x="615" y="161"/>
                    </a:lnTo>
                    <a:lnTo>
                      <a:pt x="610" y="161"/>
                    </a:lnTo>
                    <a:lnTo>
                      <a:pt x="605" y="161"/>
                    </a:lnTo>
                    <a:lnTo>
                      <a:pt x="600" y="161"/>
                    </a:lnTo>
                    <a:lnTo>
                      <a:pt x="590" y="161"/>
                    </a:lnTo>
                    <a:lnTo>
                      <a:pt x="585" y="161"/>
                    </a:lnTo>
                    <a:lnTo>
                      <a:pt x="580" y="166"/>
                    </a:lnTo>
                    <a:lnTo>
                      <a:pt x="575" y="166"/>
                    </a:lnTo>
                    <a:lnTo>
                      <a:pt x="570" y="176"/>
                    </a:lnTo>
                    <a:lnTo>
                      <a:pt x="565" y="181"/>
                    </a:lnTo>
                    <a:lnTo>
                      <a:pt x="559" y="191"/>
                    </a:lnTo>
                    <a:lnTo>
                      <a:pt x="559" y="196"/>
                    </a:lnTo>
                    <a:lnTo>
                      <a:pt x="559" y="201"/>
                    </a:lnTo>
                    <a:lnTo>
                      <a:pt x="565" y="201"/>
                    </a:lnTo>
                    <a:lnTo>
                      <a:pt x="570" y="206"/>
                    </a:lnTo>
                    <a:lnTo>
                      <a:pt x="565" y="206"/>
                    </a:lnTo>
                    <a:lnTo>
                      <a:pt x="565" y="211"/>
                    </a:lnTo>
                    <a:lnTo>
                      <a:pt x="559" y="216"/>
                    </a:lnTo>
                    <a:lnTo>
                      <a:pt x="565" y="221"/>
                    </a:lnTo>
                    <a:lnTo>
                      <a:pt x="559" y="221"/>
                    </a:lnTo>
                    <a:lnTo>
                      <a:pt x="554" y="221"/>
                    </a:lnTo>
                    <a:lnTo>
                      <a:pt x="549" y="221"/>
                    </a:lnTo>
                    <a:lnTo>
                      <a:pt x="549" y="226"/>
                    </a:lnTo>
                    <a:lnTo>
                      <a:pt x="544" y="226"/>
                    </a:lnTo>
                    <a:lnTo>
                      <a:pt x="544" y="231"/>
                    </a:lnTo>
                    <a:lnTo>
                      <a:pt x="544" y="236"/>
                    </a:lnTo>
                    <a:lnTo>
                      <a:pt x="544" y="241"/>
                    </a:lnTo>
                    <a:lnTo>
                      <a:pt x="539" y="241"/>
                    </a:lnTo>
                    <a:lnTo>
                      <a:pt x="534" y="246"/>
                    </a:lnTo>
                    <a:lnTo>
                      <a:pt x="534" y="251"/>
                    </a:lnTo>
                    <a:lnTo>
                      <a:pt x="529" y="251"/>
                    </a:lnTo>
                    <a:lnTo>
                      <a:pt x="529" y="262"/>
                    </a:lnTo>
                    <a:lnTo>
                      <a:pt x="529" y="272"/>
                    </a:lnTo>
                    <a:lnTo>
                      <a:pt x="534" y="272"/>
                    </a:lnTo>
                    <a:lnTo>
                      <a:pt x="529" y="272"/>
                    </a:lnTo>
                    <a:lnTo>
                      <a:pt x="529" y="277"/>
                    </a:lnTo>
                    <a:lnTo>
                      <a:pt x="529" y="282"/>
                    </a:lnTo>
                    <a:lnTo>
                      <a:pt x="524" y="282"/>
                    </a:lnTo>
                    <a:lnTo>
                      <a:pt x="519" y="282"/>
                    </a:lnTo>
                    <a:lnTo>
                      <a:pt x="519" y="277"/>
                    </a:lnTo>
                    <a:lnTo>
                      <a:pt x="514" y="277"/>
                    </a:lnTo>
                    <a:lnTo>
                      <a:pt x="509" y="277"/>
                    </a:lnTo>
                    <a:lnTo>
                      <a:pt x="504" y="277"/>
                    </a:lnTo>
                    <a:lnTo>
                      <a:pt x="499" y="277"/>
                    </a:lnTo>
                    <a:lnTo>
                      <a:pt x="494" y="282"/>
                    </a:lnTo>
                    <a:lnTo>
                      <a:pt x="494" y="287"/>
                    </a:lnTo>
                    <a:lnTo>
                      <a:pt x="489" y="287"/>
                    </a:lnTo>
                    <a:lnTo>
                      <a:pt x="484" y="287"/>
                    </a:lnTo>
                    <a:lnTo>
                      <a:pt x="484" y="292"/>
                    </a:lnTo>
                    <a:lnTo>
                      <a:pt x="479" y="292"/>
                    </a:lnTo>
                    <a:lnTo>
                      <a:pt x="474" y="292"/>
                    </a:lnTo>
                    <a:lnTo>
                      <a:pt x="469" y="297"/>
                    </a:lnTo>
                    <a:lnTo>
                      <a:pt x="464" y="297"/>
                    </a:lnTo>
                    <a:lnTo>
                      <a:pt x="459" y="297"/>
                    </a:lnTo>
                    <a:lnTo>
                      <a:pt x="454" y="307"/>
                    </a:lnTo>
                    <a:lnTo>
                      <a:pt x="449" y="312"/>
                    </a:lnTo>
                    <a:lnTo>
                      <a:pt x="444" y="312"/>
                    </a:lnTo>
                    <a:lnTo>
                      <a:pt x="444" y="317"/>
                    </a:lnTo>
                    <a:lnTo>
                      <a:pt x="439" y="322"/>
                    </a:lnTo>
                    <a:lnTo>
                      <a:pt x="433" y="327"/>
                    </a:lnTo>
                    <a:lnTo>
                      <a:pt x="428" y="332"/>
                    </a:lnTo>
                    <a:lnTo>
                      <a:pt x="423" y="337"/>
                    </a:lnTo>
                    <a:lnTo>
                      <a:pt x="418" y="342"/>
                    </a:lnTo>
                    <a:lnTo>
                      <a:pt x="418" y="347"/>
                    </a:lnTo>
                    <a:lnTo>
                      <a:pt x="413" y="357"/>
                    </a:lnTo>
                    <a:lnTo>
                      <a:pt x="413" y="367"/>
                    </a:lnTo>
                    <a:lnTo>
                      <a:pt x="413" y="372"/>
                    </a:lnTo>
                    <a:lnTo>
                      <a:pt x="413" y="377"/>
                    </a:lnTo>
                    <a:lnTo>
                      <a:pt x="413" y="382"/>
                    </a:lnTo>
                    <a:lnTo>
                      <a:pt x="413" y="388"/>
                    </a:lnTo>
                    <a:lnTo>
                      <a:pt x="413" y="393"/>
                    </a:lnTo>
                    <a:lnTo>
                      <a:pt x="408" y="393"/>
                    </a:lnTo>
                    <a:lnTo>
                      <a:pt x="403" y="393"/>
                    </a:lnTo>
                    <a:lnTo>
                      <a:pt x="403" y="398"/>
                    </a:lnTo>
                    <a:lnTo>
                      <a:pt x="403" y="403"/>
                    </a:lnTo>
                    <a:lnTo>
                      <a:pt x="403" y="408"/>
                    </a:lnTo>
                    <a:lnTo>
                      <a:pt x="398" y="408"/>
                    </a:lnTo>
                    <a:lnTo>
                      <a:pt x="398" y="413"/>
                    </a:lnTo>
                    <a:lnTo>
                      <a:pt x="393" y="413"/>
                    </a:lnTo>
                    <a:lnTo>
                      <a:pt x="388" y="418"/>
                    </a:lnTo>
                    <a:lnTo>
                      <a:pt x="383" y="428"/>
                    </a:lnTo>
                    <a:lnTo>
                      <a:pt x="383" y="433"/>
                    </a:lnTo>
                    <a:lnTo>
                      <a:pt x="383" y="438"/>
                    </a:lnTo>
                    <a:lnTo>
                      <a:pt x="378" y="438"/>
                    </a:lnTo>
                    <a:lnTo>
                      <a:pt x="378" y="443"/>
                    </a:lnTo>
                    <a:lnTo>
                      <a:pt x="373" y="443"/>
                    </a:lnTo>
                    <a:lnTo>
                      <a:pt x="373" y="448"/>
                    </a:lnTo>
                    <a:lnTo>
                      <a:pt x="368" y="448"/>
                    </a:lnTo>
                    <a:lnTo>
                      <a:pt x="363" y="453"/>
                    </a:lnTo>
                    <a:lnTo>
                      <a:pt x="358" y="458"/>
                    </a:lnTo>
                    <a:lnTo>
                      <a:pt x="353" y="458"/>
                    </a:lnTo>
                    <a:lnTo>
                      <a:pt x="348" y="458"/>
                    </a:lnTo>
                    <a:lnTo>
                      <a:pt x="343" y="458"/>
                    </a:lnTo>
                    <a:lnTo>
                      <a:pt x="338" y="458"/>
                    </a:lnTo>
                    <a:lnTo>
                      <a:pt x="333" y="463"/>
                    </a:lnTo>
                    <a:lnTo>
                      <a:pt x="328" y="468"/>
                    </a:lnTo>
                    <a:lnTo>
                      <a:pt x="323" y="468"/>
                    </a:lnTo>
                    <a:lnTo>
                      <a:pt x="318" y="473"/>
                    </a:lnTo>
                    <a:close/>
                    <a:moveTo>
                      <a:pt x="318" y="15"/>
                    </a:moveTo>
                    <a:lnTo>
                      <a:pt x="323" y="15"/>
                    </a:lnTo>
                    <a:lnTo>
                      <a:pt x="323" y="20"/>
                    </a:lnTo>
                    <a:lnTo>
                      <a:pt x="318" y="15"/>
                    </a:lnTo>
                    <a:close/>
                    <a:moveTo>
                      <a:pt x="197" y="25"/>
                    </a:moveTo>
                    <a:lnTo>
                      <a:pt x="197" y="20"/>
                    </a:lnTo>
                    <a:lnTo>
                      <a:pt x="197" y="25"/>
                    </a:lnTo>
                    <a:close/>
                    <a:moveTo>
                      <a:pt x="277" y="20"/>
                    </a:moveTo>
                    <a:lnTo>
                      <a:pt x="272" y="20"/>
                    </a:lnTo>
                    <a:lnTo>
                      <a:pt x="277" y="15"/>
                    </a:lnTo>
                    <a:lnTo>
                      <a:pt x="277" y="2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488">
                <a:extLst>
                  <a:ext uri="{FF2B5EF4-FFF2-40B4-BE49-F238E27FC236}">
                    <a16:creationId xmlns:a16="http://schemas.microsoft.com/office/drawing/2014/main" id="{E4F3C564-EEBA-F8C9-ADE3-3C782FC71302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1890484" y="2823728"/>
                <a:ext cx="762009" cy="743559"/>
              </a:xfrm>
              <a:custGeom>
                <a:avLst/>
                <a:gdLst>
                  <a:gd name="T0" fmla="*/ 2147483647 w 489"/>
                  <a:gd name="T1" fmla="*/ 2147483647 h 499"/>
                  <a:gd name="T2" fmla="*/ 2147483647 w 489"/>
                  <a:gd name="T3" fmla="*/ 2147483647 h 499"/>
                  <a:gd name="T4" fmla="*/ 2147483647 w 489"/>
                  <a:gd name="T5" fmla="*/ 2147483647 h 499"/>
                  <a:gd name="T6" fmla="*/ 2147483647 w 489"/>
                  <a:gd name="T7" fmla="*/ 2147483647 h 499"/>
                  <a:gd name="T8" fmla="*/ 2147483647 w 489"/>
                  <a:gd name="T9" fmla="*/ 2147483647 h 499"/>
                  <a:gd name="T10" fmla="*/ 2147483647 w 489"/>
                  <a:gd name="T11" fmla="*/ 2147483647 h 499"/>
                  <a:gd name="T12" fmla="*/ 2147483647 w 489"/>
                  <a:gd name="T13" fmla="*/ 2147483647 h 499"/>
                  <a:gd name="T14" fmla="*/ 2147483647 w 489"/>
                  <a:gd name="T15" fmla="*/ 2147483647 h 499"/>
                  <a:gd name="T16" fmla="*/ 2147483647 w 489"/>
                  <a:gd name="T17" fmla="*/ 2147483647 h 499"/>
                  <a:gd name="T18" fmla="*/ 2147483647 w 489"/>
                  <a:gd name="T19" fmla="*/ 2147483647 h 499"/>
                  <a:gd name="T20" fmla="*/ 2147483647 w 489"/>
                  <a:gd name="T21" fmla="*/ 2147483647 h 499"/>
                  <a:gd name="T22" fmla="*/ 2147483647 w 489"/>
                  <a:gd name="T23" fmla="*/ 2147483647 h 499"/>
                  <a:gd name="T24" fmla="*/ 2147483647 w 489"/>
                  <a:gd name="T25" fmla="*/ 2147483647 h 499"/>
                  <a:gd name="T26" fmla="*/ 2147483647 w 489"/>
                  <a:gd name="T27" fmla="*/ 2147483647 h 499"/>
                  <a:gd name="T28" fmla="*/ 2147483647 w 489"/>
                  <a:gd name="T29" fmla="*/ 2147483647 h 499"/>
                  <a:gd name="T30" fmla="*/ 2147483647 w 489"/>
                  <a:gd name="T31" fmla="*/ 2147483647 h 499"/>
                  <a:gd name="T32" fmla="*/ 2147483647 w 489"/>
                  <a:gd name="T33" fmla="*/ 2147483647 h 499"/>
                  <a:gd name="T34" fmla="*/ 2147483647 w 489"/>
                  <a:gd name="T35" fmla="*/ 2147483647 h 499"/>
                  <a:gd name="T36" fmla="*/ 2147483647 w 489"/>
                  <a:gd name="T37" fmla="*/ 2147483647 h 499"/>
                  <a:gd name="T38" fmla="*/ 2147483647 w 489"/>
                  <a:gd name="T39" fmla="*/ 2147483647 h 499"/>
                  <a:gd name="T40" fmla="*/ 2147483647 w 489"/>
                  <a:gd name="T41" fmla="*/ 2147483647 h 499"/>
                  <a:gd name="T42" fmla="*/ 2147483647 w 489"/>
                  <a:gd name="T43" fmla="*/ 2147483647 h 499"/>
                  <a:gd name="T44" fmla="*/ 2147483647 w 489"/>
                  <a:gd name="T45" fmla="*/ 2147483647 h 499"/>
                  <a:gd name="T46" fmla="*/ 2147483647 w 489"/>
                  <a:gd name="T47" fmla="*/ 2147483647 h 499"/>
                  <a:gd name="T48" fmla="*/ 2147483647 w 489"/>
                  <a:gd name="T49" fmla="*/ 2147483647 h 499"/>
                  <a:gd name="T50" fmla="*/ 2147483647 w 489"/>
                  <a:gd name="T51" fmla="*/ 2147483647 h 499"/>
                  <a:gd name="T52" fmla="*/ 2147483647 w 489"/>
                  <a:gd name="T53" fmla="*/ 2147483647 h 499"/>
                  <a:gd name="T54" fmla="*/ 2147483647 w 489"/>
                  <a:gd name="T55" fmla="*/ 2147483647 h 499"/>
                  <a:gd name="T56" fmla="*/ 2147483647 w 489"/>
                  <a:gd name="T57" fmla="*/ 2147483647 h 499"/>
                  <a:gd name="T58" fmla="*/ 2147483647 w 489"/>
                  <a:gd name="T59" fmla="*/ 2147483647 h 499"/>
                  <a:gd name="T60" fmla="*/ 2147483647 w 489"/>
                  <a:gd name="T61" fmla="*/ 2147483647 h 499"/>
                  <a:gd name="T62" fmla="*/ 2147483647 w 489"/>
                  <a:gd name="T63" fmla="*/ 2147483647 h 499"/>
                  <a:gd name="T64" fmla="*/ 2147483647 w 489"/>
                  <a:gd name="T65" fmla="*/ 2147483647 h 499"/>
                  <a:gd name="T66" fmla="*/ 2147483647 w 489"/>
                  <a:gd name="T67" fmla="*/ 2147483647 h 499"/>
                  <a:gd name="T68" fmla="*/ 2147483647 w 489"/>
                  <a:gd name="T69" fmla="*/ 2147483647 h 499"/>
                  <a:gd name="T70" fmla="*/ 2147483647 w 489"/>
                  <a:gd name="T71" fmla="*/ 2147483647 h 499"/>
                  <a:gd name="T72" fmla="*/ 2147483647 w 489"/>
                  <a:gd name="T73" fmla="*/ 2147483647 h 499"/>
                  <a:gd name="T74" fmla="*/ 2147483647 w 489"/>
                  <a:gd name="T75" fmla="*/ 2147483647 h 499"/>
                  <a:gd name="T76" fmla="*/ 2147483647 w 489"/>
                  <a:gd name="T77" fmla="*/ 2147483647 h 499"/>
                  <a:gd name="T78" fmla="*/ 2147483647 w 489"/>
                  <a:gd name="T79" fmla="*/ 2147483647 h 499"/>
                  <a:gd name="T80" fmla="*/ 2147483647 w 489"/>
                  <a:gd name="T81" fmla="*/ 2147483647 h 499"/>
                  <a:gd name="T82" fmla="*/ 2147483647 w 489"/>
                  <a:gd name="T83" fmla="*/ 2147483647 h 499"/>
                  <a:gd name="T84" fmla="*/ 2147483647 w 489"/>
                  <a:gd name="T85" fmla="*/ 2147483647 h 499"/>
                  <a:gd name="T86" fmla="*/ 2147483647 w 489"/>
                  <a:gd name="T87" fmla="*/ 2147483647 h 499"/>
                  <a:gd name="T88" fmla="*/ 2147483647 w 489"/>
                  <a:gd name="T89" fmla="*/ 2147483647 h 499"/>
                  <a:gd name="T90" fmla="*/ 2147483647 w 489"/>
                  <a:gd name="T91" fmla="*/ 2147483647 h 499"/>
                  <a:gd name="T92" fmla="*/ 2147483647 w 489"/>
                  <a:gd name="T93" fmla="*/ 2147483647 h 499"/>
                  <a:gd name="T94" fmla="*/ 2147483647 w 489"/>
                  <a:gd name="T95" fmla="*/ 2147483647 h 499"/>
                  <a:gd name="T96" fmla="*/ 2147483647 w 489"/>
                  <a:gd name="T97" fmla="*/ 2147483647 h 499"/>
                  <a:gd name="T98" fmla="*/ 2147483647 w 489"/>
                  <a:gd name="T99" fmla="*/ 2147483647 h 499"/>
                  <a:gd name="T100" fmla="*/ 2147483647 w 489"/>
                  <a:gd name="T101" fmla="*/ 2147483647 h 499"/>
                  <a:gd name="T102" fmla="*/ 2147483647 w 489"/>
                  <a:gd name="T103" fmla="*/ 2147483647 h 499"/>
                  <a:gd name="T104" fmla="*/ 2147483647 w 489"/>
                  <a:gd name="T105" fmla="*/ 2147483647 h 499"/>
                  <a:gd name="T106" fmla="*/ 2147483647 w 489"/>
                  <a:gd name="T107" fmla="*/ 2147483647 h 499"/>
                  <a:gd name="T108" fmla="*/ 2147483647 w 489"/>
                  <a:gd name="T109" fmla="*/ 2147483647 h 499"/>
                  <a:gd name="T110" fmla="*/ 2147483647 w 489"/>
                  <a:gd name="T111" fmla="*/ 2147483647 h 499"/>
                  <a:gd name="T112" fmla="*/ 2147483647 w 489"/>
                  <a:gd name="T113" fmla="*/ 2147483647 h 499"/>
                  <a:gd name="T114" fmla="*/ 2147483647 w 489"/>
                  <a:gd name="T115" fmla="*/ 2147483647 h 499"/>
                  <a:gd name="T116" fmla="*/ 2147483647 w 489"/>
                  <a:gd name="T117" fmla="*/ 2147483647 h 499"/>
                  <a:gd name="T118" fmla="*/ 2147483647 w 489"/>
                  <a:gd name="T119" fmla="*/ 2147483647 h 499"/>
                  <a:gd name="T120" fmla="*/ 2147483647 w 489"/>
                  <a:gd name="T121" fmla="*/ 2147483647 h 499"/>
                  <a:gd name="T122" fmla="*/ 2147483647 w 489"/>
                  <a:gd name="T123" fmla="*/ 2147483647 h 49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89"/>
                  <a:gd name="T187" fmla="*/ 0 h 499"/>
                  <a:gd name="T188" fmla="*/ 489 w 489"/>
                  <a:gd name="T189" fmla="*/ 499 h 49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89" h="499">
                    <a:moveTo>
                      <a:pt x="484" y="318"/>
                    </a:moveTo>
                    <a:lnTo>
                      <a:pt x="484" y="323"/>
                    </a:lnTo>
                    <a:lnTo>
                      <a:pt x="484" y="328"/>
                    </a:lnTo>
                    <a:lnTo>
                      <a:pt x="479" y="328"/>
                    </a:lnTo>
                    <a:lnTo>
                      <a:pt x="474" y="328"/>
                    </a:lnTo>
                    <a:lnTo>
                      <a:pt x="474" y="333"/>
                    </a:lnTo>
                    <a:lnTo>
                      <a:pt x="468" y="338"/>
                    </a:lnTo>
                    <a:lnTo>
                      <a:pt x="458" y="358"/>
                    </a:lnTo>
                    <a:lnTo>
                      <a:pt x="463" y="358"/>
                    </a:lnTo>
                    <a:lnTo>
                      <a:pt x="463" y="363"/>
                    </a:lnTo>
                    <a:lnTo>
                      <a:pt x="463" y="368"/>
                    </a:lnTo>
                    <a:lnTo>
                      <a:pt x="458" y="368"/>
                    </a:lnTo>
                    <a:lnTo>
                      <a:pt x="463" y="373"/>
                    </a:lnTo>
                    <a:lnTo>
                      <a:pt x="458" y="373"/>
                    </a:lnTo>
                    <a:lnTo>
                      <a:pt x="458" y="378"/>
                    </a:lnTo>
                    <a:lnTo>
                      <a:pt x="463" y="378"/>
                    </a:lnTo>
                    <a:lnTo>
                      <a:pt x="463" y="383"/>
                    </a:lnTo>
                    <a:lnTo>
                      <a:pt x="463" y="388"/>
                    </a:lnTo>
                    <a:lnTo>
                      <a:pt x="468" y="388"/>
                    </a:lnTo>
                    <a:lnTo>
                      <a:pt x="468" y="393"/>
                    </a:lnTo>
                    <a:lnTo>
                      <a:pt x="468" y="398"/>
                    </a:lnTo>
                    <a:lnTo>
                      <a:pt x="458" y="403"/>
                    </a:lnTo>
                    <a:lnTo>
                      <a:pt x="453" y="403"/>
                    </a:lnTo>
                    <a:lnTo>
                      <a:pt x="448" y="408"/>
                    </a:lnTo>
                    <a:lnTo>
                      <a:pt x="453" y="408"/>
                    </a:lnTo>
                    <a:lnTo>
                      <a:pt x="453" y="413"/>
                    </a:lnTo>
                    <a:lnTo>
                      <a:pt x="458" y="418"/>
                    </a:lnTo>
                    <a:lnTo>
                      <a:pt x="458" y="428"/>
                    </a:lnTo>
                    <a:lnTo>
                      <a:pt x="453" y="428"/>
                    </a:lnTo>
                    <a:lnTo>
                      <a:pt x="453" y="423"/>
                    </a:lnTo>
                    <a:lnTo>
                      <a:pt x="448" y="423"/>
                    </a:lnTo>
                    <a:lnTo>
                      <a:pt x="448" y="428"/>
                    </a:lnTo>
                    <a:lnTo>
                      <a:pt x="443" y="428"/>
                    </a:lnTo>
                    <a:lnTo>
                      <a:pt x="443" y="433"/>
                    </a:lnTo>
                    <a:lnTo>
                      <a:pt x="438" y="433"/>
                    </a:lnTo>
                    <a:lnTo>
                      <a:pt x="438" y="439"/>
                    </a:lnTo>
                    <a:lnTo>
                      <a:pt x="428" y="439"/>
                    </a:lnTo>
                    <a:lnTo>
                      <a:pt x="423" y="439"/>
                    </a:lnTo>
                    <a:lnTo>
                      <a:pt x="423" y="433"/>
                    </a:lnTo>
                    <a:lnTo>
                      <a:pt x="413" y="439"/>
                    </a:lnTo>
                    <a:lnTo>
                      <a:pt x="408" y="444"/>
                    </a:lnTo>
                    <a:lnTo>
                      <a:pt x="408" y="449"/>
                    </a:lnTo>
                    <a:lnTo>
                      <a:pt x="403" y="449"/>
                    </a:lnTo>
                    <a:lnTo>
                      <a:pt x="398" y="449"/>
                    </a:lnTo>
                    <a:lnTo>
                      <a:pt x="393" y="449"/>
                    </a:lnTo>
                    <a:lnTo>
                      <a:pt x="393" y="454"/>
                    </a:lnTo>
                    <a:lnTo>
                      <a:pt x="388" y="449"/>
                    </a:lnTo>
                    <a:lnTo>
                      <a:pt x="388" y="444"/>
                    </a:lnTo>
                    <a:lnTo>
                      <a:pt x="383" y="449"/>
                    </a:lnTo>
                    <a:lnTo>
                      <a:pt x="378" y="449"/>
                    </a:lnTo>
                    <a:lnTo>
                      <a:pt x="388" y="444"/>
                    </a:lnTo>
                    <a:lnTo>
                      <a:pt x="383" y="439"/>
                    </a:lnTo>
                    <a:lnTo>
                      <a:pt x="378" y="439"/>
                    </a:lnTo>
                    <a:lnTo>
                      <a:pt x="378" y="444"/>
                    </a:lnTo>
                    <a:lnTo>
                      <a:pt x="373" y="439"/>
                    </a:lnTo>
                    <a:lnTo>
                      <a:pt x="368" y="439"/>
                    </a:lnTo>
                    <a:lnTo>
                      <a:pt x="368" y="444"/>
                    </a:lnTo>
                    <a:lnTo>
                      <a:pt x="363" y="444"/>
                    </a:lnTo>
                    <a:lnTo>
                      <a:pt x="363" y="439"/>
                    </a:lnTo>
                    <a:lnTo>
                      <a:pt x="348" y="433"/>
                    </a:lnTo>
                    <a:lnTo>
                      <a:pt x="342" y="433"/>
                    </a:lnTo>
                    <a:lnTo>
                      <a:pt x="342" y="439"/>
                    </a:lnTo>
                    <a:lnTo>
                      <a:pt x="348" y="439"/>
                    </a:lnTo>
                    <a:lnTo>
                      <a:pt x="342" y="444"/>
                    </a:lnTo>
                    <a:lnTo>
                      <a:pt x="348" y="444"/>
                    </a:lnTo>
                    <a:lnTo>
                      <a:pt x="348" y="454"/>
                    </a:lnTo>
                    <a:lnTo>
                      <a:pt x="337" y="449"/>
                    </a:lnTo>
                    <a:lnTo>
                      <a:pt x="332" y="449"/>
                    </a:lnTo>
                    <a:lnTo>
                      <a:pt x="327" y="449"/>
                    </a:lnTo>
                    <a:lnTo>
                      <a:pt x="332" y="459"/>
                    </a:lnTo>
                    <a:lnTo>
                      <a:pt x="327" y="464"/>
                    </a:lnTo>
                    <a:lnTo>
                      <a:pt x="332" y="469"/>
                    </a:lnTo>
                    <a:lnTo>
                      <a:pt x="322" y="469"/>
                    </a:lnTo>
                    <a:lnTo>
                      <a:pt x="317" y="474"/>
                    </a:lnTo>
                    <a:lnTo>
                      <a:pt x="317" y="469"/>
                    </a:lnTo>
                    <a:lnTo>
                      <a:pt x="312" y="464"/>
                    </a:lnTo>
                    <a:lnTo>
                      <a:pt x="307" y="469"/>
                    </a:lnTo>
                    <a:lnTo>
                      <a:pt x="302" y="469"/>
                    </a:lnTo>
                    <a:lnTo>
                      <a:pt x="302" y="464"/>
                    </a:lnTo>
                    <a:lnTo>
                      <a:pt x="297" y="469"/>
                    </a:lnTo>
                    <a:lnTo>
                      <a:pt x="292" y="469"/>
                    </a:lnTo>
                    <a:lnTo>
                      <a:pt x="287" y="469"/>
                    </a:lnTo>
                    <a:lnTo>
                      <a:pt x="282" y="469"/>
                    </a:lnTo>
                    <a:lnTo>
                      <a:pt x="277" y="469"/>
                    </a:lnTo>
                    <a:lnTo>
                      <a:pt x="272" y="464"/>
                    </a:lnTo>
                    <a:lnTo>
                      <a:pt x="267" y="464"/>
                    </a:lnTo>
                    <a:lnTo>
                      <a:pt x="267" y="469"/>
                    </a:lnTo>
                    <a:lnTo>
                      <a:pt x="262" y="464"/>
                    </a:lnTo>
                    <a:lnTo>
                      <a:pt x="262" y="469"/>
                    </a:lnTo>
                    <a:lnTo>
                      <a:pt x="257" y="469"/>
                    </a:lnTo>
                    <a:lnTo>
                      <a:pt x="257" y="474"/>
                    </a:lnTo>
                    <a:lnTo>
                      <a:pt x="257" y="479"/>
                    </a:lnTo>
                    <a:lnTo>
                      <a:pt x="257" y="484"/>
                    </a:lnTo>
                    <a:lnTo>
                      <a:pt x="252" y="484"/>
                    </a:lnTo>
                    <a:lnTo>
                      <a:pt x="257" y="489"/>
                    </a:lnTo>
                    <a:lnTo>
                      <a:pt x="257" y="494"/>
                    </a:lnTo>
                    <a:lnTo>
                      <a:pt x="257" y="499"/>
                    </a:lnTo>
                    <a:lnTo>
                      <a:pt x="252" y="499"/>
                    </a:lnTo>
                    <a:lnTo>
                      <a:pt x="247" y="494"/>
                    </a:lnTo>
                    <a:lnTo>
                      <a:pt x="247" y="489"/>
                    </a:lnTo>
                    <a:lnTo>
                      <a:pt x="242" y="489"/>
                    </a:lnTo>
                    <a:lnTo>
                      <a:pt x="242" y="484"/>
                    </a:lnTo>
                    <a:lnTo>
                      <a:pt x="242" y="479"/>
                    </a:lnTo>
                    <a:lnTo>
                      <a:pt x="242" y="474"/>
                    </a:lnTo>
                    <a:lnTo>
                      <a:pt x="237" y="474"/>
                    </a:lnTo>
                    <a:lnTo>
                      <a:pt x="232" y="474"/>
                    </a:lnTo>
                    <a:lnTo>
                      <a:pt x="227" y="474"/>
                    </a:lnTo>
                    <a:lnTo>
                      <a:pt x="227" y="479"/>
                    </a:lnTo>
                    <a:lnTo>
                      <a:pt x="227" y="484"/>
                    </a:lnTo>
                    <a:lnTo>
                      <a:pt x="222" y="489"/>
                    </a:lnTo>
                    <a:lnTo>
                      <a:pt x="216" y="484"/>
                    </a:lnTo>
                    <a:lnTo>
                      <a:pt x="216" y="479"/>
                    </a:lnTo>
                    <a:lnTo>
                      <a:pt x="222" y="479"/>
                    </a:lnTo>
                    <a:lnTo>
                      <a:pt x="222" y="474"/>
                    </a:lnTo>
                    <a:lnTo>
                      <a:pt x="227" y="474"/>
                    </a:lnTo>
                    <a:lnTo>
                      <a:pt x="227" y="469"/>
                    </a:lnTo>
                    <a:lnTo>
                      <a:pt x="227" y="464"/>
                    </a:lnTo>
                    <a:lnTo>
                      <a:pt x="222" y="464"/>
                    </a:lnTo>
                    <a:lnTo>
                      <a:pt x="222" y="459"/>
                    </a:lnTo>
                    <a:lnTo>
                      <a:pt x="216" y="459"/>
                    </a:lnTo>
                    <a:lnTo>
                      <a:pt x="211" y="459"/>
                    </a:lnTo>
                    <a:lnTo>
                      <a:pt x="206" y="464"/>
                    </a:lnTo>
                    <a:lnTo>
                      <a:pt x="206" y="469"/>
                    </a:lnTo>
                    <a:lnTo>
                      <a:pt x="201" y="469"/>
                    </a:lnTo>
                    <a:lnTo>
                      <a:pt x="196" y="474"/>
                    </a:lnTo>
                    <a:lnTo>
                      <a:pt x="191" y="474"/>
                    </a:lnTo>
                    <a:lnTo>
                      <a:pt x="191" y="469"/>
                    </a:lnTo>
                    <a:lnTo>
                      <a:pt x="191" y="464"/>
                    </a:lnTo>
                    <a:lnTo>
                      <a:pt x="186" y="464"/>
                    </a:lnTo>
                    <a:lnTo>
                      <a:pt x="181" y="464"/>
                    </a:lnTo>
                    <a:lnTo>
                      <a:pt x="181" y="469"/>
                    </a:lnTo>
                    <a:lnTo>
                      <a:pt x="176" y="469"/>
                    </a:lnTo>
                    <a:lnTo>
                      <a:pt x="176" y="474"/>
                    </a:lnTo>
                    <a:lnTo>
                      <a:pt x="176" y="469"/>
                    </a:lnTo>
                    <a:lnTo>
                      <a:pt x="171" y="469"/>
                    </a:lnTo>
                    <a:lnTo>
                      <a:pt x="171" y="459"/>
                    </a:lnTo>
                    <a:lnTo>
                      <a:pt x="171" y="454"/>
                    </a:lnTo>
                    <a:lnTo>
                      <a:pt x="166" y="449"/>
                    </a:lnTo>
                    <a:lnTo>
                      <a:pt x="161" y="449"/>
                    </a:lnTo>
                    <a:lnTo>
                      <a:pt x="156" y="449"/>
                    </a:lnTo>
                    <a:lnTo>
                      <a:pt x="151" y="454"/>
                    </a:lnTo>
                    <a:lnTo>
                      <a:pt x="146" y="454"/>
                    </a:lnTo>
                    <a:lnTo>
                      <a:pt x="141" y="449"/>
                    </a:lnTo>
                    <a:lnTo>
                      <a:pt x="136" y="449"/>
                    </a:lnTo>
                    <a:lnTo>
                      <a:pt x="131" y="444"/>
                    </a:lnTo>
                    <a:lnTo>
                      <a:pt x="131" y="439"/>
                    </a:lnTo>
                    <a:lnTo>
                      <a:pt x="126" y="439"/>
                    </a:lnTo>
                    <a:lnTo>
                      <a:pt x="126" y="433"/>
                    </a:lnTo>
                    <a:lnTo>
                      <a:pt x="121" y="433"/>
                    </a:lnTo>
                    <a:lnTo>
                      <a:pt x="116" y="433"/>
                    </a:lnTo>
                    <a:lnTo>
                      <a:pt x="111" y="428"/>
                    </a:lnTo>
                    <a:lnTo>
                      <a:pt x="106" y="428"/>
                    </a:lnTo>
                    <a:lnTo>
                      <a:pt x="101" y="428"/>
                    </a:lnTo>
                    <a:lnTo>
                      <a:pt x="96" y="428"/>
                    </a:lnTo>
                    <a:lnTo>
                      <a:pt x="90" y="433"/>
                    </a:lnTo>
                    <a:lnTo>
                      <a:pt x="85" y="433"/>
                    </a:lnTo>
                    <a:lnTo>
                      <a:pt x="80" y="433"/>
                    </a:lnTo>
                    <a:lnTo>
                      <a:pt x="75" y="433"/>
                    </a:lnTo>
                    <a:lnTo>
                      <a:pt x="70" y="433"/>
                    </a:lnTo>
                    <a:lnTo>
                      <a:pt x="70" y="428"/>
                    </a:lnTo>
                    <a:lnTo>
                      <a:pt x="65" y="433"/>
                    </a:lnTo>
                    <a:lnTo>
                      <a:pt x="60" y="433"/>
                    </a:lnTo>
                    <a:lnTo>
                      <a:pt x="55" y="428"/>
                    </a:lnTo>
                    <a:lnTo>
                      <a:pt x="50" y="423"/>
                    </a:lnTo>
                    <a:lnTo>
                      <a:pt x="50" y="418"/>
                    </a:lnTo>
                    <a:lnTo>
                      <a:pt x="45" y="413"/>
                    </a:lnTo>
                    <a:lnTo>
                      <a:pt x="40" y="403"/>
                    </a:lnTo>
                    <a:lnTo>
                      <a:pt x="35" y="403"/>
                    </a:lnTo>
                    <a:lnTo>
                      <a:pt x="25" y="403"/>
                    </a:lnTo>
                    <a:lnTo>
                      <a:pt x="25" y="398"/>
                    </a:lnTo>
                    <a:lnTo>
                      <a:pt x="20" y="393"/>
                    </a:lnTo>
                    <a:lnTo>
                      <a:pt x="25" y="378"/>
                    </a:lnTo>
                    <a:lnTo>
                      <a:pt x="25" y="373"/>
                    </a:lnTo>
                    <a:lnTo>
                      <a:pt x="20" y="368"/>
                    </a:lnTo>
                    <a:lnTo>
                      <a:pt x="15" y="358"/>
                    </a:lnTo>
                    <a:lnTo>
                      <a:pt x="20" y="358"/>
                    </a:lnTo>
                    <a:lnTo>
                      <a:pt x="25" y="358"/>
                    </a:lnTo>
                    <a:lnTo>
                      <a:pt x="20" y="353"/>
                    </a:lnTo>
                    <a:lnTo>
                      <a:pt x="20" y="348"/>
                    </a:lnTo>
                    <a:lnTo>
                      <a:pt x="15" y="343"/>
                    </a:lnTo>
                    <a:lnTo>
                      <a:pt x="15" y="338"/>
                    </a:lnTo>
                    <a:lnTo>
                      <a:pt x="15" y="333"/>
                    </a:lnTo>
                    <a:lnTo>
                      <a:pt x="15" y="328"/>
                    </a:lnTo>
                    <a:lnTo>
                      <a:pt x="10" y="323"/>
                    </a:lnTo>
                    <a:lnTo>
                      <a:pt x="5" y="318"/>
                    </a:lnTo>
                    <a:lnTo>
                      <a:pt x="5" y="313"/>
                    </a:lnTo>
                    <a:lnTo>
                      <a:pt x="5" y="308"/>
                    </a:lnTo>
                    <a:lnTo>
                      <a:pt x="10" y="308"/>
                    </a:lnTo>
                    <a:lnTo>
                      <a:pt x="10" y="302"/>
                    </a:lnTo>
                    <a:lnTo>
                      <a:pt x="5" y="302"/>
                    </a:lnTo>
                    <a:lnTo>
                      <a:pt x="0" y="302"/>
                    </a:lnTo>
                    <a:lnTo>
                      <a:pt x="0" y="297"/>
                    </a:lnTo>
                    <a:lnTo>
                      <a:pt x="0" y="287"/>
                    </a:lnTo>
                    <a:lnTo>
                      <a:pt x="5" y="282"/>
                    </a:lnTo>
                    <a:lnTo>
                      <a:pt x="10" y="282"/>
                    </a:lnTo>
                    <a:lnTo>
                      <a:pt x="20" y="277"/>
                    </a:lnTo>
                    <a:lnTo>
                      <a:pt x="15" y="277"/>
                    </a:lnTo>
                    <a:lnTo>
                      <a:pt x="15" y="272"/>
                    </a:lnTo>
                    <a:lnTo>
                      <a:pt x="15" y="267"/>
                    </a:lnTo>
                    <a:lnTo>
                      <a:pt x="10" y="262"/>
                    </a:lnTo>
                    <a:lnTo>
                      <a:pt x="15" y="257"/>
                    </a:lnTo>
                    <a:lnTo>
                      <a:pt x="20" y="262"/>
                    </a:lnTo>
                    <a:lnTo>
                      <a:pt x="15" y="257"/>
                    </a:lnTo>
                    <a:lnTo>
                      <a:pt x="20" y="252"/>
                    </a:lnTo>
                    <a:lnTo>
                      <a:pt x="20" y="257"/>
                    </a:lnTo>
                    <a:lnTo>
                      <a:pt x="25" y="257"/>
                    </a:lnTo>
                    <a:lnTo>
                      <a:pt x="30" y="252"/>
                    </a:lnTo>
                    <a:lnTo>
                      <a:pt x="25" y="247"/>
                    </a:lnTo>
                    <a:lnTo>
                      <a:pt x="30" y="242"/>
                    </a:lnTo>
                    <a:lnTo>
                      <a:pt x="35" y="247"/>
                    </a:lnTo>
                    <a:lnTo>
                      <a:pt x="35" y="242"/>
                    </a:lnTo>
                    <a:lnTo>
                      <a:pt x="45" y="247"/>
                    </a:lnTo>
                    <a:lnTo>
                      <a:pt x="50" y="247"/>
                    </a:lnTo>
                    <a:lnTo>
                      <a:pt x="55" y="247"/>
                    </a:lnTo>
                    <a:lnTo>
                      <a:pt x="55" y="242"/>
                    </a:lnTo>
                    <a:lnTo>
                      <a:pt x="55" y="237"/>
                    </a:lnTo>
                    <a:lnTo>
                      <a:pt x="55" y="232"/>
                    </a:lnTo>
                    <a:lnTo>
                      <a:pt x="60" y="237"/>
                    </a:lnTo>
                    <a:lnTo>
                      <a:pt x="60" y="232"/>
                    </a:lnTo>
                    <a:lnTo>
                      <a:pt x="70" y="232"/>
                    </a:lnTo>
                    <a:lnTo>
                      <a:pt x="75" y="232"/>
                    </a:lnTo>
                    <a:lnTo>
                      <a:pt x="80" y="232"/>
                    </a:lnTo>
                    <a:lnTo>
                      <a:pt x="75" y="222"/>
                    </a:lnTo>
                    <a:lnTo>
                      <a:pt x="70" y="222"/>
                    </a:lnTo>
                    <a:lnTo>
                      <a:pt x="65" y="217"/>
                    </a:lnTo>
                    <a:lnTo>
                      <a:pt x="70" y="212"/>
                    </a:lnTo>
                    <a:lnTo>
                      <a:pt x="65" y="212"/>
                    </a:lnTo>
                    <a:lnTo>
                      <a:pt x="60" y="207"/>
                    </a:lnTo>
                    <a:lnTo>
                      <a:pt x="65" y="207"/>
                    </a:lnTo>
                    <a:lnTo>
                      <a:pt x="60" y="202"/>
                    </a:lnTo>
                    <a:lnTo>
                      <a:pt x="60" y="197"/>
                    </a:lnTo>
                    <a:lnTo>
                      <a:pt x="55" y="192"/>
                    </a:lnTo>
                    <a:lnTo>
                      <a:pt x="50" y="192"/>
                    </a:lnTo>
                    <a:lnTo>
                      <a:pt x="55" y="187"/>
                    </a:lnTo>
                    <a:lnTo>
                      <a:pt x="50" y="187"/>
                    </a:lnTo>
                    <a:lnTo>
                      <a:pt x="50" y="182"/>
                    </a:lnTo>
                    <a:lnTo>
                      <a:pt x="50" y="171"/>
                    </a:lnTo>
                    <a:lnTo>
                      <a:pt x="55" y="166"/>
                    </a:lnTo>
                    <a:lnTo>
                      <a:pt x="50" y="166"/>
                    </a:lnTo>
                    <a:lnTo>
                      <a:pt x="45" y="166"/>
                    </a:lnTo>
                    <a:lnTo>
                      <a:pt x="40" y="166"/>
                    </a:lnTo>
                    <a:lnTo>
                      <a:pt x="35" y="166"/>
                    </a:lnTo>
                    <a:lnTo>
                      <a:pt x="30" y="161"/>
                    </a:lnTo>
                    <a:lnTo>
                      <a:pt x="35" y="156"/>
                    </a:lnTo>
                    <a:lnTo>
                      <a:pt x="40" y="151"/>
                    </a:lnTo>
                    <a:lnTo>
                      <a:pt x="30" y="156"/>
                    </a:lnTo>
                    <a:lnTo>
                      <a:pt x="30" y="151"/>
                    </a:lnTo>
                    <a:lnTo>
                      <a:pt x="30" y="146"/>
                    </a:lnTo>
                    <a:lnTo>
                      <a:pt x="35" y="146"/>
                    </a:lnTo>
                    <a:lnTo>
                      <a:pt x="35" y="136"/>
                    </a:lnTo>
                    <a:lnTo>
                      <a:pt x="30" y="131"/>
                    </a:lnTo>
                    <a:lnTo>
                      <a:pt x="25" y="131"/>
                    </a:lnTo>
                    <a:lnTo>
                      <a:pt x="30" y="126"/>
                    </a:lnTo>
                    <a:lnTo>
                      <a:pt x="30" y="121"/>
                    </a:lnTo>
                    <a:lnTo>
                      <a:pt x="35" y="121"/>
                    </a:lnTo>
                    <a:lnTo>
                      <a:pt x="35" y="116"/>
                    </a:lnTo>
                    <a:lnTo>
                      <a:pt x="30" y="111"/>
                    </a:lnTo>
                    <a:lnTo>
                      <a:pt x="25" y="111"/>
                    </a:lnTo>
                    <a:lnTo>
                      <a:pt x="20" y="101"/>
                    </a:lnTo>
                    <a:lnTo>
                      <a:pt x="30" y="96"/>
                    </a:lnTo>
                    <a:lnTo>
                      <a:pt x="25" y="96"/>
                    </a:lnTo>
                    <a:lnTo>
                      <a:pt x="30" y="91"/>
                    </a:lnTo>
                    <a:lnTo>
                      <a:pt x="25" y="91"/>
                    </a:lnTo>
                    <a:lnTo>
                      <a:pt x="30" y="86"/>
                    </a:lnTo>
                    <a:lnTo>
                      <a:pt x="30" y="81"/>
                    </a:lnTo>
                    <a:lnTo>
                      <a:pt x="35" y="81"/>
                    </a:lnTo>
                    <a:lnTo>
                      <a:pt x="35" y="76"/>
                    </a:lnTo>
                    <a:lnTo>
                      <a:pt x="40" y="76"/>
                    </a:lnTo>
                    <a:lnTo>
                      <a:pt x="45" y="71"/>
                    </a:lnTo>
                    <a:lnTo>
                      <a:pt x="50" y="71"/>
                    </a:lnTo>
                    <a:lnTo>
                      <a:pt x="55" y="66"/>
                    </a:lnTo>
                    <a:lnTo>
                      <a:pt x="60" y="71"/>
                    </a:lnTo>
                    <a:lnTo>
                      <a:pt x="65" y="71"/>
                    </a:lnTo>
                    <a:lnTo>
                      <a:pt x="70" y="66"/>
                    </a:lnTo>
                    <a:lnTo>
                      <a:pt x="80" y="61"/>
                    </a:lnTo>
                    <a:lnTo>
                      <a:pt x="85" y="61"/>
                    </a:lnTo>
                    <a:lnTo>
                      <a:pt x="90" y="56"/>
                    </a:lnTo>
                    <a:lnTo>
                      <a:pt x="90" y="61"/>
                    </a:lnTo>
                    <a:lnTo>
                      <a:pt x="96" y="56"/>
                    </a:lnTo>
                    <a:lnTo>
                      <a:pt x="96" y="51"/>
                    </a:lnTo>
                    <a:lnTo>
                      <a:pt x="106" y="51"/>
                    </a:lnTo>
                    <a:lnTo>
                      <a:pt x="116" y="56"/>
                    </a:lnTo>
                    <a:lnTo>
                      <a:pt x="121" y="51"/>
                    </a:lnTo>
                    <a:lnTo>
                      <a:pt x="121" y="40"/>
                    </a:lnTo>
                    <a:lnTo>
                      <a:pt x="131" y="35"/>
                    </a:lnTo>
                    <a:lnTo>
                      <a:pt x="136" y="40"/>
                    </a:lnTo>
                    <a:lnTo>
                      <a:pt x="141" y="35"/>
                    </a:lnTo>
                    <a:lnTo>
                      <a:pt x="151" y="45"/>
                    </a:lnTo>
                    <a:lnTo>
                      <a:pt x="156" y="40"/>
                    </a:lnTo>
                    <a:lnTo>
                      <a:pt x="156" y="35"/>
                    </a:lnTo>
                    <a:lnTo>
                      <a:pt x="161" y="30"/>
                    </a:lnTo>
                    <a:lnTo>
                      <a:pt x="171" y="30"/>
                    </a:lnTo>
                    <a:lnTo>
                      <a:pt x="176" y="30"/>
                    </a:lnTo>
                    <a:lnTo>
                      <a:pt x="181" y="25"/>
                    </a:lnTo>
                    <a:lnTo>
                      <a:pt x="176" y="25"/>
                    </a:lnTo>
                    <a:lnTo>
                      <a:pt x="176" y="20"/>
                    </a:lnTo>
                    <a:lnTo>
                      <a:pt x="181" y="20"/>
                    </a:lnTo>
                    <a:lnTo>
                      <a:pt x="181" y="15"/>
                    </a:lnTo>
                    <a:lnTo>
                      <a:pt x="186" y="15"/>
                    </a:lnTo>
                    <a:lnTo>
                      <a:pt x="191" y="15"/>
                    </a:lnTo>
                    <a:lnTo>
                      <a:pt x="191" y="10"/>
                    </a:lnTo>
                    <a:lnTo>
                      <a:pt x="191" y="5"/>
                    </a:lnTo>
                    <a:lnTo>
                      <a:pt x="191" y="0"/>
                    </a:lnTo>
                    <a:lnTo>
                      <a:pt x="196" y="0"/>
                    </a:lnTo>
                    <a:lnTo>
                      <a:pt x="201" y="5"/>
                    </a:lnTo>
                    <a:lnTo>
                      <a:pt x="206" y="10"/>
                    </a:lnTo>
                    <a:lnTo>
                      <a:pt x="211" y="10"/>
                    </a:lnTo>
                    <a:lnTo>
                      <a:pt x="211" y="15"/>
                    </a:lnTo>
                    <a:lnTo>
                      <a:pt x="216" y="20"/>
                    </a:lnTo>
                    <a:lnTo>
                      <a:pt x="211" y="25"/>
                    </a:lnTo>
                    <a:lnTo>
                      <a:pt x="216" y="25"/>
                    </a:lnTo>
                    <a:lnTo>
                      <a:pt x="216" y="30"/>
                    </a:lnTo>
                    <a:lnTo>
                      <a:pt x="227" y="35"/>
                    </a:lnTo>
                    <a:lnTo>
                      <a:pt x="227" y="40"/>
                    </a:lnTo>
                    <a:lnTo>
                      <a:pt x="227" y="45"/>
                    </a:lnTo>
                    <a:lnTo>
                      <a:pt x="222" y="45"/>
                    </a:lnTo>
                    <a:lnTo>
                      <a:pt x="222" y="56"/>
                    </a:lnTo>
                    <a:lnTo>
                      <a:pt x="232" y="61"/>
                    </a:lnTo>
                    <a:lnTo>
                      <a:pt x="232" y="66"/>
                    </a:lnTo>
                    <a:lnTo>
                      <a:pt x="232" y="61"/>
                    </a:lnTo>
                    <a:lnTo>
                      <a:pt x="237" y="61"/>
                    </a:lnTo>
                    <a:lnTo>
                      <a:pt x="232" y="66"/>
                    </a:lnTo>
                    <a:lnTo>
                      <a:pt x="237" y="71"/>
                    </a:lnTo>
                    <a:lnTo>
                      <a:pt x="237" y="76"/>
                    </a:lnTo>
                    <a:lnTo>
                      <a:pt x="247" y="71"/>
                    </a:lnTo>
                    <a:lnTo>
                      <a:pt x="252" y="71"/>
                    </a:lnTo>
                    <a:lnTo>
                      <a:pt x="257" y="71"/>
                    </a:lnTo>
                    <a:lnTo>
                      <a:pt x="262" y="71"/>
                    </a:lnTo>
                    <a:lnTo>
                      <a:pt x="267" y="71"/>
                    </a:lnTo>
                    <a:lnTo>
                      <a:pt x="272" y="66"/>
                    </a:lnTo>
                    <a:lnTo>
                      <a:pt x="277" y="66"/>
                    </a:lnTo>
                    <a:lnTo>
                      <a:pt x="277" y="61"/>
                    </a:lnTo>
                    <a:lnTo>
                      <a:pt x="282" y="66"/>
                    </a:lnTo>
                    <a:lnTo>
                      <a:pt x="282" y="61"/>
                    </a:lnTo>
                    <a:lnTo>
                      <a:pt x="282" y="56"/>
                    </a:lnTo>
                    <a:lnTo>
                      <a:pt x="292" y="51"/>
                    </a:lnTo>
                    <a:lnTo>
                      <a:pt x="292" y="56"/>
                    </a:lnTo>
                    <a:lnTo>
                      <a:pt x="292" y="51"/>
                    </a:lnTo>
                    <a:lnTo>
                      <a:pt x="297" y="51"/>
                    </a:lnTo>
                    <a:lnTo>
                      <a:pt x="302" y="45"/>
                    </a:lnTo>
                    <a:lnTo>
                      <a:pt x="302" y="40"/>
                    </a:lnTo>
                    <a:lnTo>
                      <a:pt x="307" y="40"/>
                    </a:lnTo>
                    <a:lnTo>
                      <a:pt x="307" y="35"/>
                    </a:lnTo>
                    <a:lnTo>
                      <a:pt x="312" y="40"/>
                    </a:lnTo>
                    <a:lnTo>
                      <a:pt x="312" y="35"/>
                    </a:lnTo>
                    <a:lnTo>
                      <a:pt x="317" y="35"/>
                    </a:lnTo>
                    <a:lnTo>
                      <a:pt x="322" y="40"/>
                    </a:lnTo>
                    <a:lnTo>
                      <a:pt x="317" y="51"/>
                    </a:lnTo>
                    <a:lnTo>
                      <a:pt x="327" y="56"/>
                    </a:lnTo>
                    <a:lnTo>
                      <a:pt x="332" y="61"/>
                    </a:lnTo>
                    <a:lnTo>
                      <a:pt x="332" y="66"/>
                    </a:lnTo>
                    <a:lnTo>
                      <a:pt x="332" y="61"/>
                    </a:lnTo>
                    <a:lnTo>
                      <a:pt x="332" y="66"/>
                    </a:lnTo>
                    <a:lnTo>
                      <a:pt x="337" y="66"/>
                    </a:lnTo>
                    <a:lnTo>
                      <a:pt x="342" y="71"/>
                    </a:lnTo>
                    <a:lnTo>
                      <a:pt x="337" y="76"/>
                    </a:lnTo>
                    <a:lnTo>
                      <a:pt x="342" y="81"/>
                    </a:lnTo>
                    <a:lnTo>
                      <a:pt x="348" y="81"/>
                    </a:lnTo>
                    <a:lnTo>
                      <a:pt x="348" y="86"/>
                    </a:lnTo>
                    <a:lnTo>
                      <a:pt x="348" y="91"/>
                    </a:lnTo>
                    <a:lnTo>
                      <a:pt x="342" y="91"/>
                    </a:lnTo>
                    <a:lnTo>
                      <a:pt x="342" y="96"/>
                    </a:lnTo>
                    <a:lnTo>
                      <a:pt x="337" y="101"/>
                    </a:lnTo>
                    <a:lnTo>
                      <a:pt x="337" y="106"/>
                    </a:lnTo>
                    <a:lnTo>
                      <a:pt x="342" y="111"/>
                    </a:lnTo>
                    <a:lnTo>
                      <a:pt x="342" y="116"/>
                    </a:lnTo>
                    <a:lnTo>
                      <a:pt x="348" y="121"/>
                    </a:lnTo>
                    <a:lnTo>
                      <a:pt x="353" y="121"/>
                    </a:lnTo>
                    <a:lnTo>
                      <a:pt x="353" y="116"/>
                    </a:lnTo>
                    <a:lnTo>
                      <a:pt x="363" y="121"/>
                    </a:lnTo>
                    <a:lnTo>
                      <a:pt x="363" y="131"/>
                    </a:lnTo>
                    <a:lnTo>
                      <a:pt x="373" y="131"/>
                    </a:lnTo>
                    <a:lnTo>
                      <a:pt x="378" y="131"/>
                    </a:lnTo>
                    <a:lnTo>
                      <a:pt x="378" y="126"/>
                    </a:lnTo>
                    <a:lnTo>
                      <a:pt x="383" y="126"/>
                    </a:lnTo>
                    <a:lnTo>
                      <a:pt x="388" y="131"/>
                    </a:lnTo>
                    <a:lnTo>
                      <a:pt x="383" y="131"/>
                    </a:lnTo>
                    <a:lnTo>
                      <a:pt x="383" y="136"/>
                    </a:lnTo>
                    <a:lnTo>
                      <a:pt x="383" y="141"/>
                    </a:lnTo>
                    <a:lnTo>
                      <a:pt x="388" y="141"/>
                    </a:lnTo>
                    <a:lnTo>
                      <a:pt x="388" y="146"/>
                    </a:lnTo>
                    <a:lnTo>
                      <a:pt x="388" y="151"/>
                    </a:lnTo>
                    <a:lnTo>
                      <a:pt x="393" y="146"/>
                    </a:lnTo>
                    <a:lnTo>
                      <a:pt x="393" y="151"/>
                    </a:lnTo>
                    <a:lnTo>
                      <a:pt x="388" y="156"/>
                    </a:lnTo>
                    <a:lnTo>
                      <a:pt x="393" y="156"/>
                    </a:lnTo>
                    <a:lnTo>
                      <a:pt x="393" y="161"/>
                    </a:lnTo>
                    <a:lnTo>
                      <a:pt x="388" y="166"/>
                    </a:lnTo>
                    <a:lnTo>
                      <a:pt x="388" y="171"/>
                    </a:lnTo>
                    <a:lnTo>
                      <a:pt x="383" y="171"/>
                    </a:lnTo>
                    <a:lnTo>
                      <a:pt x="383" y="177"/>
                    </a:lnTo>
                    <a:lnTo>
                      <a:pt x="383" y="182"/>
                    </a:lnTo>
                    <a:lnTo>
                      <a:pt x="378" y="182"/>
                    </a:lnTo>
                    <a:lnTo>
                      <a:pt x="383" y="192"/>
                    </a:lnTo>
                    <a:lnTo>
                      <a:pt x="388" y="192"/>
                    </a:lnTo>
                    <a:lnTo>
                      <a:pt x="393" y="187"/>
                    </a:lnTo>
                    <a:lnTo>
                      <a:pt x="393" y="192"/>
                    </a:lnTo>
                    <a:lnTo>
                      <a:pt x="398" y="197"/>
                    </a:lnTo>
                    <a:lnTo>
                      <a:pt x="393" y="207"/>
                    </a:lnTo>
                    <a:lnTo>
                      <a:pt x="398" y="212"/>
                    </a:lnTo>
                    <a:lnTo>
                      <a:pt x="398" y="217"/>
                    </a:lnTo>
                    <a:lnTo>
                      <a:pt x="403" y="222"/>
                    </a:lnTo>
                    <a:lnTo>
                      <a:pt x="403" y="217"/>
                    </a:lnTo>
                    <a:lnTo>
                      <a:pt x="408" y="217"/>
                    </a:lnTo>
                    <a:lnTo>
                      <a:pt x="413" y="222"/>
                    </a:lnTo>
                    <a:lnTo>
                      <a:pt x="413" y="227"/>
                    </a:lnTo>
                    <a:lnTo>
                      <a:pt x="413" y="232"/>
                    </a:lnTo>
                    <a:lnTo>
                      <a:pt x="423" y="232"/>
                    </a:lnTo>
                    <a:lnTo>
                      <a:pt x="428" y="247"/>
                    </a:lnTo>
                    <a:lnTo>
                      <a:pt x="433" y="247"/>
                    </a:lnTo>
                    <a:lnTo>
                      <a:pt x="443" y="247"/>
                    </a:lnTo>
                    <a:lnTo>
                      <a:pt x="448" y="252"/>
                    </a:lnTo>
                    <a:lnTo>
                      <a:pt x="448" y="257"/>
                    </a:lnTo>
                    <a:lnTo>
                      <a:pt x="448" y="262"/>
                    </a:lnTo>
                    <a:lnTo>
                      <a:pt x="453" y="267"/>
                    </a:lnTo>
                    <a:lnTo>
                      <a:pt x="458" y="267"/>
                    </a:lnTo>
                    <a:lnTo>
                      <a:pt x="463" y="267"/>
                    </a:lnTo>
                    <a:lnTo>
                      <a:pt x="468" y="272"/>
                    </a:lnTo>
                    <a:lnTo>
                      <a:pt x="474" y="272"/>
                    </a:lnTo>
                    <a:lnTo>
                      <a:pt x="479" y="272"/>
                    </a:lnTo>
                    <a:lnTo>
                      <a:pt x="479" y="277"/>
                    </a:lnTo>
                    <a:lnTo>
                      <a:pt x="474" y="277"/>
                    </a:lnTo>
                    <a:lnTo>
                      <a:pt x="479" y="277"/>
                    </a:lnTo>
                    <a:lnTo>
                      <a:pt x="474" y="282"/>
                    </a:lnTo>
                    <a:lnTo>
                      <a:pt x="474" y="287"/>
                    </a:lnTo>
                    <a:lnTo>
                      <a:pt x="474" y="292"/>
                    </a:lnTo>
                    <a:lnTo>
                      <a:pt x="479" y="287"/>
                    </a:lnTo>
                    <a:lnTo>
                      <a:pt x="484" y="287"/>
                    </a:lnTo>
                    <a:lnTo>
                      <a:pt x="484" y="297"/>
                    </a:lnTo>
                    <a:lnTo>
                      <a:pt x="489" y="297"/>
                    </a:lnTo>
                    <a:lnTo>
                      <a:pt x="489" y="308"/>
                    </a:lnTo>
                    <a:lnTo>
                      <a:pt x="484" y="302"/>
                    </a:lnTo>
                    <a:lnTo>
                      <a:pt x="484" y="308"/>
                    </a:lnTo>
                    <a:lnTo>
                      <a:pt x="489" y="308"/>
                    </a:lnTo>
                    <a:lnTo>
                      <a:pt x="489" y="313"/>
                    </a:lnTo>
                    <a:lnTo>
                      <a:pt x="484" y="313"/>
                    </a:lnTo>
                    <a:lnTo>
                      <a:pt x="484" y="318"/>
                    </a:lnTo>
                    <a:close/>
                  </a:path>
                </a:pathLst>
              </a:custGeom>
              <a:solidFill>
                <a:srgbClr val="84BB5B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494">
                <a:extLst>
                  <a:ext uri="{FF2B5EF4-FFF2-40B4-BE49-F238E27FC236}">
                    <a16:creationId xmlns:a16="http://schemas.microsoft.com/office/drawing/2014/main" id="{4FBAEFF0-311C-6BB4-67C5-4527430D2D59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829058" y="1985292"/>
                <a:ext cx="680449" cy="675284"/>
              </a:xfrm>
              <a:custGeom>
                <a:avLst/>
                <a:gdLst>
                  <a:gd name="T0" fmla="*/ 2147483647 w 438"/>
                  <a:gd name="T1" fmla="*/ 2147483647 h 454"/>
                  <a:gd name="T2" fmla="*/ 2147483647 w 438"/>
                  <a:gd name="T3" fmla="*/ 2147483647 h 454"/>
                  <a:gd name="T4" fmla="*/ 2147483647 w 438"/>
                  <a:gd name="T5" fmla="*/ 2147483647 h 454"/>
                  <a:gd name="T6" fmla="*/ 2147483647 w 438"/>
                  <a:gd name="T7" fmla="*/ 2147483647 h 454"/>
                  <a:gd name="T8" fmla="*/ 2147483647 w 438"/>
                  <a:gd name="T9" fmla="*/ 2147483647 h 454"/>
                  <a:gd name="T10" fmla="*/ 2147483647 w 438"/>
                  <a:gd name="T11" fmla="*/ 2147483647 h 454"/>
                  <a:gd name="T12" fmla="*/ 2147483647 w 438"/>
                  <a:gd name="T13" fmla="*/ 2147483647 h 454"/>
                  <a:gd name="T14" fmla="*/ 2147483647 w 438"/>
                  <a:gd name="T15" fmla="*/ 2147483647 h 454"/>
                  <a:gd name="T16" fmla="*/ 2147483647 w 438"/>
                  <a:gd name="T17" fmla="*/ 2147483647 h 454"/>
                  <a:gd name="T18" fmla="*/ 2147483647 w 438"/>
                  <a:gd name="T19" fmla="*/ 2147483647 h 454"/>
                  <a:gd name="T20" fmla="*/ 2147483647 w 438"/>
                  <a:gd name="T21" fmla="*/ 2147483647 h 454"/>
                  <a:gd name="T22" fmla="*/ 2147483647 w 438"/>
                  <a:gd name="T23" fmla="*/ 2147483647 h 454"/>
                  <a:gd name="T24" fmla="*/ 2147483647 w 438"/>
                  <a:gd name="T25" fmla="*/ 2147483647 h 454"/>
                  <a:gd name="T26" fmla="*/ 2147483647 w 438"/>
                  <a:gd name="T27" fmla="*/ 2147483647 h 454"/>
                  <a:gd name="T28" fmla="*/ 2147483647 w 438"/>
                  <a:gd name="T29" fmla="*/ 2147483647 h 454"/>
                  <a:gd name="T30" fmla="*/ 2147483647 w 438"/>
                  <a:gd name="T31" fmla="*/ 2147483647 h 454"/>
                  <a:gd name="T32" fmla="*/ 2147483647 w 438"/>
                  <a:gd name="T33" fmla="*/ 2147483647 h 454"/>
                  <a:gd name="T34" fmla="*/ 2147483647 w 438"/>
                  <a:gd name="T35" fmla="*/ 2147483647 h 454"/>
                  <a:gd name="T36" fmla="*/ 2147483647 w 438"/>
                  <a:gd name="T37" fmla="*/ 2147483647 h 454"/>
                  <a:gd name="T38" fmla="*/ 2147483647 w 438"/>
                  <a:gd name="T39" fmla="*/ 2147483647 h 454"/>
                  <a:gd name="T40" fmla="*/ 2147483647 w 438"/>
                  <a:gd name="T41" fmla="*/ 2147483647 h 454"/>
                  <a:gd name="T42" fmla="*/ 2147483647 w 438"/>
                  <a:gd name="T43" fmla="*/ 2147483647 h 454"/>
                  <a:gd name="T44" fmla="*/ 2147483647 w 438"/>
                  <a:gd name="T45" fmla="*/ 2147483647 h 454"/>
                  <a:gd name="T46" fmla="*/ 2147483647 w 438"/>
                  <a:gd name="T47" fmla="*/ 2147483647 h 454"/>
                  <a:gd name="T48" fmla="*/ 2147483647 w 438"/>
                  <a:gd name="T49" fmla="*/ 2147483647 h 454"/>
                  <a:gd name="T50" fmla="*/ 2147483647 w 438"/>
                  <a:gd name="T51" fmla="*/ 2147483647 h 454"/>
                  <a:gd name="T52" fmla="*/ 2147483647 w 438"/>
                  <a:gd name="T53" fmla="*/ 2147483647 h 454"/>
                  <a:gd name="T54" fmla="*/ 2147483647 w 438"/>
                  <a:gd name="T55" fmla="*/ 2147483647 h 454"/>
                  <a:gd name="T56" fmla="*/ 2147483647 w 438"/>
                  <a:gd name="T57" fmla="*/ 2147483647 h 454"/>
                  <a:gd name="T58" fmla="*/ 2147483647 w 438"/>
                  <a:gd name="T59" fmla="*/ 2147483647 h 454"/>
                  <a:gd name="T60" fmla="*/ 2147483647 w 438"/>
                  <a:gd name="T61" fmla="*/ 2147483647 h 454"/>
                  <a:gd name="T62" fmla="*/ 2147483647 w 438"/>
                  <a:gd name="T63" fmla="*/ 0 h 454"/>
                  <a:gd name="T64" fmla="*/ 2147483647 w 438"/>
                  <a:gd name="T65" fmla="*/ 2147483647 h 454"/>
                  <a:gd name="T66" fmla="*/ 2147483647 w 438"/>
                  <a:gd name="T67" fmla="*/ 2147483647 h 454"/>
                  <a:gd name="T68" fmla="*/ 2147483647 w 438"/>
                  <a:gd name="T69" fmla="*/ 2147483647 h 454"/>
                  <a:gd name="T70" fmla="*/ 2147483647 w 438"/>
                  <a:gd name="T71" fmla="*/ 2147483647 h 454"/>
                  <a:gd name="T72" fmla="*/ 2147483647 w 438"/>
                  <a:gd name="T73" fmla="*/ 2147483647 h 454"/>
                  <a:gd name="T74" fmla="*/ 2147483647 w 438"/>
                  <a:gd name="T75" fmla="*/ 2147483647 h 454"/>
                  <a:gd name="T76" fmla="*/ 2147483647 w 438"/>
                  <a:gd name="T77" fmla="*/ 2147483647 h 454"/>
                  <a:gd name="T78" fmla="*/ 2147483647 w 438"/>
                  <a:gd name="T79" fmla="*/ 2147483647 h 454"/>
                  <a:gd name="T80" fmla="*/ 2147483647 w 438"/>
                  <a:gd name="T81" fmla="*/ 2147483647 h 454"/>
                  <a:gd name="T82" fmla="*/ 2147483647 w 438"/>
                  <a:gd name="T83" fmla="*/ 2147483647 h 454"/>
                  <a:gd name="T84" fmla="*/ 2147483647 w 438"/>
                  <a:gd name="T85" fmla="*/ 2147483647 h 454"/>
                  <a:gd name="T86" fmla="*/ 2147483647 w 438"/>
                  <a:gd name="T87" fmla="*/ 2147483647 h 454"/>
                  <a:gd name="T88" fmla="*/ 2147483647 w 438"/>
                  <a:gd name="T89" fmla="*/ 2147483647 h 454"/>
                  <a:gd name="T90" fmla="*/ 2147483647 w 438"/>
                  <a:gd name="T91" fmla="*/ 2147483647 h 454"/>
                  <a:gd name="T92" fmla="*/ 2147483647 w 438"/>
                  <a:gd name="T93" fmla="*/ 2147483647 h 454"/>
                  <a:gd name="T94" fmla="*/ 2147483647 w 438"/>
                  <a:gd name="T95" fmla="*/ 2147483647 h 454"/>
                  <a:gd name="T96" fmla="*/ 2147483647 w 438"/>
                  <a:gd name="T97" fmla="*/ 2147483647 h 454"/>
                  <a:gd name="T98" fmla="*/ 2147483647 w 438"/>
                  <a:gd name="T99" fmla="*/ 2147483647 h 454"/>
                  <a:gd name="T100" fmla="*/ 2147483647 w 438"/>
                  <a:gd name="T101" fmla="*/ 2147483647 h 454"/>
                  <a:gd name="T102" fmla="*/ 2147483647 w 438"/>
                  <a:gd name="T103" fmla="*/ 2147483647 h 454"/>
                  <a:gd name="T104" fmla="*/ 2147483647 w 438"/>
                  <a:gd name="T105" fmla="*/ 2147483647 h 454"/>
                  <a:gd name="T106" fmla="*/ 2147483647 w 438"/>
                  <a:gd name="T107" fmla="*/ 2147483647 h 454"/>
                  <a:gd name="T108" fmla="*/ 2147483647 w 438"/>
                  <a:gd name="T109" fmla="*/ 2147483647 h 454"/>
                  <a:gd name="T110" fmla="*/ 2147483647 w 438"/>
                  <a:gd name="T111" fmla="*/ 2147483647 h 454"/>
                  <a:gd name="T112" fmla="*/ 2147483647 w 438"/>
                  <a:gd name="T113" fmla="*/ 2147483647 h 454"/>
                  <a:gd name="T114" fmla="*/ 2147483647 w 438"/>
                  <a:gd name="T115" fmla="*/ 2147483647 h 454"/>
                  <a:gd name="T116" fmla="*/ 2147483647 w 438"/>
                  <a:gd name="T117" fmla="*/ 2147483647 h 454"/>
                  <a:gd name="T118" fmla="*/ 2147483647 w 438"/>
                  <a:gd name="T119" fmla="*/ 2147483647 h 454"/>
                  <a:gd name="T120" fmla="*/ 2147483647 w 438"/>
                  <a:gd name="T121" fmla="*/ 2147483647 h 454"/>
                  <a:gd name="T122" fmla="*/ 2147483647 w 438"/>
                  <a:gd name="T123" fmla="*/ 2147483647 h 45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38"/>
                  <a:gd name="T187" fmla="*/ 0 h 454"/>
                  <a:gd name="T188" fmla="*/ 438 w 438"/>
                  <a:gd name="T189" fmla="*/ 454 h 45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38" h="454">
                    <a:moveTo>
                      <a:pt x="317" y="454"/>
                    </a:moveTo>
                    <a:lnTo>
                      <a:pt x="307" y="454"/>
                    </a:lnTo>
                    <a:lnTo>
                      <a:pt x="302" y="448"/>
                    </a:lnTo>
                    <a:lnTo>
                      <a:pt x="307" y="448"/>
                    </a:lnTo>
                    <a:lnTo>
                      <a:pt x="307" y="443"/>
                    </a:lnTo>
                    <a:lnTo>
                      <a:pt x="302" y="443"/>
                    </a:lnTo>
                    <a:lnTo>
                      <a:pt x="297" y="443"/>
                    </a:lnTo>
                    <a:lnTo>
                      <a:pt x="292" y="438"/>
                    </a:lnTo>
                    <a:lnTo>
                      <a:pt x="287" y="438"/>
                    </a:lnTo>
                    <a:lnTo>
                      <a:pt x="282" y="433"/>
                    </a:lnTo>
                    <a:lnTo>
                      <a:pt x="282" y="438"/>
                    </a:lnTo>
                    <a:lnTo>
                      <a:pt x="282" y="443"/>
                    </a:lnTo>
                    <a:lnTo>
                      <a:pt x="277" y="448"/>
                    </a:lnTo>
                    <a:lnTo>
                      <a:pt x="272" y="448"/>
                    </a:lnTo>
                    <a:lnTo>
                      <a:pt x="262" y="448"/>
                    </a:lnTo>
                    <a:lnTo>
                      <a:pt x="262" y="454"/>
                    </a:lnTo>
                    <a:lnTo>
                      <a:pt x="247" y="454"/>
                    </a:lnTo>
                    <a:lnTo>
                      <a:pt x="247" y="448"/>
                    </a:lnTo>
                    <a:lnTo>
                      <a:pt x="247" y="443"/>
                    </a:lnTo>
                    <a:lnTo>
                      <a:pt x="231" y="443"/>
                    </a:lnTo>
                    <a:lnTo>
                      <a:pt x="231" y="438"/>
                    </a:lnTo>
                    <a:lnTo>
                      <a:pt x="226" y="443"/>
                    </a:lnTo>
                    <a:lnTo>
                      <a:pt x="221" y="438"/>
                    </a:lnTo>
                    <a:lnTo>
                      <a:pt x="221" y="433"/>
                    </a:lnTo>
                    <a:lnTo>
                      <a:pt x="221" y="428"/>
                    </a:lnTo>
                    <a:lnTo>
                      <a:pt x="216" y="428"/>
                    </a:lnTo>
                    <a:lnTo>
                      <a:pt x="221" y="428"/>
                    </a:lnTo>
                    <a:lnTo>
                      <a:pt x="216" y="423"/>
                    </a:lnTo>
                    <a:lnTo>
                      <a:pt x="216" y="418"/>
                    </a:lnTo>
                    <a:lnTo>
                      <a:pt x="211" y="418"/>
                    </a:lnTo>
                    <a:lnTo>
                      <a:pt x="206" y="418"/>
                    </a:lnTo>
                    <a:lnTo>
                      <a:pt x="211" y="413"/>
                    </a:lnTo>
                    <a:lnTo>
                      <a:pt x="206" y="408"/>
                    </a:lnTo>
                    <a:lnTo>
                      <a:pt x="201" y="408"/>
                    </a:lnTo>
                    <a:lnTo>
                      <a:pt x="196" y="408"/>
                    </a:lnTo>
                    <a:lnTo>
                      <a:pt x="191" y="413"/>
                    </a:lnTo>
                    <a:lnTo>
                      <a:pt x="186" y="408"/>
                    </a:lnTo>
                    <a:lnTo>
                      <a:pt x="181" y="403"/>
                    </a:lnTo>
                    <a:lnTo>
                      <a:pt x="181" y="398"/>
                    </a:lnTo>
                    <a:lnTo>
                      <a:pt x="176" y="393"/>
                    </a:lnTo>
                    <a:lnTo>
                      <a:pt x="176" y="398"/>
                    </a:lnTo>
                    <a:lnTo>
                      <a:pt x="171" y="398"/>
                    </a:lnTo>
                    <a:lnTo>
                      <a:pt x="166" y="398"/>
                    </a:lnTo>
                    <a:lnTo>
                      <a:pt x="166" y="403"/>
                    </a:lnTo>
                    <a:lnTo>
                      <a:pt x="166" y="408"/>
                    </a:lnTo>
                    <a:lnTo>
                      <a:pt x="161" y="408"/>
                    </a:lnTo>
                    <a:lnTo>
                      <a:pt x="156" y="408"/>
                    </a:lnTo>
                    <a:lnTo>
                      <a:pt x="151" y="403"/>
                    </a:lnTo>
                    <a:lnTo>
                      <a:pt x="146" y="403"/>
                    </a:lnTo>
                    <a:lnTo>
                      <a:pt x="141" y="398"/>
                    </a:lnTo>
                    <a:lnTo>
                      <a:pt x="136" y="393"/>
                    </a:lnTo>
                    <a:lnTo>
                      <a:pt x="131" y="393"/>
                    </a:lnTo>
                    <a:lnTo>
                      <a:pt x="126" y="393"/>
                    </a:lnTo>
                    <a:lnTo>
                      <a:pt x="126" y="398"/>
                    </a:lnTo>
                    <a:lnTo>
                      <a:pt x="126" y="393"/>
                    </a:lnTo>
                    <a:lnTo>
                      <a:pt x="126" y="388"/>
                    </a:lnTo>
                    <a:lnTo>
                      <a:pt x="121" y="388"/>
                    </a:lnTo>
                    <a:lnTo>
                      <a:pt x="121" y="383"/>
                    </a:lnTo>
                    <a:lnTo>
                      <a:pt x="116" y="383"/>
                    </a:lnTo>
                    <a:lnTo>
                      <a:pt x="116" y="378"/>
                    </a:lnTo>
                    <a:lnTo>
                      <a:pt x="121" y="378"/>
                    </a:lnTo>
                    <a:lnTo>
                      <a:pt x="116" y="378"/>
                    </a:lnTo>
                    <a:lnTo>
                      <a:pt x="116" y="373"/>
                    </a:lnTo>
                    <a:lnTo>
                      <a:pt x="110" y="378"/>
                    </a:lnTo>
                    <a:lnTo>
                      <a:pt x="110" y="373"/>
                    </a:lnTo>
                    <a:lnTo>
                      <a:pt x="110" y="378"/>
                    </a:lnTo>
                    <a:lnTo>
                      <a:pt x="110" y="373"/>
                    </a:lnTo>
                    <a:lnTo>
                      <a:pt x="105" y="373"/>
                    </a:lnTo>
                    <a:lnTo>
                      <a:pt x="105" y="368"/>
                    </a:lnTo>
                    <a:lnTo>
                      <a:pt x="105" y="363"/>
                    </a:lnTo>
                    <a:lnTo>
                      <a:pt x="100" y="363"/>
                    </a:lnTo>
                    <a:lnTo>
                      <a:pt x="95" y="363"/>
                    </a:lnTo>
                    <a:lnTo>
                      <a:pt x="95" y="358"/>
                    </a:lnTo>
                    <a:lnTo>
                      <a:pt x="95" y="353"/>
                    </a:lnTo>
                    <a:lnTo>
                      <a:pt x="95" y="348"/>
                    </a:lnTo>
                    <a:lnTo>
                      <a:pt x="100" y="348"/>
                    </a:lnTo>
                    <a:lnTo>
                      <a:pt x="105" y="348"/>
                    </a:lnTo>
                    <a:lnTo>
                      <a:pt x="116" y="343"/>
                    </a:lnTo>
                    <a:lnTo>
                      <a:pt x="121" y="338"/>
                    </a:lnTo>
                    <a:lnTo>
                      <a:pt x="121" y="333"/>
                    </a:lnTo>
                    <a:lnTo>
                      <a:pt x="116" y="333"/>
                    </a:lnTo>
                    <a:lnTo>
                      <a:pt x="110" y="333"/>
                    </a:lnTo>
                    <a:lnTo>
                      <a:pt x="105" y="333"/>
                    </a:lnTo>
                    <a:lnTo>
                      <a:pt x="105" y="328"/>
                    </a:lnTo>
                    <a:lnTo>
                      <a:pt x="100" y="328"/>
                    </a:lnTo>
                    <a:lnTo>
                      <a:pt x="95" y="323"/>
                    </a:lnTo>
                    <a:lnTo>
                      <a:pt x="90" y="323"/>
                    </a:lnTo>
                    <a:lnTo>
                      <a:pt x="90" y="317"/>
                    </a:lnTo>
                    <a:lnTo>
                      <a:pt x="85" y="317"/>
                    </a:lnTo>
                    <a:lnTo>
                      <a:pt x="85" y="312"/>
                    </a:lnTo>
                    <a:lnTo>
                      <a:pt x="85" y="307"/>
                    </a:lnTo>
                    <a:lnTo>
                      <a:pt x="80" y="307"/>
                    </a:lnTo>
                    <a:lnTo>
                      <a:pt x="75" y="307"/>
                    </a:lnTo>
                    <a:lnTo>
                      <a:pt x="75" y="302"/>
                    </a:lnTo>
                    <a:lnTo>
                      <a:pt x="75" y="297"/>
                    </a:lnTo>
                    <a:lnTo>
                      <a:pt x="75" y="292"/>
                    </a:lnTo>
                    <a:lnTo>
                      <a:pt x="70" y="292"/>
                    </a:lnTo>
                    <a:lnTo>
                      <a:pt x="70" y="287"/>
                    </a:lnTo>
                    <a:lnTo>
                      <a:pt x="65" y="287"/>
                    </a:lnTo>
                    <a:lnTo>
                      <a:pt x="65" y="282"/>
                    </a:lnTo>
                    <a:lnTo>
                      <a:pt x="60" y="282"/>
                    </a:lnTo>
                    <a:lnTo>
                      <a:pt x="60" y="277"/>
                    </a:lnTo>
                    <a:lnTo>
                      <a:pt x="60" y="272"/>
                    </a:lnTo>
                    <a:lnTo>
                      <a:pt x="60" y="267"/>
                    </a:lnTo>
                    <a:lnTo>
                      <a:pt x="55" y="267"/>
                    </a:lnTo>
                    <a:lnTo>
                      <a:pt x="50" y="267"/>
                    </a:lnTo>
                    <a:lnTo>
                      <a:pt x="50" y="262"/>
                    </a:lnTo>
                    <a:lnTo>
                      <a:pt x="45" y="262"/>
                    </a:lnTo>
                    <a:lnTo>
                      <a:pt x="45" y="257"/>
                    </a:lnTo>
                    <a:lnTo>
                      <a:pt x="40" y="257"/>
                    </a:lnTo>
                    <a:lnTo>
                      <a:pt x="35" y="257"/>
                    </a:lnTo>
                    <a:lnTo>
                      <a:pt x="35" y="252"/>
                    </a:lnTo>
                    <a:lnTo>
                      <a:pt x="30" y="247"/>
                    </a:lnTo>
                    <a:lnTo>
                      <a:pt x="30" y="242"/>
                    </a:lnTo>
                    <a:lnTo>
                      <a:pt x="25" y="237"/>
                    </a:lnTo>
                    <a:lnTo>
                      <a:pt x="20" y="237"/>
                    </a:lnTo>
                    <a:lnTo>
                      <a:pt x="15" y="237"/>
                    </a:lnTo>
                    <a:lnTo>
                      <a:pt x="15" y="232"/>
                    </a:lnTo>
                    <a:lnTo>
                      <a:pt x="15" y="227"/>
                    </a:lnTo>
                    <a:lnTo>
                      <a:pt x="15" y="222"/>
                    </a:lnTo>
                    <a:lnTo>
                      <a:pt x="15" y="217"/>
                    </a:lnTo>
                    <a:lnTo>
                      <a:pt x="20" y="217"/>
                    </a:lnTo>
                    <a:lnTo>
                      <a:pt x="15" y="212"/>
                    </a:lnTo>
                    <a:lnTo>
                      <a:pt x="20" y="212"/>
                    </a:lnTo>
                    <a:lnTo>
                      <a:pt x="15" y="212"/>
                    </a:lnTo>
                    <a:lnTo>
                      <a:pt x="15" y="207"/>
                    </a:lnTo>
                    <a:lnTo>
                      <a:pt x="20" y="207"/>
                    </a:lnTo>
                    <a:lnTo>
                      <a:pt x="20" y="202"/>
                    </a:lnTo>
                    <a:lnTo>
                      <a:pt x="15" y="202"/>
                    </a:lnTo>
                    <a:lnTo>
                      <a:pt x="15" y="197"/>
                    </a:lnTo>
                    <a:lnTo>
                      <a:pt x="10" y="197"/>
                    </a:lnTo>
                    <a:lnTo>
                      <a:pt x="10" y="192"/>
                    </a:lnTo>
                    <a:lnTo>
                      <a:pt x="10" y="186"/>
                    </a:lnTo>
                    <a:lnTo>
                      <a:pt x="5" y="186"/>
                    </a:lnTo>
                    <a:lnTo>
                      <a:pt x="10" y="181"/>
                    </a:lnTo>
                    <a:lnTo>
                      <a:pt x="10" y="176"/>
                    </a:lnTo>
                    <a:lnTo>
                      <a:pt x="10" y="171"/>
                    </a:lnTo>
                    <a:lnTo>
                      <a:pt x="5" y="166"/>
                    </a:lnTo>
                    <a:lnTo>
                      <a:pt x="0" y="166"/>
                    </a:lnTo>
                    <a:lnTo>
                      <a:pt x="0" y="161"/>
                    </a:lnTo>
                    <a:lnTo>
                      <a:pt x="5" y="156"/>
                    </a:lnTo>
                    <a:lnTo>
                      <a:pt x="0" y="151"/>
                    </a:lnTo>
                    <a:lnTo>
                      <a:pt x="0" y="146"/>
                    </a:lnTo>
                    <a:lnTo>
                      <a:pt x="5" y="141"/>
                    </a:lnTo>
                    <a:lnTo>
                      <a:pt x="10" y="136"/>
                    </a:lnTo>
                    <a:lnTo>
                      <a:pt x="15" y="136"/>
                    </a:lnTo>
                    <a:lnTo>
                      <a:pt x="20" y="136"/>
                    </a:lnTo>
                    <a:lnTo>
                      <a:pt x="25" y="141"/>
                    </a:lnTo>
                    <a:lnTo>
                      <a:pt x="30" y="141"/>
                    </a:lnTo>
                    <a:lnTo>
                      <a:pt x="35" y="136"/>
                    </a:lnTo>
                    <a:lnTo>
                      <a:pt x="40" y="136"/>
                    </a:lnTo>
                    <a:lnTo>
                      <a:pt x="45" y="136"/>
                    </a:lnTo>
                    <a:lnTo>
                      <a:pt x="45" y="141"/>
                    </a:lnTo>
                    <a:lnTo>
                      <a:pt x="45" y="146"/>
                    </a:lnTo>
                    <a:lnTo>
                      <a:pt x="50" y="146"/>
                    </a:lnTo>
                    <a:lnTo>
                      <a:pt x="55" y="146"/>
                    </a:lnTo>
                    <a:lnTo>
                      <a:pt x="65" y="146"/>
                    </a:lnTo>
                    <a:lnTo>
                      <a:pt x="70" y="146"/>
                    </a:lnTo>
                    <a:lnTo>
                      <a:pt x="70" y="141"/>
                    </a:lnTo>
                    <a:lnTo>
                      <a:pt x="75" y="141"/>
                    </a:lnTo>
                    <a:lnTo>
                      <a:pt x="100" y="106"/>
                    </a:lnTo>
                    <a:lnTo>
                      <a:pt x="105" y="91"/>
                    </a:lnTo>
                    <a:lnTo>
                      <a:pt x="110" y="81"/>
                    </a:lnTo>
                    <a:lnTo>
                      <a:pt x="105" y="76"/>
                    </a:lnTo>
                    <a:lnTo>
                      <a:pt x="105" y="66"/>
                    </a:lnTo>
                    <a:lnTo>
                      <a:pt x="105" y="60"/>
                    </a:lnTo>
                    <a:lnTo>
                      <a:pt x="105" y="55"/>
                    </a:lnTo>
                    <a:lnTo>
                      <a:pt x="105" y="50"/>
                    </a:lnTo>
                    <a:lnTo>
                      <a:pt x="110" y="45"/>
                    </a:lnTo>
                    <a:lnTo>
                      <a:pt x="116" y="40"/>
                    </a:lnTo>
                    <a:lnTo>
                      <a:pt x="131" y="40"/>
                    </a:lnTo>
                    <a:lnTo>
                      <a:pt x="141" y="40"/>
                    </a:lnTo>
                    <a:lnTo>
                      <a:pt x="146" y="35"/>
                    </a:lnTo>
                    <a:lnTo>
                      <a:pt x="151" y="40"/>
                    </a:lnTo>
                    <a:lnTo>
                      <a:pt x="156" y="40"/>
                    </a:lnTo>
                    <a:lnTo>
                      <a:pt x="161" y="40"/>
                    </a:lnTo>
                    <a:lnTo>
                      <a:pt x="166" y="40"/>
                    </a:lnTo>
                    <a:lnTo>
                      <a:pt x="166" y="35"/>
                    </a:lnTo>
                    <a:lnTo>
                      <a:pt x="171" y="30"/>
                    </a:lnTo>
                    <a:lnTo>
                      <a:pt x="176" y="30"/>
                    </a:lnTo>
                    <a:lnTo>
                      <a:pt x="181" y="30"/>
                    </a:lnTo>
                    <a:lnTo>
                      <a:pt x="186" y="30"/>
                    </a:lnTo>
                    <a:lnTo>
                      <a:pt x="196" y="30"/>
                    </a:lnTo>
                    <a:lnTo>
                      <a:pt x="206" y="25"/>
                    </a:lnTo>
                    <a:lnTo>
                      <a:pt x="211" y="25"/>
                    </a:lnTo>
                    <a:lnTo>
                      <a:pt x="211" y="20"/>
                    </a:lnTo>
                    <a:lnTo>
                      <a:pt x="216" y="15"/>
                    </a:lnTo>
                    <a:lnTo>
                      <a:pt x="226" y="5"/>
                    </a:lnTo>
                    <a:lnTo>
                      <a:pt x="231" y="5"/>
                    </a:lnTo>
                    <a:lnTo>
                      <a:pt x="236" y="5"/>
                    </a:lnTo>
                    <a:lnTo>
                      <a:pt x="247" y="5"/>
                    </a:lnTo>
                    <a:lnTo>
                      <a:pt x="247" y="0"/>
                    </a:lnTo>
                    <a:lnTo>
                      <a:pt x="252" y="0"/>
                    </a:lnTo>
                    <a:lnTo>
                      <a:pt x="257" y="5"/>
                    </a:lnTo>
                    <a:lnTo>
                      <a:pt x="262" y="5"/>
                    </a:lnTo>
                    <a:lnTo>
                      <a:pt x="262" y="10"/>
                    </a:lnTo>
                    <a:lnTo>
                      <a:pt x="272" y="10"/>
                    </a:lnTo>
                    <a:lnTo>
                      <a:pt x="277" y="10"/>
                    </a:lnTo>
                    <a:lnTo>
                      <a:pt x="282" y="5"/>
                    </a:lnTo>
                    <a:lnTo>
                      <a:pt x="287" y="5"/>
                    </a:lnTo>
                    <a:lnTo>
                      <a:pt x="292" y="5"/>
                    </a:lnTo>
                    <a:lnTo>
                      <a:pt x="297" y="5"/>
                    </a:lnTo>
                    <a:lnTo>
                      <a:pt x="302" y="5"/>
                    </a:lnTo>
                    <a:lnTo>
                      <a:pt x="302" y="10"/>
                    </a:lnTo>
                    <a:lnTo>
                      <a:pt x="307" y="10"/>
                    </a:lnTo>
                    <a:lnTo>
                      <a:pt x="312" y="5"/>
                    </a:lnTo>
                    <a:lnTo>
                      <a:pt x="322" y="5"/>
                    </a:lnTo>
                    <a:lnTo>
                      <a:pt x="322" y="10"/>
                    </a:lnTo>
                    <a:lnTo>
                      <a:pt x="317" y="15"/>
                    </a:lnTo>
                    <a:lnTo>
                      <a:pt x="317" y="25"/>
                    </a:lnTo>
                    <a:lnTo>
                      <a:pt x="317" y="30"/>
                    </a:lnTo>
                    <a:lnTo>
                      <a:pt x="317" y="35"/>
                    </a:lnTo>
                    <a:lnTo>
                      <a:pt x="317" y="40"/>
                    </a:lnTo>
                    <a:lnTo>
                      <a:pt x="317" y="45"/>
                    </a:lnTo>
                    <a:lnTo>
                      <a:pt x="322" y="45"/>
                    </a:lnTo>
                    <a:lnTo>
                      <a:pt x="327" y="40"/>
                    </a:lnTo>
                    <a:lnTo>
                      <a:pt x="327" y="45"/>
                    </a:lnTo>
                    <a:lnTo>
                      <a:pt x="322" y="50"/>
                    </a:lnTo>
                    <a:lnTo>
                      <a:pt x="322" y="55"/>
                    </a:lnTo>
                    <a:lnTo>
                      <a:pt x="327" y="55"/>
                    </a:lnTo>
                    <a:lnTo>
                      <a:pt x="322" y="66"/>
                    </a:lnTo>
                    <a:lnTo>
                      <a:pt x="322" y="71"/>
                    </a:lnTo>
                    <a:lnTo>
                      <a:pt x="322" y="76"/>
                    </a:lnTo>
                    <a:lnTo>
                      <a:pt x="322" y="81"/>
                    </a:lnTo>
                    <a:lnTo>
                      <a:pt x="317" y="81"/>
                    </a:lnTo>
                    <a:lnTo>
                      <a:pt x="317" y="86"/>
                    </a:lnTo>
                    <a:lnTo>
                      <a:pt x="312" y="81"/>
                    </a:lnTo>
                    <a:lnTo>
                      <a:pt x="307" y="81"/>
                    </a:lnTo>
                    <a:lnTo>
                      <a:pt x="307" y="86"/>
                    </a:lnTo>
                    <a:lnTo>
                      <a:pt x="312" y="86"/>
                    </a:lnTo>
                    <a:lnTo>
                      <a:pt x="312" y="91"/>
                    </a:lnTo>
                    <a:lnTo>
                      <a:pt x="317" y="91"/>
                    </a:lnTo>
                    <a:lnTo>
                      <a:pt x="322" y="91"/>
                    </a:lnTo>
                    <a:lnTo>
                      <a:pt x="322" y="96"/>
                    </a:lnTo>
                    <a:lnTo>
                      <a:pt x="322" y="101"/>
                    </a:lnTo>
                    <a:lnTo>
                      <a:pt x="322" y="111"/>
                    </a:lnTo>
                    <a:lnTo>
                      <a:pt x="327" y="106"/>
                    </a:lnTo>
                    <a:lnTo>
                      <a:pt x="327" y="111"/>
                    </a:lnTo>
                    <a:lnTo>
                      <a:pt x="317" y="116"/>
                    </a:lnTo>
                    <a:lnTo>
                      <a:pt x="317" y="121"/>
                    </a:lnTo>
                    <a:lnTo>
                      <a:pt x="327" y="116"/>
                    </a:lnTo>
                    <a:lnTo>
                      <a:pt x="327" y="121"/>
                    </a:lnTo>
                    <a:lnTo>
                      <a:pt x="332" y="121"/>
                    </a:lnTo>
                    <a:lnTo>
                      <a:pt x="337" y="121"/>
                    </a:lnTo>
                    <a:lnTo>
                      <a:pt x="337" y="131"/>
                    </a:lnTo>
                    <a:lnTo>
                      <a:pt x="337" y="136"/>
                    </a:lnTo>
                    <a:lnTo>
                      <a:pt x="342" y="136"/>
                    </a:lnTo>
                    <a:lnTo>
                      <a:pt x="347" y="141"/>
                    </a:lnTo>
                    <a:lnTo>
                      <a:pt x="352" y="146"/>
                    </a:lnTo>
                    <a:lnTo>
                      <a:pt x="357" y="146"/>
                    </a:lnTo>
                    <a:lnTo>
                      <a:pt x="357" y="141"/>
                    </a:lnTo>
                    <a:lnTo>
                      <a:pt x="352" y="141"/>
                    </a:lnTo>
                    <a:lnTo>
                      <a:pt x="357" y="136"/>
                    </a:lnTo>
                    <a:lnTo>
                      <a:pt x="362" y="141"/>
                    </a:lnTo>
                    <a:lnTo>
                      <a:pt x="368" y="146"/>
                    </a:lnTo>
                    <a:lnTo>
                      <a:pt x="368" y="141"/>
                    </a:lnTo>
                    <a:lnTo>
                      <a:pt x="373" y="141"/>
                    </a:lnTo>
                    <a:lnTo>
                      <a:pt x="373" y="146"/>
                    </a:lnTo>
                    <a:lnTo>
                      <a:pt x="373" y="151"/>
                    </a:lnTo>
                    <a:lnTo>
                      <a:pt x="378" y="151"/>
                    </a:lnTo>
                    <a:lnTo>
                      <a:pt x="378" y="156"/>
                    </a:lnTo>
                    <a:lnTo>
                      <a:pt x="383" y="156"/>
                    </a:lnTo>
                    <a:lnTo>
                      <a:pt x="383" y="161"/>
                    </a:lnTo>
                    <a:lnTo>
                      <a:pt x="388" y="156"/>
                    </a:lnTo>
                    <a:lnTo>
                      <a:pt x="388" y="161"/>
                    </a:lnTo>
                    <a:lnTo>
                      <a:pt x="393" y="161"/>
                    </a:lnTo>
                    <a:lnTo>
                      <a:pt x="398" y="161"/>
                    </a:lnTo>
                    <a:lnTo>
                      <a:pt x="398" y="166"/>
                    </a:lnTo>
                    <a:lnTo>
                      <a:pt x="403" y="171"/>
                    </a:lnTo>
                    <a:lnTo>
                      <a:pt x="403" y="176"/>
                    </a:lnTo>
                    <a:lnTo>
                      <a:pt x="408" y="176"/>
                    </a:lnTo>
                    <a:lnTo>
                      <a:pt x="408" y="171"/>
                    </a:lnTo>
                    <a:lnTo>
                      <a:pt x="413" y="176"/>
                    </a:lnTo>
                    <a:lnTo>
                      <a:pt x="418" y="181"/>
                    </a:lnTo>
                    <a:lnTo>
                      <a:pt x="428" y="186"/>
                    </a:lnTo>
                    <a:lnTo>
                      <a:pt x="428" y="192"/>
                    </a:lnTo>
                    <a:lnTo>
                      <a:pt x="423" y="197"/>
                    </a:lnTo>
                    <a:lnTo>
                      <a:pt x="423" y="202"/>
                    </a:lnTo>
                    <a:lnTo>
                      <a:pt x="418" y="202"/>
                    </a:lnTo>
                    <a:lnTo>
                      <a:pt x="418" y="197"/>
                    </a:lnTo>
                    <a:lnTo>
                      <a:pt x="413" y="197"/>
                    </a:lnTo>
                    <a:lnTo>
                      <a:pt x="413" y="202"/>
                    </a:lnTo>
                    <a:lnTo>
                      <a:pt x="408" y="202"/>
                    </a:lnTo>
                    <a:lnTo>
                      <a:pt x="403" y="207"/>
                    </a:lnTo>
                    <a:lnTo>
                      <a:pt x="408" y="212"/>
                    </a:lnTo>
                    <a:lnTo>
                      <a:pt x="408" y="217"/>
                    </a:lnTo>
                    <a:lnTo>
                      <a:pt x="423" y="212"/>
                    </a:lnTo>
                    <a:lnTo>
                      <a:pt x="438" y="217"/>
                    </a:lnTo>
                    <a:lnTo>
                      <a:pt x="438" y="227"/>
                    </a:lnTo>
                    <a:lnTo>
                      <a:pt x="438" y="232"/>
                    </a:lnTo>
                    <a:lnTo>
                      <a:pt x="438" y="237"/>
                    </a:lnTo>
                    <a:lnTo>
                      <a:pt x="433" y="237"/>
                    </a:lnTo>
                    <a:lnTo>
                      <a:pt x="428" y="242"/>
                    </a:lnTo>
                    <a:lnTo>
                      <a:pt x="423" y="247"/>
                    </a:lnTo>
                    <a:lnTo>
                      <a:pt x="428" y="252"/>
                    </a:lnTo>
                    <a:lnTo>
                      <a:pt x="428" y="262"/>
                    </a:lnTo>
                    <a:lnTo>
                      <a:pt x="428" y="267"/>
                    </a:lnTo>
                    <a:lnTo>
                      <a:pt x="433" y="267"/>
                    </a:lnTo>
                    <a:lnTo>
                      <a:pt x="438" y="272"/>
                    </a:lnTo>
                    <a:lnTo>
                      <a:pt x="438" y="277"/>
                    </a:lnTo>
                    <a:lnTo>
                      <a:pt x="433" y="277"/>
                    </a:lnTo>
                    <a:lnTo>
                      <a:pt x="428" y="277"/>
                    </a:lnTo>
                    <a:lnTo>
                      <a:pt x="423" y="277"/>
                    </a:lnTo>
                    <a:lnTo>
                      <a:pt x="418" y="282"/>
                    </a:lnTo>
                    <a:lnTo>
                      <a:pt x="418" y="287"/>
                    </a:lnTo>
                    <a:lnTo>
                      <a:pt x="418" y="292"/>
                    </a:lnTo>
                    <a:lnTo>
                      <a:pt x="418" y="297"/>
                    </a:lnTo>
                    <a:lnTo>
                      <a:pt x="418" y="302"/>
                    </a:lnTo>
                    <a:lnTo>
                      <a:pt x="418" y="307"/>
                    </a:lnTo>
                    <a:lnTo>
                      <a:pt x="418" y="312"/>
                    </a:lnTo>
                    <a:lnTo>
                      <a:pt x="418" y="323"/>
                    </a:lnTo>
                    <a:lnTo>
                      <a:pt x="418" y="328"/>
                    </a:lnTo>
                    <a:lnTo>
                      <a:pt x="418" y="333"/>
                    </a:lnTo>
                    <a:lnTo>
                      <a:pt x="423" y="338"/>
                    </a:lnTo>
                    <a:lnTo>
                      <a:pt x="418" y="343"/>
                    </a:lnTo>
                    <a:lnTo>
                      <a:pt x="413" y="338"/>
                    </a:lnTo>
                    <a:lnTo>
                      <a:pt x="403" y="328"/>
                    </a:lnTo>
                    <a:lnTo>
                      <a:pt x="403" y="333"/>
                    </a:lnTo>
                    <a:lnTo>
                      <a:pt x="393" y="333"/>
                    </a:lnTo>
                    <a:lnTo>
                      <a:pt x="398" y="328"/>
                    </a:lnTo>
                    <a:lnTo>
                      <a:pt x="393" y="323"/>
                    </a:lnTo>
                    <a:lnTo>
                      <a:pt x="388" y="317"/>
                    </a:lnTo>
                    <a:lnTo>
                      <a:pt x="383" y="323"/>
                    </a:lnTo>
                    <a:lnTo>
                      <a:pt x="378" y="323"/>
                    </a:lnTo>
                    <a:lnTo>
                      <a:pt x="373" y="323"/>
                    </a:lnTo>
                    <a:lnTo>
                      <a:pt x="373" y="328"/>
                    </a:lnTo>
                    <a:lnTo>
                      <a:pt x="368" y="333"/>
                    </a:lnTo>
                    <a:lnTo>
                      <a:pt x="362" y="333"/>
                    </a:lnTo>
                    <a:lnTo>
                      <a:pt x="357" y="338"/>
                    </a:lnTo>
                    <a:lnTo>
                      <a:pt x="352" y="338"/>
                    </a:lnTo>
                    <a:lnTo>
                      <a:pt x="352" y="343"/>
                    </a:lnTo>
                    <a:lnTo>
                      <a:pt x="342" y="343"/>
                    </a:lnTo>
                    <a:lnTo>
                      <a:pt x="337" y="348"/>
                    </a:lnTo>
                    <a:lnTo>
                      <a:pt x="337" y="353"/>
                    </a:lnTo>
                    <a:lnTo>
                      <a:pt x="337" y="348"/>
                    </a:lnTo>
                    <a:lnTo>
                      <a:pt x="337" y="353"/>
                    </a:lnTo>
                    <a:lnTo>
                      <a:pt x="342" y="353"/>
                    </a:lnTo>
                    <a:lnTo>
                      <a:pt x="347" y="358"/>
                    </a:lnTo>
                    <a:lnTo>
                      <a:pt x="342" y="358"/>
                    </a:lnTo>
                    <a:lnTo>
                      <a:pt x="342" y="363"/>
                    </a:lnTo>
                    <a:lnTo>
                      <a:pt x="342" y="358"/>
                    </a:lnTo>
                    <a:lnTo>
                      <a:pt x="337" y="363"/>
                    </a:lnTo>
                    <a:lnTo>
                      <a:pt x="332" y="358"/>
                    </a:lnTo>
                    <a:lnTo>
                      <a:pt x="327" y="358"/>
                    </a:lnTo>
                    <a:lnTo>
                      <a:pt x="327" y="363"/>
                    </a:lnTo>
                    <a:lnTo>
                      <a:pt x="332" y="363"/>
                    </a:lnTo>
                    <a:lnTo>
                      <a:pt x="332" y="373"/>
                    </a:lnTo>
                    <a:lnTo>
                      <a:pt x="332" y="378"/>
                    </a:lnTo>
                    <a:lnTo>
                      <a:pt x="327" y="383"/>
                    </a:lnTo>
                    <a:lnTo>
                      <a:pt x="322" y="383"/>
                    </a:lnTo>
                    <a:lnTo>
                      <a:pt x="317" y="388"/>
                    </a:lnTo>
                    <a:lnTo>
                      <a:pt x="317" y="383"/>
                    </a:lnTo>
                    <a:lnTo>
                      <a:pt x="312" y="383"/>
                    </a:lnTo>
                    <a:lnTo>
                      <a:pt x="307" y="383"/>
                    </a:lnTo>
                    <a:lnTo>
                      <a:pt x="302" y="388"/>
                    </a:lnTo>
                    <a:lnTo>
                      <a:pt x="307" y="393"/>
                    </a:lnTo>
                    <a:lnTo>
                      <a:pt x="312" y="398"/>
                    </a:lnTo>
                    <a:lnTo>
                      <a:pt x="312" y="403"/>
                    </a:lnTo>
                    <a:lnTo>
                      <a:pt x="307" y="403"/>
                    </a:lnTo>
                    <a:lnTo>
                      <a:pt x="302" y="408"/>
                    </a:lnTo>
                    <a:lnTo>
                      <a:pt x="307" y="408"/>
                    </a:lnTo>
                    <a:lnTo>
                      <a:pt x="312" y="408"/>
                    </a:lnTo>
                    <a:lnTo>
                      <a:pt x="312" y="413"/>
                    </a:lnTo>
                    <a:lnTo>
                      <a:pt x="317" y="413"/>
                    </a:lnTo>
                    <a:lnTo>
                      <a:pt x="317" y="418"/>
                    </a:lnTo>
                    <a:lnTo>
                      <a:pt x="317" y="423"/>
                    </a:lnTo>
                    <a:lnTo>
                      <a:pt x="322" y="423"/>
                    </a:lnTo>
                    <a:lnTo>
                      <a:pt x="327" y="423"/>
                    </a:lnTo>
                    <a:lnTo>
                      <a:pt x="327" y="428"/>
                    </a:lnTo>
                    <a:lnTo>
                      <a:pt x="322" y="428"/>
                    </a:lnTo>
                    <a:lnTo>
                      <a:pt x="317" y="428"/>
                    </a:lnTo>
                    <a:lnTo>
                      <a:pt x="322" y="433"/>
                    </a:lnTo>
                    <a:lnTo>
                      <a:pt x="317" y="438"/>
                    </a:lnTo>
                    <a:lnTo>
                      <a:pt x="322" y="443"/>
                    </a:lnTo>
                    <a:lnTo>
                      <a:pt x="317" y="443"/>
                    </a:lnTo>
                    <a:lnTo>
                      <a:pt x="312" y="448"/>
                    </a:lnTo>
                    <a:lnTo>
                      <a:pt x="317" y="454"/>
                    </a:lnTo>
                    <a:close/>
                  </a:path>
                </a:pathLst>
              </a:custGeom>
              <a:solidFill>
                <a:srgbClr val="84BB5B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Freeform 499">
                <a:extLst>
                  <a:ext uri="{FF2B5EF4-FFF2-40B4-BE49-F238E27FC236}">
                    <a16:creationId xmlns:a16="http://schemas.microsoft.com/office/drawing/2014/main" id="{1D6DD3EB-FDA6-B1C4-E5AB-BB9BF99276C6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3514743" y="2962264"/>
                <a:ext cx="1028828" cy="810767"/>
              </a:xfrm>
              <a:custGeom>
                <a:avLst/>
                <a:gdLst>
                  <a:gd name="T0" fmla="*/ 2147483647 w 660"/>
                  <a:gd name="T1" fmla="*/ 2147483647 h 544"/>
                  <a:gd name="T2" fmla="*/ 2147483647 w 660"/>
                  <a:gd name="T3" fmla="*/ 2147483647 h 544"/>
                  <a:gd name="T4" fmla="*/ 2147483647 w 660"/>
                  <a:gd name="T5" fmla="*/ 2147483647 h 544"/>
                  <a:gd name="T6" fmla="*/ 2147483647 w 660"/>
                  <a:gd name="T7" fmla="*/ 2147483647 h 544"/>
                  <a:gd name="T8" fmla="*/ 2147483647 w 660"/>
                  <a:gd name="T9" fmla="*/ 2147483647 h 544"/>
                  <a:gd name="T10" fmla="*/ 2147483647 w 660"/>
                  <a:gd name="T11" fmla="*/ 2147483647 h 544"/>
                  <a:gd name="T12" fmla="*/ 2147483647 w 660"/>
                  <a:gd name="T13" fmla="*/ 2147483647 h 544"/>
                  <a:gd name="T14" fmla="*/ 2147483647 w 660"/>
                  <a:gd name="T15" fmla="*/ 2147483647 h 544"/>
                  <a:gd name="T16" fmla="*/ 2147483647 w 660"/>
                  <a:gd name="T17" fmla="*/ 2147483647 h 544"/>
                  <a:gd name="T18" fmla="*/ 2147483647 w 660"/>
                  <a:gd name="T19" fmla="*/ 2147483647 h 544"/>
                  <a:gd name="T20" fmla="*/ 2147483647 w 660"/>
                  <a:gd name="T21" fmla="*/ 2147483647 h 544"/>
                  <a:gd name="T22" fmla="*/ 2147483647 w 660"/>
                  <a:gd name="T23" fmla="*/ 2147483647 h 544"/>
                  <a:gd name="T24" fmla="*/ 2147483647 w 660"/>
                  <a:gd name="T25" fmla="*/ 2147483647 h 544"/>
                  <a:gd name="T26" fmla="*/ 2147483647 w 660"/>
                  <a:gd name="T27" fmla="*/ 2147483647 h 544"/>
                  <a:gd name="T28" fmla="*/ 2147483647 w 660"/>
                  <a:gd name="T29" fmla="*/ 2147483647 h 544"/>
                  <a:gd name="T30" fmla="*/ 2147483647 w 660"/>
                  <a:gd name="T31" fmla="*/ 2147483647 h 544"/>
                  <a:gd name="T32" fmla="*/ 2147483647 w 660"/>
                  <a:gd name="T33" fmla="*/ 2147483647 h 544"/>
                  <a:gd name="T34" fmla="*/ 2147483647 w 660"/>
                  <a:gd name="T35" fmla="*/ 2147483647 h 544"/>
                  <a:gd name="T36" fmla="*/ 2147483647 w 660"/>
                  <a:gd name="T37" fmla="*/ 2147483647 h 544"/>
                  <a:gd name="T38" fmla="*/ 2147483647 w 660"/>
                  <a:gd name="T39" fmla="*/ 2147483647 h 544"/>
                  <a:gd name="T40" fmla="*/ 2147483647 w 660"/>
                  <a:gd name="T41" fmla="*/ 2147483647 h 544"/>
                  <a:gd name="T42" fmla="*/ 2147483647 w 660"/>
                  <a:gd name="T43" fmla="*/ 2147483647 h 544"/>
                  <a:gd name="T44" fmla="*/ 2147483647 w 660"/>
                  <a:gd name="T45" fmla="*/ 2147483647 h 544"/>
                  <a:gd name="T46" fmla="*/ 2147483647 w 660"/>
                  <a:gd name="T47" fmla="*/ 2147483647 h 544"/>
                  <a:gd name="T48" fmla="*/ 2147483647 w 660"/>
                  <a:gd name="T49" fmla="*/ 2147483647 h 544"/>
                  <a:gd name="T50" fmla="*/ 2147483647 w 660"/>
                  <a:gd name="T51" fmla="*/ 2147483647 h 544"/>
                  <a:gd name="T52" fmla="*/ 2147483647 w 660"/>
                  <a:gd name="T53" fmla="*/ 2147483647 h 544"/>
                  <a:gd name="T54" fmla="*/ 2147483647 w 660"/>
                  <a:gd name="T55" fmla="*/ 2147483647 h 544"/>
                  <a:gd name="T56" fmla="*/ 2147483647 w 660"/>
                  <a:gd name="T57" fmla="*/ 2147483647 h 544"/>
                  <a:gd name="T58" fmla="*/ 2147483647 w 660"/>
                  <a:gd name="T59" fmla="*/ 2147483647 h 544"/>
                  <a:gd name="T60" fmla="*/ 2147483647 w 660"/>
                  <a:gd name="T61" fmla="*/ 2147483647 h 544"/>
                  <a:gd name="T62" fmla="*/ 2147483647 w 660"/>
                  <a:gd name="T63" fmla="*/ 2147483647 h 544"/>
                  <a:gd name="T64" fmla="*/ 2147483647 w 660"/>
                  <a:gd name="T65" fmla="*/ 2147483647 h 544"/>
                  <a:gd name="T66" fmla="*/ 2147483647 w 660"/>
                  <a:gd name="T67" fmla="*/ 2147483647 h 544"/>
                  <a:gd name="T68" fmla="*/ 2147483647 w 660"/>
                  <a:gd name="T69" fmla="*/ 2147483647 h 544"/>
                  <a:gd name="T70" fmla="*/ 2147483647 w 660"/>
                  <a:gd name="T71" fmla="*/ 2147483647 h 544"/>
                  <a:gd name="T72" fmla="*/ 2147483647 w 660"/>
                  <a:gd name="T73" fmla="*/ 2147483647 h 544"/>
                  <a:gd name="T74" fmla="*/ 2147483647 w 660"/>
                  <a:gd name="T75" fmla="*/ 2147483647 h 544"/>
                  <a:gd name="T76" fmla="*/ 2147483647 w 660"/>
                  <a:gd name="T77" fmla="*/ 2147483647 h 544"/>
                  <a:gd name="T78" fmla="*/ 2147483647 w 660"/>
                  <a:gd name="T79" fmla="*/ 2147483647 h 544"/>
                  <a:gd name="T80" fmla="*/ 2147483647 w 660"/>
                  <a:gd name="T81" fmla="*/ 2147483647 h 544"/>
                  <a:gd name="T82" fmla="*/ 2147483647 w 660"/>
                  <a:gd name="T83" fmla="*/ 2147483647 h 544"/>
                  <a:gd name="T84" fmla="*/ 2147483647 w 660"/>
                  <a:gd name="T85" fmla="*/ 2147483647 h 544"/>
                  <a:gd name="T86" fmla="*/ 2147483647 w 660"/>
                  <a:gd name="T87" fmla="*/ 2147483647 h 544"/>
                  <a:gd name="T88" fmla="*/ 2147483647 w 660"/>
                  <a:gd name="T89" fmla="*/ 2147483647 h 544"/>
                  <a:gd name="T90" fmla="*/ 2147483647 w 660"/>
                  <a:gd name="T91" fmla="*/ 2147483647 h 544"/>
                  <a:gd name="T92" fmla="*/ 2147483647 w 660"/>
                  <a:gd name="T93" fmla="*/ 2147483647 h 544"/>
                  <a:gd name="T94" fmla="*/ 2147483647 w 660"/>
                  <a:gd name="T95" fmla="*/ 2147483647 h 544"/>
                  <a:gd name="T96" fmla="*/ 2147483647 w 660"/>
                  <a:gd name="T97" fmla="*/ 2147483647 h 544"/>
                  <a:gd name="T98" fmla="*/ 2147483647 w 660"/>
                  <a:gd name="T99" fmla="*/ 2147483647 h 544"/>
                  <a:gd name="T100" fmla="*/ 2147483647 w 660"/>
                  <a:gd name="T101" fmla="*/ 2147483647 h 544"/>
                  <a:gd name="T102" fmla="*/ 2147483647 w 660"/>
                  <a:gd name="T103" fmla="*/ 2147483647 h 544"/>
                  <a:gd name="T104" fmla="*/ 2147483647 w 660"/>
                  <a:gd name="T105" fmla="*/ 2147483647 h 544"/>
                  <a:gd name="T106" fmla="*/ 2147483647 w 660"/>
                  <a:gd name="T107" fmla="*/ 2147483647 h 544"/>
                  <a:gd name="T108" fmla="*/ 2147483647 w 660"/>
                  <a:gd name="T109" fmla="*/ 2147483647 h 544"/>
                  <a:gd name="T110" fmla="*/ 2147483647 w 660"/>
                  <a:gd name="T111" fmla="*/ 2147483647 h 544"/>
                  <a:gd name="T112" fmla="*/ 2147483647 w 660"/>
                  <a:gd name="T113" fmla="*/ 2147483647 h 544"/>
                  <a:gd name="T114" fmla="*/ 2147483647 w 660"/>
                  <a:gd name="T115" fmla="*/ 2147483647 h 544"/>
                  <a:gd name="T116" fmla="*/ 2147483647 w 660"/>
                  <a:gd name="T117" fmla="*/ 2147483647 h 544"/>
                  <a:gd name="T118" fmla="*/ 2147483647 w 660"/>
                  <a:gd name="T119" fmla="*/ 2147483647 h 544"/>
                  <a:gd name="T120" fmla="*/ 2147483647 w 660"/>
                  <a:gd name="T121" fmla="*/ 2147483647 h 544"/>
                  <a:gd name="T122" fmla="*/ 2147483647 w 660"/>
                  <a:gd name="T123" fmla="*/ 2147483647 h 54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60"/>
                  <a:gd name="T187" fmla="*/ 0 h 544"/>
                  <a:gd name="T188" fmla="*/ 660 w 660"/>
                  <a:gd name="T189" fmla="*/ 544 h 54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60" h="544">
                    <a:moveTo>
                      <a:pt x="630" y="247"/>
                    </a:moveTo>
                    <a:lnTo>
                      <a:pt x="620" y="257"/>
                    </a:lnTo>
                    <a:lnTo>
                      <a:pt x="620" y="262"/>
                    </a:lnTo>
                    <a:lnTo>
                      <a:pt x="615" y="262"/>
                    </a:lnTo>
                    <a:lnTo>
                      <a:pt x="605" y="262"/>
                    </a:lnTo>
                    <a:lnTo>
                      <a:pt x="600" y="262"/>
                    </a:lnTo>
                    <a:lnTo>
                      <a:pt x="595" y="262"/>
                    </a:lnTo>
                    <a:lnTo>
                      <a:pt x="590" y="267"/>
                    </a:lnTo>
                    <a:lnTo>
                      <a:pt x="590" y="272"/>
                    </a:lnTo>
                    <a:lnTo>
                      <a:pt x="580" y="277"/>
                    </a:lnTo>
                    <a:lnTo>
                      <a:pt x="580" y="272"/>
                    </a:lnTo>
                    <a:lnTo>
                      <a:pt x="570" y="277"/>
                    </a:lnTo>
                    <a:lnTo>
                      <a:pt x="564" y="272"/>
                    </a:lnTo>
                    <a:lnTo>
                      <a:pt x="564" y="267"/>
                    </a:lnTo>
                    <a:lnTo>
                      <a:pt x="559" y="272"/>
                    </a:lnTo>
                    <a:lnTo>
                      <a:pt x="559" y="277"/>
                    </a:lnTo>
                    <a:lnTo>
                      <a:pt x="549" y="282"/>
                    </a:lnTo>
                    <a:lnTo>
                      <a:pt x="544" y="277"/>
                    </a:lnTo>
                    <a:lnTo>
                      <a:pt x="539" y="277"/>
                    </a:lnTo>
                    <a:lnTo>
                      <a:pt x="539" y="272"/>
                    </a:lnTo>
                    <a:lnTo>
                      <a:pt x="544" y="272"/>
                    </a:lnTo>
                    <a:lnTo>
                      <a:pt x="549" y="272"/>
                    </a:lnTo>
                    <a:lnTo>
                      <a:pt x="549" y="267"/>
                    </a:lnTo>
                    <a:lnTo>
                      <a:pt x="544" y="262"/>
                    </a:lnTo>
                    <a:lnTo>
                      <a:pt x="544" y="257"/>
                    </a:lnTo>
                    <a:lnTo>
                      <a:pt x="539" y="257"/>
                    </a:lnTo>
                    <a:lnTo>
                      <a:pt x="534" y="252"/>
                    </a:lnTo>
                    <a:lnTo>
                      <a:pt x="529" y="242"/>
                    </a:lnTo>
                    <a:lnTo>
                      <a:pt x="524" y="242"/>
                    </a:lnTo>
                    <a:lnTo>
                      <a:pt x="519" y="237"/>
                    </a:lnTo>
                    <a:lnTo>
                      <a:pt x="524" y="237"/>
                    </a:lnTo>
                    <a:lnTo>
                      <a:pt x="519" y="227"/>
                    </a:lnTo>
                    <a:lnTo>
                      <a:pt x="509" y="237"/>
                    </a:lnTo>
                    <a:lnTo>
                      <a:pt x="509" y="232"/>
                    </a:lnTo>
                    <a:lnTo>
                      <a:pt x="504" y="232"/>
                    </a:lnTo>
                    <a:lnTo>
                      <a:pt x="504" y="227"/>
                    </a:lnTo>
                    <a:lnTo>
                      <a:pt x="499" y="232"/>
                    </a:lnTo>
                    <a:lnTo>
                      <a:pt x="489" y="232"/>
                    </a:lnTo>
                    <a:lnTo>
                      <a:pt x="479" y="242"/>
                    </a:lnTo>
                    <a:lnTo>
                      <a:pt x="474" y="232"/>
                    </a:lnTo>
                    <a:lnTo>
                      <a:pt x="474" y="237"/>
                    </a:lnTo>
                    <a:lnTo>
                      <a:pt x="469" y="237"/>
                    </a:lnTo>
                    <a:lnTo>
                      <a:pt x="464" y="237"/>
                    </a:lnTo>
                    <a:lnTo>
                      <a:pt x="454" y="227"/>
                    </a:lnTo>
                    <a:lnTo>
                      <a:pt x="428" y="257"/>
                    </a:lnTo>
                    <a:lnTo>
                      <a:pt x="428" y="252"/>
                    </a:lnTo>
                    <a:lnTo>
                      <a:pt x="423" y="252"/>
                    </a:lnTo>
                    <a:lnTo>
                      <a:pt x="418" y="252"/>
                    </a:lnTo>
                    <a:lnTo>
                      <a:pt x="413" y="252"/>
                    </a:lnTo>
                    <a:lnTo>
                      <a:pt x="408" y="252"/>
                    </a:lnTo>
                    <a:lnTo>
                      <a:pt x="403" y="252"/>
                    </a:lnTo>
                    <a:lnTo>
                      <a:pt x="398" y="252"/>
                    </a:lnTo>
                    <a:lnTo>
                      <a:pt x="393" y="252"/>
                    </a:lnTo>
                    <a:lnTo>
                      <a:pt x="388" y="252"/>
                    </a:lnTo>
                    <a:lnTo>
                      <a:pt x="383" y="252"/>
                    </a:lnTo>
                    <a:lnTo>
                      <a:pt x="378" y="257"/>
                    </a:lnTo>
                    <a:lnTo>
                      <a:pt x="373" y="257"/>
                    </a:lnTo>
                    <a:lnTo>
                      <a:pt x="368" y="262"/>
                    </a:lnTo>
                    <a:lnTo>
                      <a:pt x="363" y="267"/>
                    </a:lnTo>
                    <a:lnTo>
                      <a:pt x="358" y="267"/>
                    </a:lnTo>
                    <a:lnTo>
                      <a:pt x="353" y="267"/>
                    </a:lnTo>
                    <a:lnTo>
                      <a:pt x="348" y="272"/>
                    </a:lnTo>
                    <a:lnTo>
                      <a:pt x="343" y="277"/>
                    </a:lnTo>
                    <a:lnTo>
                      <a:pt x="343" y="282"/>
                    </a:lnTo>
                    <a:lnTo>
                      <a:pt x="333" y="287"/>
                    </a:lnTo>
                    <a:lnTo>
                      <a:pt x="323" y="292"/>
                    </a:lnTo>
                    <a:lnTo>
                      <a:pt x="318" y="287"/>
                    </a:lnTo>
                    <a:lnTo>
                      <a:pt x="323" y="282"/>
                    </a:lnTo>
                    <a:lnTo>
                      <a:pt x="318" y="277"/>
                    </a:lnTo>
                    <a:lnTo>
                      <a:pt x="313" y="282"/>
                    </a:lnTo>
                    <a:lnTo>
                      <a:pt x="307" y="282"/>
                    </a:lnTo>
                    <a:lnTo>
                      <a:pt x="318" y="302"/>
                    </a:lnTo>
                    <a:lnTo>
                      <a:pt x="313" y="302"/>
                    </a:lnTo>
                    <a:lnTo>
                      <a:pt x="318" y="312"/>
                    </a:lnTo>
                    <a:lnTo>
                      <a:pt x="323" y="312"/>
                    </a:lnTo>
                    <a:lnTo>
                      <a:pt x="323" y="323"/>
                    </a:lnTo>
                    <a:lnTo>
                      <a:pt x="333" y="323"/>
                    </a:lnTo>
                    <a:lnTo>
                      <a:pt x="338" y="333"/>
                    </a:lnTo>
                    <a:lnTo>
                      <a:pt x="333" y="338"/>
                    </a:lnTo>
                    <a:lnTo>
                      <a:pt x="328" y="333"/>
                    </a:lnTo>
                    <a:lnTo>
                      <a:pt x="328" y="338"/>
                    </a:lnTo>
                    <a:lnTo>
                      <a:pt x="318" y="343"/>
                    </a:lnTo>
                    <a:lnTo>
                      <a:pt x="323" y="358"/>
                    </a:lnTo>
                    <a:lnTo>
                      <a:pt x="328" y="353"/>
                    </a:lnTo>
                    <a:lnTo>
                      <a:pt x="333" y="348"/>
                    </a:lnTo>
                    <a:lnTo>
                      <a:pt x="338" y="358"/>
                    </a:lnTo>
                    <a:lnTo>
                      <a:pt x="343" y="358"/>
                    </a:lnTo>
                    <a:lnTo>
                      <a:pt x="343" y="363"/>
                    </a:lnTo>
                    <a:lnTo>
                      <a:pt x="348" y="378"/>
                    </a:lnTo>
                    <a:lnTo>
                      <a:pt x="363" y="373"/>
                    </a:lnTo>
                    <a:lnTo>
                      <a:pt x="363" y="378"/>
                    </a:lnTo>
                    <a:lnTo>
                      <a:pt x="363" y="388"/>
                    </a:lnTo>
                    <a:lnTo>
                      <a:pt x="358" y="388"/>
                    </a:lnTo>
                    <a:lnTo>
                      <a:pt x="363" y="398"/>
                    </a:lnTo>
                    <a:lnTo>
                      <a:pt x="363" y="408"/>
                    </a:lnTo>
                    <a:lnTo>
                      <a:pt x="368" y="408"/>
                    </a:lnTo>
                    <a:lnTo>
                      <a:pt x="368" y="418"/>
                    </a:lnTo>
                    <a:lnTo>
                      <a:pt x="373" y="423"/>
                    </a:lnTo>
                    <a:lnTo>
                      <a:pt x="378" y="423"/>
                    </a:lnTo>
                    <a:lnTo>
                      <a:pt x="378" y="428"/>
                    </a:lnTo>
                    <a:lnTo>
                      <a:pt x="373" y="428"/>
                    </a:lnTo>
                    <a:lnTo>
                      <a:pt x="373" y="433"/>
                    </a:lnTo>
                    <a:lnTo>
                      <a:pt x="368" y="433"/>
                    </a:lnTo>
                    <a:lnTo>
                      <a:pt x="363" y="433"/>
                    </a:lnTo>
                    <a:lnTo>
                      <a:pt x="363" y="438"/>
                    </a:lnTo>
                    <a:lnTo>
                      <a:pt x="358" y="438"/>
                    </a:lnTo>
                    <a:lnTo>
                      <a:pt x="358" y="443"/>
                    </a:lnTo>
                    <a:lnTo>
                      <a:pt x="353" y="438"/>
                    </a:lnTo>
                    <a:lnTo>
                      <a:pt x="348" y="443"/>
                    </a:lnTo>
                    <a:lnTo>
                      <a:pt x="343" y="443"/>
                    </a:lnTo>
                    <a:lnTo>
                      <a:pt x="338" y="443"/>
                    </a:lnTo>
                    <a:lnTo>
                      <a:pt x="333" y="443"/>
                    </a:lnTo>
                    <a:lnTo>
                      <a:pt x="328" y="443"/>
                    </a:lnTo>
                    <a:lnTo>
                      <a:pt x="318" y="443"/>
                    </a:lnTo>
                    <a:lnTo>
                      <a:pt x="313" y="448"/>
                    </a:lnTo>
                    <a:lnTo>
                      <a:pt x="313" y="454"/>
                    </a:lnTo>
                    <a:lnTo>
                      <a:pt x="307" y="459"/>
                    </a:lnTo>
                    <a:lnTo>
                      <a:pt x="302" y="459"/>
                    </a:lnTo>
                    <a:lnTo>
                      <a:pt x="297" y="459"/>
                    </a:lnTo>
                    <a:lnTo>
                      <a:pt x="292" y="459"/>
                    </a:lnTo>
                    <a:lnTo>
                      <a:pt x="287" y="464"/>
                    </a:lnTo>
                    <a:lnTo>
                      <a:pt x="282" y="469"/>
                    </a:lnTo>
                    <a:lnTo>
                      <a:pt x="277" y="474"/>
                    </a:lnTo>
                    <a:lnTo>
                      <a:pt x="272" y="474"/>
                    </a:lnTo>
                    <a:lnTo>
                      <a:pt x="272" y="469"/>
                    </a:lnTo>
                    <a:lnTo>
                      <a:pt x="267" y="469"/>
                    </a:lnTo>
                    <a:lnTo>
                      <a:pt x="267" y="474"/>
                    </a:lnTo>
                    <a:lnTo>
                      <a:pt x="267" y="479"/>
                    </a:lnTo>
                    <a:lnTo>
                      <a:pt x="262" y="479"/>
                    </a:lnTo>
                    <a:lnTo>
                      <a:pt x="262" y="484"/>
                    </a:lnTo>
                    <a:lnTo>
                      <a:pt x="262" y="489"/>
                    </a:lnTo>
                    <a:lnTo>
                      <a:pt x="262" y="494"/>
                    </a:lnTo>
                    <a:lnTo>
                      <a:pt x="257" y="494"/>
                    </a:lnTo>
                    <a:lnTo>
                      <a:pt x="257" y="499"/>
                    </a:lnTo>
                    <a:lnTo>
                      <a:pt x="242" y="504"/>
                    </a:lnTo>
                    <a:lnTo>
                      <a:pt x="232" y="509"/>
                    </a:lnTo>
                    <a:lnTo>
                      <a:pt x="227" y="509"/>
                    </a:lnTo>
                    <a:lnTo>
                      <a:pt x="222" y="509"/>
                    </a:lnTo>
                    <a:lnTo>
                      <a:pt x="217" y="509"/>
                    </a:lnTo>
                    <a:lnTo>
                      <a:pt x="212" y="499"/>
                    </a:lnTo>
                    <a:lnTo>
                      <a:pt x="207" y="499"/>
                    </a:lnTo>
                    <a:lnTo>
                      <a:pt x="156" y="524"/>
                    </a:lnTo>
                    <a:lnTo>
                      <a:pt x="151" y="514"/>
                    </a:lnTo>
                    <a:lnTo>
                      <a:pt x="151" y="519"/>
                    </a:lnTo>
                    <a:lnTo>
                      <a:pt x="146" y="519"/>
                    </a:lnTo>
                    <a:lnTo>
                      <a:pt x="141" y="504"/>
                    </a:lnTo>
                    <a:lnTo>
                      <a:pt x="146" y="504"/>
                    </a:lnTo>
                    <a:lnTo>
                      <a:pt x="141" y="499"/>
                    </a:lnTo>
                    <a:lnTo>
                      <a:pt x="136" y="499"/>
                    </a:lnTo>
                    <a:lnTo>
                      <a:pt x="131" y="504"/>
                    </a:lnTo>
                    <a:lnTo>
                      <a:pt x="121" y="509"/>
                    </a:lnTo>
                    <a:lnTo>
                      <a:pt x="126" y="514"/>
                    </a:lnTo>
                    <a:lnTo>
                      <a:pt x="116" y="524"/>
                    </a:lnTo>
                    <a:lnTo>
                      <a:pt x="101" y="534"/>
                    </a:lnTo>
                    <a:lnTo>
                      <a:pt x="106" y="534"/>
                    </a:lnTo>
                    <a:lnTo>
                      <a:pt x="101" y="544"/>
                    </a:lnTo>
                    <a:lnTo>
                      <a:pt x="101" y="539"/>
                    </a:lnTo>
                    <a:lnTo>
                      <a:pt x="96" y="539"/>
                    </a:lnTo>
                    <a:lnTo>
                      <a:pt x="91" y="539"/>
                    </a:lnTo>
                    <a:lnTo>
                      <a:pt x="91" y="534"/>
                    </a:lnTo>
                    <a:lnTo>
                      <a:pt x="91" y="529"/>
                    </a:lnTo>
                    <a:lnTo>
                      <a:pt x="86" y="534"/>
                    </a:lnTo>
                    <a:lnTo>
                      <a:pt x="81" y="534"/>
                    </a:lnTo>
                    <a:lnTo>
                      <a:pt x="81" y="529"/>
                    </a:lnTo>
                    <a:lnTo>
                      <a:pt x="76" y="529"/>
                    </a:lnTo>
                    <a:lnTo>
                      <a:pt x="71" y="529"/>
                    </a:lnTo>
                    <a:lnTo>
                      <a:pt x="66" y="529"/>
                    </a:lnTo>
                    <a:lnTo>
                      <a:pt x="55" y="529"/>
                    </a:lnTo>
                    <a:lnTo>
                      <a:pt x="55" y="524"/>
                    </a:lnTo>
                    <a:lnTo>
                      <a:pt x="30" y="534"/>
                    </a:lnTo>
                    <a:lnTo>
                      <a:pt x="30" y="529"/>
                    </a:lnTo>
                    <a:lnTo>
                      <a:pt x="35" y="529"/>
                    </a:lnTo>
                    <a:lnTo>
                      <a:pt x="30" y="514"/>
                    </a:lnTo>
                    <a:lnTo>
                      <a:pt x="20" y="499"/>
                    </a:lnTo>
                    <a:lnTo>
                      <a:pt x="25" y="499"/>
                    </a:lnTo>
                    <a:lnTo>
                      <a:pt x="30" y="494"/>
                    </a:lnTo>
                    <a:lnTo>
                      <a:pt x="35" y="489"/>
                    </a:lnTo>
                    <a:lnTo>
                      <a:pt x="30" y="489"/>
                    </a:lnTo>
                    <a:lnTo>
                      <a:pt x="30" y="484"/>
                    </a:lnTo>
                    <a:lnTo>
                      <a:pt x="30" y="479"/>
                    </a:lnTo>
                    <a:lnTo>
                      <a:pt x="25" y="469"/>
                    </a:lnTo>
                    <a:lnTo>
                      <a:pt x="30" y="469"/>
                    </a:lnTo>
                    <a:lnTo>
                      <a:pt x="25" y="459"/>
                    </a:lnTo>
                    <a:lnTo>
                      <a:pt x="25" y="454"/>
                    </a:lnTo>
                    <a:lnTo>
                      <a:pt x="30" y="454"/>
                    </a:lnTo>
                    <a:lnTo>
                      <a:pt x="25" y="448"/>
                    </a:lnTo>
                    <a:lnTo>
                      <a:pt x="15" y="448"/>
                    </a:lnTo>
                    <a:lnTo>
                      <a:pt x="10" y="448"/>
                    </a:lnTo>
                    <a:lnTo>
                      <a:pt x="10" y="443"/>
                    </a:lnTo>
                    <a:lnTo>
                      <a:pt x="10" y="438"/>
                    </a:lnTo>
                    <a:lnTo>
                      <a:pt x="0" y="433"/>
                    </a:lnTo>
                    <a:lnTo>
                      <a:pt x="5" y="433"/>
                    </a:lnTo>
                    <a:lnTo>
                      <a:pt x="10" y="428"/>
                    </a:lnTo>
                    <a:lnTo>
                      <a:pt x="5" y="423"/>
                    </a:lnTo>
                    <a:lnTo>
                      <a:pt x="10" y="423"/>
                    </a:lnTo>
                    <a:lnTo>
                      <a:pt x="5" y="413"/>
                    </a:lnTo>
                    <a:lnTo>
                      <a:pt x="15" y="408"/>
                    </a:lnTo>
                    <a:lnTo>
                      <a:pt x="20" y="403"/>
                    </a:lnTo>
                    <a:lnTo>
                      <a:pt x="25" y="403"/>
                    </a:lnTo>
                    <a:lnTo>
                      <a:pt x="25" y="408"/>
                    </a:lnTo>
                    <a:lnTo>
                      <a:pt x="30" y="408"/>
                    </a:lnTo>
                    <a:lnTo>
                      <a:pt x="25" y="403"/>
                    </a:lnTo>
                    <a:lnTo>
                      <a:pt x="20" y="398"/>
                    </a:lnTo>
                    <a:lnTo>
                      <a:pt x="20" y="393"/>
                    </a:lnTo>
                    <a:lnTo>
                      <a:pt x="35" y="388"/>
                    </a:lnTo>
                    <a:lnTo>
                      <a:pt x="35" y="383"/>
                    </a:lnTo>
                    <a:lnTo>
                      <a:pt x="30" y="388"/>
                    </a:lnTo>
                    <a:lnTo>
                      <a:pt x="25" y="388"/>
                    </a:lnTo>
                    <a:lnTo>
                      <a:pt x="30" y="383"/>
                    </a:lnTo>
                    <a:lnTo>
                      <a:pt x="30" y="378"/>
                    </a:lnTo>
                    <a:lnTo>
                      <a:pt x="25" y="373"/>
                    </a:lnTo>
                    <a:lnTo>
                      <a:pt x="25" y="368"/>
                    </a:lnTo>
                    <a:lnTo>
                      <a:pt x="30" y="368"/>
                    </a:lnTo>
                    <a:lnTo>
                      <a:pt x="35" y="373"/>
                    </a:lnTo>
                    <a:lnTo>
                      <a:pt x="40" y="373"/>
                    </a:lnTo>
                    <a:lnTo>
                      <a:pt x="40" y="378"/>
                    </a:lnTo>
                    <a:lnTo>
                      <a:pt x="45" y="383"/>
                    </a:lnTo>
                    <a:lnTo>
                      <a:pt x="50" y="378"/>
                    </a:lnTo>
                    <a:lnTo>
                      <a:pt x="45" y="378"/>
                    </a:lnTo>
                    <a:lnTo>
                      <a:pt x="40" y="373"/>
                    </a:lnTo>
                    <a:lnTo>
                      <a:pt x="45" y="368"/>
                    </a:lnTo>
                    <a:lnTo>
                      <a:pt x="55" y="363"/>
                    </a:lnTo>
                    <a:lnTo>
                      <a:pt x="61" y="358"/>
                    </a:lnTo>
                    <a:lnTo>
                      <a:pt x="61" y="353"/>
                    </a:lnTo>
                    <a:lnTo>
                      <a:pt x="66" y="348"/>
                    </a:lnTo>
                    <a:lnTo>
                      <a:pt x="71" y="348"/>
                    </a:lnTo>
                    <a:lnTo>
                      <a:pt x="71" y="338"/>
                    </a:lnTo>
                    <a:lnTo>
                      <a:pt x="76" y="338"/>
                    </a:lnTo>
                    <a:lnTo>
                      <a:pt x="71" y="333"/>
                    </a:lnTo>
                    <a:lnTo>
                      <a:pt x="66" y="328"/>
                    </a:lnTo>
                    <a:lnTo>
                      <a:pt x="61" y="317"/>
                    </a:lnTo>
                    <a:lnTo>
                      <a:pt x="61" y="312"/>
                    </a:lnTo>
                    <a:lnTo>
                      <a:pt x="55" y="317"/>
                    </a:lnTo>
                    <a:lnTo>
                      <a:pt x="55" y="312"/>
                    </a:lnTo>
                    <a:lnTo>
                      <a:pt x="50" y="312"/>
                    </a:lnTo>
                    <a:lnTo>
                      <a:pt x="50" y="307"/>
                    </a:lnTo>
                    <a:lnTo>
                      <a:pt x="50" y="302"/>
                    </a:lnTo>
                    <a:lnTo>
                      <a:pt x="55" y="297"/>
                    </a:lnTo>
                    <a:lnTo>
                      <a:pt x="50" y="297"/>
                    </a:lnTo>
                    <a:lnTo>
                      <a:pt x="50" y="292"/>
                    </a:lnTo>
                    <a:lnTo>
                      <a:pt x="40" y="267"/>
                    </a:lnTo>
                    <a:lnTo>
                      <a:pt x="40" y="257"/>
                    </a:lnTo>
                    <a:lnTo>
                      <a:pt x="45" y="257"/>
                    </a:lnTo>
                    <a:lnTo>
                      <a:pt x="45" y="252"/>
                    </a:lnTo>
                    <a:lnTo>
                      <a:pt x="55" y="247"/>
                    </a:lnTo>
                    <a:lnTo>
                      <a:pt x="55" y="252"/>
                    </a:lnTo>
                    <a:lnTo>
                      <a:pt x="61" y="247"/>
                    </a:lnTo>
                    <a:lnTo>
                      <a:pt x="55" y="242"/>
                    </a:lnTo>
                    <a:lnTo>
                      <a:pt x="61" y="237"/>
                    </a:lnTo>
                    <a:lnTo>
                      <a:pt x="66" y="242"/>
                    </a:lnTo>
                    <a:lnTo>
                      <a:pt x="76" y="227"/>
                    </a:lnTo>
                    <a:lnTo>
                      <a:pt x="76" y="222"/>
                    </a:lnTo>
                    <a:lnTo>
                      <a:pt x="81" y="222"/>
                    </a:lnTo>
                    <a:lnTo>
                      <a:pt x="76" y="222"/>
                    </a:lnTo>
                    <a:lnTo>
                      <a:pt x="76" y="217"/>
                    </a:lnTo>
                    <a:lnTo>
                      <a:pt x="81" y="217"/>
                    </a:lnTo>
                    <a:lnTo>
                      <a:pt x="81" y="207"/>
                    </a:lnTo>
                    <a:lnTo>
                      <a:pt x="71" y="212"/>
                    </a:lnTo>
                    <a:lnTo>
                      <a:pt x="66" y="212"/>
                    </a:lnTo>
                    <a:lnTo>
                      <a:pt x="61" y="207"/>
                    </a:lnTo>
                    <a:lnTo>
                      <a:pt x="55" y="207"/>
                    </a:lnTo>
                    <a:lnTo>
                      <a:pt x="50" y="207"/>
                    </a:lnTo>
                    <a:lnTo>
                      <a:pt x="45" y="207"/>
                    </a:lnTo>
                    <a:lnTo>
                      <a:pt x="40" y="207"/>
                    </a:lnTo>
                    <a:lnTo>
                      <a:pt x="35" y="202"/>
                    </a:lnTo>
                    <a:lnTo>
                      <a:pt x="35" y="197"/>
                    </a:lnTo>
                    <a:lnTo>
                      <a:pt x="35" y="191"/>
                    </a:lnTo>
                    <a:lnTo>
                      <a:pt x="40" y="191"/>
                    </a:lnTo>
                    <a:lnTo>
                      <a:pt x="45" y="191"/>
                    </a:lnTo>
                    <a:lnTo>
                      <a:pt x="45" y="186"/>
                    </a:lnTo>
                    <a:lnTo>
                      <a:pt x="50" y="181"/>
                    </a:lnTo>
                    <a:lnTo>
                      <a:pt x="50" y="186"/>
                    </a:lnTo>
                    <a:lnTo>
                      <a:pt x="55" y="181"/>
                    </a:lnTo>
                    <a:lnTo>
                      <a:pt x="61" y="181"/>
                    </a:lnTo>
                    <a:lnTo>
                      <a:pt x="61" y="186"/>
                    </a:lnTo>
                    <a:lnTo>
                      <a:pt x="61" y="181"/>
                    </a:lnTo>
                    <a:lnTo>
                      <a:pt x="66" y="181"/>
                    </a:lnTo>
                    <a:lnTo>
                      <a:pt x="66" y="186"/>
                    </a:lnTo>
                    <a:lnTo>
                      <a:pt x="71" y="181"/>
                    </a:lnTo>
                    <a:lnTo>
                      <a:pt x="71" y="176"/>
                    </a:lnTo>
                    <a:lnTo>
                      <a:pt x="76" y="181"/>
                    </a:lnTo>
                    <a:lnTo>
                      <a:pt x="81" y="186"/>
                    </a:lnTo>
                    <a:lnTo>
                      <a:pt x="81" y="181"/>
                    </a:lnTo>
                    <a:lnTo>
                      <a:pt x="76" y="176"/>
                    </a:lnTo>
                    <a:lnTo>
                      <a:pt x="81" y="176"/>
                    </a:lnTo>
                    <a:lnTo>
                      <a:pt x="76" y="166"/>
                    </a:lnTo>
                    <a:lnTo>
                      <a:pt x="76" y="156"/>
                    </a:lnTo>
                    <a:lnTo>
                      <a:pt x="76" y="146"/>
                    </a:lnTo>
                    <a:lnTo>
                      <a:pt x="81" y="146"/>
                    </a:lnTo>
                    <a:lnTo>
                      <a:pt x="86" y="146"/>
                    </a:lnTo>
                    <a:lnTo>
                      <a:pt x="96" y="151"/>
                    </a:lnTo>
                    <a:lnTo>
                      <a:pt x="101" y="151"/>
                    </a:lnTo>
                    <a:lnTo>
                      <a:pt x="111" y="151"/>
                    </a:lnTo>
                    <a:lnTo>
                      <a:pt x="111" y="156"/>
                    </a:lnTo>
                    <a:lnTo>
                      <a:pt x="116" y="156"/>
                    </a:lnTo>
                    <a:lnTo>
                      <a:pt x="121" y="156"/>
                    </a:lnTo>
                    <a:lnTo>
                      <a:pt x="126" y="161"/>
                    </a:lnTo>
                    <a:lnTo>
                      <a:pt x="131" y="166"/>
                    </a:lnTo>
                    <a:lnTo>
                      <a:pt x="136" y="161"/>
                    </a:lnTo>
                    <a:lnTo>
                      <a:pt x="146" y="166"/>
                    </a:lnTo>
                    <a:lnTo>
                      <a:pt x="151" y="166"/>
                    </a:lnTo>
                    <a:lnTo>
                      <a:pt x="156" y="166"/>
                    </a:lnTo>
                    <a:lnTo>
                      <a:pt x="161" y="171"/>
                    </a:lnTo>
                    <a:lnTo>
                      <a:pt x="161" y="166"/>
                    </a:lnTo>
                    <a:lnTo>
                      <a:pt x="161" y="161"/>
                    </a:lnTo>
                    <a:lnTo>
                      <a:pt x="161" y="151"/>
                    </a:lnTo>
                    <a:lnTo>
                      <a:pt x="156" y="151"/>
                    </a:lnTo>
                    <a:lnTo>
                      <a:pt x="151" y="146"/>
                    </a:lnTo>
                    <a:lnTo>
                      <a:pt x="156" y="146"/>
                    </a:lnTo>
                    <a:lnTo>
                      <a:pt x="161" y="141"/>
                    </a:lnTo>
                    <a:lnTo>
                      <a:pt x="156" y="141"/>
                    </a:lnTo>
                    <a:lnTo>
                      <a:pt x="156" y="136"/>
                    </a:lnTo>
                    <a:lnTo>
                      <a:pt x="156" y="131"/>
                    </a:lnTo>
                    <a:lnTo>
                      <a:pt x="146" y="131"/>
                    </a:lnTo>
                    <a:lnTo>
                      <a:pt x="146" y="126"/>
                    </a:lnTo>
                    <a:lnTo>
                      <a:pt x="146" y="116"/>
                    </a:lnTo>
                    <a:lnTo>
                      <a:pt x="146" y="111"/>
                    </a:lnTo>
                    <a:lnTo>
                      <a:pt x="146" y="101"/>
                    </a:lnTo>
                    <a:lnTo>
                      <a:pt x="141" y="96"/>
                    </a:lnTo>
                    <a:lnTo>
                      <a:pt x="146" y="96"/>
                    </a:lnTo>
                    <a:lnTo>
                      <a:pt x="146" y="91"/>
                    </a:lnTo>
                    <a:lnTo>
                      <a:pt x="146" y="86"/>
                    </a:lnTo>
                    <a:lnTo>
                      <a:pt x="151" y="86"/>
                    </a:lnTo>
                    <a:lnTo>
                      <a:pt x="146" y="81"/>
                    </a:lnTo>
                    <a:lnTo>
                      <a:pt x="151" y="81"/>
                    </a:lnTo>
                    <a:lnTo>
                      <a:pt x="146" y="71"/>
                    </a:lnTo>
                    <a:lnTo>
                      <a:pt x="156" y="76"/>
                    </a:lnTo>
                    <a:lnTo>
                      <a:pt x="161" y="71"/>
                    </a:lnTo>
                    <a:lnTo>
                      <a:pt x="166" y="76"/>
                    </a:lnTo>
                    <a:lnTo>
                      <a:pt x="166" y="71"/>
                    </a:lnTo>
                    <a:lnTo>
                      <a:pt x="171" y="71"/>
                    </a:lnTo>
                    <a:lnTo>
                      <a:pt x="176" y="71"/>
                    </a:lnTo>
                    <a:lnTo>
                      <a:pt x="176" y="66"/>
                    </a:lnTo>
                    <a:lnTo>
                      <a:pt x="171" y="66"/>
                    </a:lnTo>
                    <a:lnTo>
                      <a:pt x="171" y="60"/>
                    </a:lnTo>
                    <a:lnTo>
                      <a:pt x="171" y="55"/>
                    </a:lnTo>
                    <a:lnTo>
                      <a:pt x="176" y="55"/>
                    </a:lnTo>
                    <a:lnTo>
                      <a:pt x="176" y="50"/>
                    </a:lnTo>
                    <a:lnTo>
                      <a:pt x="176" y="55"/>
                    </a:lnTo>
                    <a:lnTo>
                      <a:pt x="181" y="50"/>
                    </a:lnTo>
                    <a:lnTo>
                      <a:pt x="176" y="50"/>
                    </a:lnTo>
                    <a:lnTo>
                      <a:pt x="181" y="45"/>
                    </a:lnTo>
                    <a:lnTo>
                      <a:pt x="187" y="45"/>
                    </a:lnTo>
                    <a:lnTo>
                      <a:pt x="187" y="40"/>
                    </a:lnTo>
                    <a:lnTo>
                      <a:pt x="192" y="40"/>
                    </a:lnTo>
                    <a:lnTo>
                      <a:pt x="197" y="40"/>
                    </a:lnTo>
                    <a:lnTo>
                      <a:pt x="197" y="35"/>
                    </a:lnTo>
                    <a:lnTo>
                      <a:pt x="202" y="30"/>
                    </a:lnTo>
                    <a:lnTo>
                      <a:pt x="197" y="30"/>
                    </a:lnTo>
                    <a:lnTo>
                      <a:pt x="197" y="25"/>
                    </a:lnTo>
                    <a:lnTo>
                      <a:pt x="202" y="25"/>
                    </a:lnTo>
                    <a:lnTo>
                      <a:pt x="207" y="25"/>
                    </a:lnTo>
                    <a:lnTo>
                      <a:pt x="207" y="20"/>
                    </a:lnTo>
                    <a:lnTo>
                      <a:pt x="212" y="15"/>
                    </a:lnTo>
                    <a:lnTo>
                      <a:pt x="217" y="15"/>
                    </a:lnTo>
                    <a:lnTo>
                      <a:pt x="222" y="15"/>
                    </a:lnTo>
                    <a:lnTo>
                      <a:pt x="222" y="20"/>
                    </a:lnTo>
                    <a:lnTo>
                      <a:pt x="217" y="20"/>
                    </a:lnTo>
                    <a:lnTo>
                      <a:pt x="217" y="25"/>
                    </a:lnTo>
                    <a:lnTo>
                      <a:pt x="227" y="20"/>
                    </a:lnTo>
                    <a:lnTo>
                      <a:pt x="227" y="15"/>
                    </a:lnTo>
                    <a:lnTo>
                      <a:pt x="227" y="10"/>
                    </a:lnTo>
                    <a:lnTo>
                      <a:pt x="232" y="10"/>
                    </a:lnTo>
                    <a:lnTo>
                      <a:pt x="232" y="15"/>
                    </a:lnTo>
                    <a:lnTo>
                      <a:pt x="237" y="15"/>
                    </a:lnTo>
                    <a:lnTo>
                      <a:pt x="242" y="15"/>
                    </a:lnTo>
                    <a:lnTo>
                      <a:pt x="247" y="10"/>
                    </a:lnTo>
                    <a:lnTo>
                      <a:pt x="247" y="5"/>
                    </a:lnTo>
                    <a:lnTo>
                      <a:pt x="252" y="5"/>
                    </a:lnTo>
                    <a:lnTo>
                      <a:pt x="252" y="10"/>
                    </a:lnTo>
                    <a:lnTo>
                      <a:pt x="257" y="5"/>
                    </a:lnTo>
                    <a:lnTo>
                      <a:pt x="262" y="5"/>
                    </a:lnTo>
                    <a:lnTo>
                      <a:pt x="267" y="5"/>
                    </a:lnTo>
                    <a:lnTo>
                      <a:pt x="272" y="5"/>
                    </a:lnTo>
                    <a:lnTo>
                      <a:pt x="277" y="5"/>
                    </a:lnTo>
                    <a:lnTo>
                      <a:pt x="277" y="10"/>
                    </a:lnTo>
                    <a:lnTo>
                      <a:pt x="282" y="15"/>
                    </a:lnTo>
                    <a:lnTo>
                      <a:pt x="287" y="15"/>
                    </a:lnTo>
                    <a:lnTo>
                      <a:pt x="297" y="20"/>
                    </a:lnTo>
                    <a:lnTo>
                      <a:pt x="307" y="20"/>
                    </a:lnTo>
                    <a:lnTo>
                      <a:pt x="323" y="25"/>
                    </a:lnTo>
                    <a:lnTo>
                      <a:pt x="328" y="25"/>
                    </a:lnTo>
                    <a:lnTo>
                      <a:pt x="333" y="30"/>
                    </a:lnTo>
                    <a:lnTo>
                      <a:pt x="338" y="30"/>
                    </a:lnTo>
                    <a:lnTo>
                      <a:pt x="343" y="30"/>
                    </a:lnTo>
                    <a:lnTo>
                      <a:pt x="343" y="25"/>
                    </a:lnTo>
                    <a:lnTo>
                      <a:pt x="348" y="25"/>
                    </a:lnTo>
                    <a:lnTo>
                      <a:pt x="353" y="25"/>
                    </a:lnTo>
                    <a:lnTo>
                      <a:pt x="353" y="20"/>
                    </a:lnTo>
                    <a:lnTo>
                      <a:pt x="358" y="20"/>
                    </a:lnTo>
                    <a:lnTo>
                      <a:pt x="363" y="25"/>
                    </a:lnTo>
                    <a:lnTo>
                      <a:pt x="363" y="20"/>
                    </a:lnTo>
                    <a:lnTo>
                      <a:pt x="368" y="20"/>
                    </a:lnTo>
                    <a:lnTo>
                      <a:pt x="373" y="20"/>
                    </a:lnTo>
                    <a:lnTo>
                      <a:pt x="373" y="25"/>
                    </a:lnTo>
                    <a:lnTo>
                      <a:pt x="378" y="25"/>
                    </a:lnTo>
                    <a:lnTo>
                      <a:pt x="378" y="20"/>
                    </a:lnTo>
                    <a:lnTo>
                      <a:pt x="383" y="20"/>
                    </a:lnTo>
                    <a:lnTo>
                      <a:pt x="388" y="20"/>
                    </a:lnTo>
                    <a:lnTo>
                      <a:pt x="388" y="15"/>
                    </a:lnTo>
                    <a:lnTo>
                      <a:pt x="393" y="20"/>
                    </a:lnTo>
                    <a:lnTo>
                      <a:pt x="398" y="20"/>
                    </a:lnTo>
                    <a:lnTo>
                      <a:pt x="398" y="15"/>
                    </a:lnTo>
                    <a:lnTo>
                      <a:pt x="403" y="15"/>
                    </a:lnTo>
                    <a:lnTo>
                      <a:pt x="403" y="10"/>
                    </a:lnTo>
                    <a:lnTo>
                      <a:pt x="403" y="5"/>
                    </a:lnTo>
                    <a:lnTo>
                      <a:pt x="408" y="5"/>
                    </a:lnTo>
                    <a:lnTo>
                      <a:pt x="413" y="5"/>
                    </a:lnTo>
                    <a:lnTo>
                      <a:pt x="413" y="0"/>
                    </a:lnTo>
                    <a:lnTo>
                      <a:pt x="418" y="0"/>
                    </a:lnTo>
                    <a:lnTo>
                      <a:pt x="428" y="5"/>
                    </a:lnTo>
                    <a:lnTo>
                      <a:pt x="423" y="10"/>
                    </a:lnTo>
                    <a:lnTo>
                      <a:pt x="433" y="15"/>
                    </a:lnTo>
                    <a:lnTo>
                      <a:pt x="433" y="25"/>
                    </a:lnTo>
                    <a:lnTo>
                      <a:pt x="439" y="25"/>
                    </a:lnTo>
                    <a:lnTo>
                      <a:pt x="439" y="30"/>
                    </a:lnTo>
                    <a:lnTo>
                      <a:pt x="449" y="35"/>
                    </a:lnTo>
                    <a:lnTo>
                      <a:pt x="449" y="40"/>
                    </a:lnTo>
                    <a:lnTo>
                      <a:pt x="459" y="35"/>
                    </a:lnTo>
                    <a:lnTo>
                      <a:pt x="464" y="35"/>
                    </a:lnTo>
                    <a:lnTo>
                      <a:pt x="464" y="40"/>
                    </a:lnTo>
                    <a:lnTo>
                      <a:pt x="469" y="45"/>
                    </a:lnTo>
                    <a:lnTo>
                      <a:pt x="469" y="50"/>
                    </a:lnTo>
                    <a:lnTo>
                      <a:pt x="469" y="55"/>
                    </a:lnTo>
                    <a:lnTo>
                      <a:pt x="484" y="60"/>
                    </a:lnTo>
                    <a:lnTo>
                      <a:pt x="499" y="60"/>
                    </a:lnTo>
                    <a:lnTo>
                      <a:pt x="499" y="71"/>
                    </a:lnTo>
                    <a:lnTo>
                      <a:pt x="499" y="76"/>
                    </a:lnTo>
                    <a:lnTo>
                      <a:pt x="514" y="81"/>
                    </a:lnTo>
                    <a:lnTo>
                      <a:pt x="509" y="91"/>
                    </a:lnTo>
                    <a:lnTo>
                      <a:pt x="514" y="96"/>
                    </a:lnTo>
                    <a:lnTo>
                      <a:pt x="519" y="86"/>
                    </a:lnTo>
                    <a:lnTo>
                      <a:pt x="529" y="81"/>
                    </a:lnTo>
                    <a:lnTo>
                      <a:pt x="534" y="66"/>
                    </a:lnTo>
                    <a:lnTo>
                      <a:pt x="529" y="60"/>
                    </a:lnTo>
                    <a:lnTo>
                      <a:pt x="534" y="60"/>
                    </a:lnTo>
                    <a:lnTo>
                      <a:pt x="534" y="50"/>
                    </a:lnTo>
                    <a:lnTo>
                      <a:pt x="549" y="55"/>
                    </a:lnTo>
                    <a:lnTo>
                      <a:pt x="554" y="55"/>
                    </a:lnTo>
                    <a:lnTo>
                      <a:pt x="559" y="60"/>
                    </a:lnTo>
                    <a:lnTo>
                      <a:pt x="570" y="55"/>
                    </a:lnTo>
                    <a:lnTo>
                      <a:pt x="570" y="50"/>
                    </a:lnTo>
                    <a:lnTo>
                      <a:pt x="580" y="45"/>
                    </a:lnTo>
                    <a:lnTo>
                      <a:pt x="585" y="50"/>
                    </a:lnTo>
                    <a:lnTo>
                      <a:pt x="590" y="45"/>
                    </a:lnTo>
                    <a:lnTo>
                      <a:pt x="595" y="45"/>
                    </a:lnTo>
                    <a:lnTo>
                      <a:pt x="600" y="50"/>
                    </a:lnTo>
                    <a:lnTo>
                      <a:pt x="610" y="50"/>
                    </a:lnTo>
                    <a:lnTo>
                      <a:pt x="615" y="55"/>
                    </a:lnTo>
                    <a:lnTo>
                      <a:pt x="620" y="60"/>
                    </a:lnTo>
                    <a:lnTo>
                      <a:pt x="610" y="66"/>
                    </a:lnTo>
                    <a:lnTo>
                      <a:pt x="615" y="71"/>
                    </a:lnTo>
                    <a:lnTo>
                      <a:pt x="610" y="71"/>
                    </a:lnTo>
                    <a:lnTo>
                      <a:pt x="615" y="81"/>
                    </a:lnTo>
                    <a:lnTo>
                      <a:pt x="620" y="86"/>
                    </a:lnTo>
                    <a:lnTo>
                      <a:pt x="620" y="91"/>
                    </a:lnTo>
                    <a:lnTo>
                      <a:pt x="615" y="91"/>
                    </a:lnTo>
                    <a:lnTo>
                      <a:pt x="620" y="101"/>
                    </a:lnTo>
                    <a:lnTo>
                      <a:pt x="620" y="106"/>
                    </a:lnTo>
                    <a:lnTo>
                      <a:pt x="625" y="111"/>
                    </a:lnTo>
                    <a:lnTo>
                      <a:pt x="630" y="111"/>
                    </a:lnTo>
                    <a:lnTo>
                      <a:pt x="635" y="111"/>
                    </a:lnTo>
                    <a:lnTo>
                      <a:pt x="645" y="111"/>
                    </a:lnTo>
                    <a:lnTo>
                      <a:pt x="655" y="136"/>
                    </a:lnTo>
                    <a:lnTo>
                      <a:pt x="650" y="146"/>
                    </a:lnTo>
                    <a:lnTo>
                      <a:pt x="655" y="161"/>
                    </a:lnTo>
                    <a:lnTo>
                      <a:pt x="660" y="166"/>
                    </a:lnTo>
                    <a:lnTo>
                      <a:pt x="660" y="171"/>
                    </a:lnTo>
                    <a:lnTo>
                      <a:pt x="660" y="176"/>
                    </a:lnTo>
                    <a:lnTo>
                      <a:pt x="655" y="171"/>
                    </a:lnTo>
                    <a:lnTo>
                      <a:pt x="655" y="181"/>
                    </a:lnTo>
                    <a:lnTo>
                      <a:pt x="650" y="181"/>
                    </a:lnTo>
                    <a:lnTo>
                      <a:pt x="645" y="181"/>
                    </a:lnTo>
                    <a:lnTo>
                      <a:pt x="640" y="181"/>
                    </a:lnTo>
                    <a:lnTo>
                      <a:pt x="640" y="186"/>
                    </a:lnTo>
                    <a:lnTo>
                      <a:pt x="640" y="181"/>
                    </a:lnTo>
                    <a:lnTo>
                      <a:pt x="635" y="181"/>
                    </a:lnTo>
                    <a:lnTo>
                      <a:pt x="630" y="176"/>
                    </a:lnTo>
                    <a:lnTo>
                      <a:pt x="625" y="176"/>
                    </a:lnTo>
                    <a:lnTo>
                      <a:pt x="620" y="181"/>
                    </a:lnTo>
                    <a:lnTo>
                      <a:pt x="620" y="176"/>
                    </a:lnTo>
                    <a:lnTo>
                      <a:pt x="615" y="181"/>
                    </a:lnTo>
                    <a:lnTo>
                      <a:pt x="610" y="181"/>
                    </a:lnTo>
                    <a:lnTo>
                      <a:pt x="610" y="186"/>
                    </a:lnTo>
                    <a:lnTo>
                      <a:pt x="610" y="191"/>
                    </a:lnTo>
                    <a:lnTo>
                      <a:pt x="615" y="202"/>
                    </a:lnTo>
                    <a:lnTo>
                      <a:pt x="615" y="207"/>
                    </a:lnTo>
                    <a:lnTo>
                      <a:pt x="615" y="212"/>
                    </a:lnTo>
                    <a:lnTo>
                      <a:pt x="620" y="217"/>
                    </a:lnTo>
                    <a:lnTo>
                      <a:pt x="625" y="217"/>
                    </a:lnTo>
                    <a:lnTo>
                      <a:pt x="630" y="227"/>
                    </a:lnTo>
                    <a:lnTo>
                      <a:pt x="625" y="227"/>
                    </a:lnTo>
                    <a:lnTo>
                      <a:pt x="625" y="232"/>
                    </a:lnTo>
                    <a:lnTo>
                      <a:pt x="620" y="237"/>
                    </a:lnTo>
                    <a:lnTo>
                      <a:pt x="620" y="242"/>
                    </a:lnTo>
                    <a:lnTo>
                      <a:pt x="625" y="242"/>
                    </a:lnTo>
                    <a:lnTo>
                      <a:pt x="630" y="247"/>
                    </a:lnTo>
                    <a:close/>
                  </a:path>
                </a:pathLst>
              </a:custGeom>
              <a:solidFill>
                <a:srgbClr val="E1974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512">
                <a:extLst>
                  <a:ext uri="{FF2B5EF4-FFF2-40B4-BE49-F238E27FC236}">
                    <a16:creationId xmlns:a16="http://schemas.microsoft.com/office/drawing/2014/main" id="{CDBD8499-768F-E934-335D-E4952B5BF103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1775532" y="2093260"/>
                <a:ext cx="782981" cy="832103"/>
              </a:xfrm>
              <a:custGeom>
                <a:avLst/>
                <a:gdLst>
                  <a:gd name="T0" fmla="*/ 2147483647 w 498"/>
                  <a:gd name="T1" fmla="*/ 2147483647 h 559"/>
                  <a:gd name="T2" fmla="*/ 2147483647 w 498"/>
                  <a:gd name="T3" fmla="*/ 2147483647 h 559"/>
                  <a:gd name="T4" fmla="*/ 2147483647 w 498"/>
                  <a:gd name="T5" fmla="*/ 2147483647 h 559"/>
                  <a:gd name="T6" fmla="*/ 2147483647 w 498"/>
                  <a:gd name="T7" fmla="*/ 2147483647 h 559"/>
                  <a:gd name="T8" fmla="*/ 2147483647 w 498"/>
                  <a:gd name="T9" fmla="*/ 2147483647 h 559"/>
                  <a:gd name="T10" fmla="*/ 2147483647 w 498"/>
                  <a:gd name="T11" fmla="*/ 2147483647 h 559"/>
                  <a:gd name="T12" fmla="*/ 2147483647 w 498"/>
                  <a:gd name="T13" fmla="*/ 2147483647 h 559"/>
                  <a:gd name="T14" fmla="*/ 2147483647 w 498"/>
                  <a:gd name="T15" fmla="*/ 2147483647 h 559"/>
                  <a:gd name="T16" fmla="*/ 2147483647 w 498"/>
                  <a:gd name="T17" fmla="*/ 2147483647 h 559"/>
                  <a:gd name="T18" fmla="*/ 2147483647 w 498"/>
                  <a:gd name="T19" fmla="*/ 2147483647 h 559"/>
                  <a:gd name="T20" fmla="*/ 2147483647 w 498"/>
                  <a:gd name="T21" fmla="*/ 2147483647 h 559"/>
                  <a:gd name="T22" fmla="*/ 2147483647 w 498"/>
                  <a:gd name="T23" fmla="*/ 2147483647 h 559"/>
                  <a:gd name="T24" fmla="*/ 2147483647 w 498"/>
                  <a:gd name="T25" fmla="*/ 2147483647 h 559"/>
                  <a:gd name="T26" fmla="*/ 2147483647 w 498"/>
                  <a:gd name="T27" fmla="*/ 2147483647 h 559"/>
                  <a:gd name="T28" fmla="*/ 2147483647 w 498"/>
                  <a:gd name="T29" fmla="*/ 2147483647 h 559"/>
                  <a:gd name="T30" fmla="*/ 2147483647 w 498"/>
                  <a:gd name="T31" fmla="*/ 2147483647 h 559"/>
                  <a:gd name="T32" fmla="*/ 2147483647 w 498"/>
                  <a:gd name="T33" fmla="*/ 2147483647 h 559"/>
                  <a:gd name="T34" fmla="*/ 2147483647 w 498"/>
                  <a:gd name="T35" fmla="*/ 2147483647 h 559"/>
                  <a:gd name="T36" fmla="*/ 2116745462 w 498"/>
                  <a:gd name="T37" fmla="*/ 2147483647 h 559"/>
                  <a:gd name="T38" fmla="*/ 1713550915 w 498"/>
                  <a:gd name="T39" fmla="*/ 2147483647 h 559"/>
                  <a:gd name="T40" fmla="*/ 1209566023 w 498"/>
                  <a:gd name="T41" fmla="*/ 2147483647 h 559"/>
                  <a:gd name="T42" fmla="*/ 1007968749 w 498"/>
                  <a:gd name="T43" fmla="*/ 2147483647 h 559"/>
                  <a:gd name="T44" fmla="*/ 604783011 w 498"/>
                  <a:gd name="T45" fmla="*/ 2147483647 h 559"/>
                  <a:gd name="T46" fmla="*/ 705581993 w 498"/>
                  <a:gd name="T47" fmla="*/ 2147483647 h 559"/>
                  <a:gd name="T48" fmla="*/ 201597532 w 498"/>
                  <a:gd name="T49" fmla="*/ 2147483647 h 559"/>
                  <a:gd name="T50" fmla="*/ 403185738 w 498"/>
                  <a:gd name="T51" fmla="*/ 2147483647 h 559"/>
                  <a:gd name="T52" fmla="*/ 503984375 w 498"/>
                  <a:gd name="T53" fmla="*/ 2147483647 h 559"/>
                  <a:gd name="T54" fmla="*/ 604783011 w 498"/>
                  <a:gd name="T55" fmla="*/ 2147483647 h 559"/>
                  <a:gd name="T56" fmla="*/ 503984375 w 498"/>
                  <a:gd name="T57" fmla="*/ 2147483647 h 559"/>
                  <a:gd name="T58" fmla="*/ 907179440 w 498"/>
                  <a:gd name="T59" fmla="*/ 2147483647 h 559"/>
                  <a:gd name="T60" fmla="*/ 1108767731 w 498"/>
                  <a:gd name="T61" fmla="*/ 2147483647 h 559"/>
                  <a:gd name="T62" fmla="*/ 1411163987 w 498"/>
                  <a:gd name="T63" fmla="*/ 2076490345 h 559"/>
                  <a:gd name="T64" fmla="*/ 1612751242 w 498"/>
                  <a:gd name="T65" fmla="*/ 1687139520 h 559"/>
                  <a:gd name="T66" fmla="*/ 2116745462 w 498"/>
                  <a:gd name="T67" fmla="*/ 1687139520 h 559"/>
                  <a:gd name="T68" fmla="*/ 2147483647 w 498"/>
                  <a:gd name="T69" fmla="*/ 1038239457 h 559"/>
                  <a:gd name="T70" fmla="*/ 2147483647 w 498"/>
                  <a:gd name="T71" fmla="*/ 1168026400 h 559"/>
                  <a:gd name="T72" fmla="*/ 2147483647 w 498"/>
                  <a:gd name="T73" fmla="*/ 1168026400 h 559"/>
                  <a:gd name="T74" fmla="*/ 2147483647 w 498"/>
                  <a:gd name="T75" fmla="*/ 1168026400 h 559"/>
                  <a:gd name="T76" fmla="*/ 2147483647 w 498"/>
                  <a:gd name="T77" fmla="*/ 1687139520 h 559"/>
                  <a:gd name="T78" fmla="*/ 2147483647 w 498"/>
                  <a:gd name="T79" fmla="*/ 1687139520 h 559"/>
                  <a:gd name="T80" fmla="*/ 2147483647 w 498"/>
                  <a:gd name="T81" fmla="*/ 648901313 h 559"/>
                  <a:gd name="T82" fmla="*/ 2147483647 w 498"/>
                  <a:gd name="T83" fmla="*/ 0 h 559"/>
                  <a:gd name="T84" fmla="*/ 2147483647 w 498"/>
                  <a:gd name="T85" fmla="*/ 389338144 h 559"/>
                  <a:gd name="T86" fmla="*/ 2147483647 w 498"/>
                  <a:gd name="T87" fmla="*/ 1297802626 h 559"/>
                  <a:gd name="T88" fmla="*/ 2147483647 w 498"/>
                  <a:gd name="T89" fmla="*/ 2147483647 h 559"/>
                  <a:gd name="T90" fmla="*/ 2147483647 w 498"/>
                  <a:gd name="T91" fmla="*/ 2147483647 h 559"/>
                  <a:gd name="T92" fmla="*/ 2147483647 w 498"/>
                  <a:gd name="T93" fmla="*/ 2147483647 h 559"/>
                  <a:gd name="T94" fmla="*/ 2147483647 w 498"/>
                  <a:gd name="T95" fmla="*/ 2147483647 h 559"/>
                  <a:gd name="T96" fmla="*/ 2147483647 w 498"/>
                  <a:gd name="T97" fmla="*/ 2147483647 h 559"/>
                  <a:gd name="T98" fmla="*/ 2147483647 w 498"/>
                  <a:gd name="T99" fmla="*/ 2147483647 h 559"/>
                  <a:gd name="T100" fmla="*/ 2147483647 w 498"/>
                  <a:gd name="T101" fmla="*/ 2147483647 h 559"/>
                  <a:gd name="T102" fmla="*/ 2147483647 w 498"/>
                  <a:gd name="T103" fmla="*/ 2147483647 h 559"/>
                  <a:gd name="T104" fmla="*/ 2147483647 w 498"/>
                  <a:gd name="T105" fmla="*/ 2147483647 h 559"/>
                  <a:gd name="T106" fmla="*/ 2147483647 w 498"/>
                  <a:gd name="T107" fmla="*/ 2147483647 h 559"/>
                  <a:gd name="T108" fmla="*/ 2147483647 w 498"/>
                  <a:gd name="T109" fmla="*/ 2147483647 h 559"/>
                  <a:gd name="T110" fmla="*/ 2147483647 w 498"/>
                  <a:gd name="T111" fmla="*/ 2147483647 h 559"/>
                  <a:gd name="T112" fmla="*/ 2147483647 w 498"/>
                  <a:gd name="T113" fmla="*/ 2147483647 h 559"/>
                  <a:gd name="T114" fmla="*/ 2147483647 w 498"/>
                  <a:gd name="T115" fmla="*/ 2147483647 h 559"/>
                  <a:gd name="T116" fmla="*/ 2147483647 w 498"/>
                  <a:gd name="T117" fmla="*/ 2147483647 h 559"/>
                  <a:gd name="T118" fmla="*/ 2147483647 w 498"/>
                  <a:gd name="T119" fmla="*/ 2147483647 h 559"/>
                  <a:gd name="T120" fmla="*/ 2147483647 w 498"/>
                  <a:gd name="T121" fmla="*/ 2147483647 h 559"/>
                  <a:gd name="T122" fmla="*/ 2147483647 w 498"/>
                  <a:gd name="T123" fmla="*/ 2147483647 h 55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98"/>
                  <a:gd name="T187" fmla="*/ 0 h 559"/>
                  <a:gd name="T188" fmla="*/ 498 w 498"/>
                  <a:gd name="T189" fmla="*/ 559 h 55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98" h="559">
                    <a:moveTo>
                      <a:pt x="478" y="503"/>
                    </a:moveTo>
                    <a:lnTo>
                      <a:pt x="473" y="503"/>
                    </a:lnTo>
                    <a:lnTo>
                      <a:pt x="473" y="508"/>
                    </a:lnTo>
                    <a:lnTo>
                      <a:pt x="468" y="503"/>
                    </a:lnTo>
                    <a:lnTo>
                      <a:pt x="468" y="508"/>
                    </a:lnTo>
                    <a:lnTo>
                      <a:pt x="463" y="508"/>
                    </a:lnTo>
                    <a:lnTo>
                      <a:pt x="463" y="513"/>
                    </a:lnTo>
                    <a:lnTo>
                      <a:pt x="458" y="519"/>
                    </a:lnTo>
                    <a:lnTo>
                      <a:pt x="453" y="519"/>
                    </a:lnTo>
                    <a:lnTo>
                      <a:pt x="453" y="524"/>
                    </a:lnTo>
                    <a:lnTo>
                      <a:pt x="453" y="519"/>
                    </a:lnTo>
                    <a:lnTo>
                      <a:pt x="443" y="524"/>
                    </a:lnTo>
                    <a:lnTo>
                      <a:pt x="443" y="529"/>
                    </a:lnTo>
                    <a:lnTo>
                      <a:pt x="443" y="534"/>
                    </a:lnTo>
                    <a:lnTo>
                      <a:pt x="438" y="529"/>
                    </a:lnTo>
                    <a:lnTo>
                      <a:pt x="438" y="534"/>
                    </a:lnTo>
                    <a:lnTo>
                      <a:pt x="433" y="534"/>
                    </a:lnTo>
                    <a:lnTo>
                      <a:pt x="428" y="539"/>
                    </a:lnTo>
                    <a:lnTo>
                      <a:pt x="423" y="539"/>
                    </a:lnTo>
                    <a:lnTo>
                      <a:pt x="418" y="539"/>
                    </a:lnTo>
                    <a:lnTo>
                      <a:pt x="413" y="539"/>
                    </a:lnTo>
                    <a:lnTo>
                      <a:pt x="408" y="539"/>
                    </a:lnTo>
                    <a:lnTo>
                      <a:pt x="398" y="544"/>
                    </a:lnTo>
                    <a:lnTo>
                      <a:pt x="398" y="539"/>
                    </a:lnTo>
                    <a:lnTo>
                      <a:pt x="393" y="534"/>
                    </a:lnTo>
                    <a:lnTo>
                      <a:pt x="398" y="529"/>
                    </a:lnTo>
                    <a:lnTo>
                      <a:pt x="393" y="529"/>
                    </a:lnTo>
                    <a:lnTo>
                      <a:pt x="393" y="534"/>
                    </a:lnTo>
                    <a:lnTo>
                      <a:pt x="393" y="529"/>
                    </a:lnTo>
                    <a:lnTo>
                      <a:pt x="383" y="524"/>
                    </a:lnTo>
                    <a:lnTo>
                      <a:pt x="383" y="513"/>
                    </a:lnTo>
                    <a:lnTo>
                      <a:pt x="388" y="513"/>
                    </a:lnTo>
                    <a:lnTo>
                      <a:pt x="388" y="508"/>
                    </a:lnTo>
                    <a:lnTo>
                      <a:pt x="388" y="503"/>
                    </a:lnTo>
                    <a:lnTo>
                      <a:pt x="377" y="498"/>
                    </a:lnTo>
                    <a:lnTo>
                      <a:pt x="377" y="493"/>
                    </a:lnTo>
                    <a:lnTo>
                      <a:pt x="372" y="493"/>
                    </a:lnTo>
                    <a:lnTo>
                      <a:pt x="377" y="488"/>
                    </a:lnTo>
                    <a:lnTo>
                      <a:pt x="372" y="483"/>
                    </a:lnTo>
                    <a:lnTo>
                      <a:pt x="372" y="478"/>
                    </a:lnTo>
                    <a:lnTo>
                      <a:pt x="367" y="478"/>
                    </a:lnTo>
                    <a:lnTo>
                      <a:pt x="362" y="473"/>
                    </a:lnTo>
                    <a:lnTo>
                      <a:pt x="357" y="468"/>
                    </a:lnTo>
                    <a:lnTo>
                      <a:pt x="352" y="468"/>
                    </a:lnTo>
                    <a:lnTo>
                      <a:pt x="352" y="473"/>
                    </a:lnTo>
                    <a:lnTo>
                      <a:pt x="352" y="478"/>
                    </a:lnTo>
                    <a:lnTo>
                      <a:pt x="352" y="483"/>
                    </a:lnTo>
                    <a:lnTo>
                      <a:pt x="347" y="483"/>
                    </a:lnTo>
                    <a:lnTo>
                      <a:pt x="342" y="483"/>
                    </a:lnTo>
                    <a:lnTo>
                      <a:pt x="342" y="488"/>
                    </a:lnTo>
                    <a:lnTo>
                      <a:pt x="337" y="488"/>
                    </a:lnTo>
                    <a:lnTo>
                      <a:pt x="337" y="493"/>
                    </a:lnTo>
                    <a:lnTo>
                      <a:pt x="342" y="493"/>
                    </a:lnTo>
                    <a:lnTo>
                      <a:pt x="337" y="498"/>
                    </a:lnTo>
                    <a:lnTo>
                      <a:pt x="332" y="498"/>
                    </a:lnTo>
                    <a:lnTo>
                      <a:pt x="322" y="498"/>
                    </a:lnTo>
                    <a:lnTo>
                      <a:pt x="317" y="503"/>
                    </a:lnTo>
                    <a:lnTo>
                      <a:pt x="317" y="508"/>
                    </a:lnTo>
                    <a:lnTo>
                      <a:pt x="312" y="513"/>
                    </a:lnTo>
                    <a:lnTo>
                      <a:pt x="302" y="503"/>
                    </a:lnTo>
                    <a:lnTo>
                      <a:pt x="297" y="508"/>
                    </a:lnTo>
                    <a:lnTo>
                      <a:pt x="292" y="503"/>
                    </a:lnTo>
                    <a:lnTo>
                      <a:pt x="282" y="508"/>
                    </a:lnTo>
                    <a:lnTo>
                      <a:pt x="282" y="519"/>
                    </a:lnTo>
                    <a:lnTo>
                      <a:pt x="277" y="524"/>
                    </a:lnTo>
                    <a:lnTo>
                      <a:pt x="267" y="519"/>
                    </a:lnTo>
                    <a:lnTo>
                      <a:pt x="257" y="519"/>
                    </a:lnTo>
                    <a:lnTo>
                      <a:pt x="257" y="524"/>
                    </a:lnTo>
                    <a:lnTo>
                      <a:pt x="251" y="529"/>
                    </a:lnTo>
                    <a:lnTo>
                      <a:pt x="251" y="524"/>
                    </a:lnTo>
                    <a:lnTo>
                      <a:pt x="246" y="529"/>
                    </a:lnTo>
                    <a:lnTo>
                      <a:pt x="241" y="529"/>
                    </a:lnTo>
                    <a:lnTo>
                      <a:pt x="231" y="534"/>
                    </a:lnTo>
                    <a:lnTo>
                      <a:pt x="226" y="539"/>
                    </a:lnTo>
                    <a:lnTo>
                      <a:pt x="221" y="539"/>
                    </a:lnTo>
                    <a:lnTo>
                      <a:pt x="216" y="534"/>
                    </a:lnTo>
                    <a:lnTo>
                      <a:pt x="211" y="539"/>
                    </a:lnTo>
                    <a:lnTo>
                      <a:pt x="206" y="539"/>
                    </a:lnTo>
                    <a:lnTo>
                      <a:pt x="201" y="544"/>
                    </a:lnTo>
                    <a:lnTo>
                      <a:pt x="196" y="544"/>
                    </a:lnTo>
                    <a:lnTo>
                      <a:pt x="196" y="549"/>
                    </a:lnTo>
                    <a:lnTo>
                      <a:pt x="191" y="549"/>
                    </a:lnTo>
                    <a:lnTo>
                      <a:pt x="191" y="554"/>
                    </a:lnTo>
                    <a:lnTo>
                      <a:pt x="186" y="559"/>
                    </a:lnTo>
                    <a:lnTo>
                      <a:pt x="181" y="559"/>
                    </a:lnTo>
                    <a:lnTo>
                      <a:pt x="176" y="554"/>
                    </a:lnTo>
                    <a:lnTo>
                      <a:pt x="171" y="554"/>
                    </a:lnTo>
                    <a:lnTo>
                      <a:pt x="166" y="549"/>
                    </a:lnTo>
                    <a:lnTo>
                      <a:pt x="171" y="549"/>
                    </a:lnTo>
                    <a:lnTo>
                      <a:pt x="166" y="544"/>
                    </a:lnTo>
                    <a:lnTo>
                      <a:pt x="161" y="544"/>
                    </a:lnTo>
                    <a:lnTo>
                      <a:pt x="156" y="549"/>
                    </a:lnTo>
                    <a:lnTo>
                      <a:pt x="156" y="544"/>
                    </a:lnTo>
                    <a:lnTo>
                      <a:pt x="151" y="539"/>
                    </a:lnTo>
                    <a:lnTo>
                      <a:pt x="146" y="534"/>
                    </a:lnTo>
                    <a:lnTo>
                      <a:pt x="146" y="529"/>
                    </a:lnTo>
                    <a:lnTo>
                      <a:pt x="146" y="524"/>
                    </a:lnTo>
                    <a:lnTo>
                      <a:pt x="136" y="524"/>
                    </a:lnTo>
                    <a:lnTo>
                      <a:pt x="131" y="529"/>
                    </a:lnTo>
                    <a:lnTo>
                      <a:pt x="131" y="524"/>
                    </a:lnTo>
                    <a:lnTo>
                      <a:pt x="131" y="519"/>
                    </a:lnTo>
                    <a:lnTo>
                      <a:pt x="131" y="513"/>
                    </a:lnTo>
                    <a:lnTo>
                      <a:pt x="131" y="503"/>
                    </a:lnTo>
                    <a:lnTo>
                      <a:pt x="125" y="503"/>
                    </a:lnTo>
                    <a:lnTo>
                      <a:pt x="125" y="498"/>
                    </a:lnTo>
                    <a:lnTo>
                      <a:pt x="125" y="493"/>
                    </a:lnTo>
                    <a:lnTo>
                      <a:pt x="136" y="493"/>
                    </a:lnTo>
                    <a:lnTo>
                      <a:pt x="136" y="488"/>
                    </a:lnTo>
                    <a:lnTo>
                      <a:pt x="141" y="488"/>
                    </a:lnTo>
                    <a:lnTo>
                      <a:pt x="146" y="488"/>
                    </a:lnTo>
                    <a:lnTo>
                      <a:pt x="146" y="478"/>
                    </a:lnTo>
                    <a:lnTo>
                      <a:pt x="141" y="473"/>
                    </a:lnTo>
                    <a:lnTo>
                      <a:pt x="131" y="478"/>
                    </a:lnTo>
                    <a:lnTo>
                      <a:pt x="131" y="473"/>
                    </a:lnTo>
                    <a:lnTo>
                      <a:pt x="131" y="468"/>
                    </a:lnTo>
                    <a:lnTo>
                      <a:pt x="131" y="463"/>
                    </a:lnTo>
                    <a:lnTo>
                      <a:pt x="136" y="463"/>
                    </a:lnTo>
                    <a:lnTo>
                      <a:pt x="141" y="458"/>
                    </a:lnTo>
                    <a:lnTo>
                      <a:pt x="136" y="453"/>
                    </a:lnTo>
                    <a:lnTo>
                      <a:pt x="131" y="443"/>
                    </a:lnTo>
                    <a:lnTo>
                      <a:pt x="131" y="448"/>
                    </a:lnTo>
                    <a:lnTo>
                      <a:pt x="131" y="453"/>
                    </a:lnTo>
                    <a:lnTo>
                      <a:pt x="125" y="453"/>
                    </a:lnTo>
                    <a:lnTo>
                      <a:pt x="125" y="448"/>
                    </a:lnTo>
                    <a:lnTo>
                      <a:pt x="120" y="448"/>
                    </a:lnTo>
                    <a:lnTo>
                      <a:pt x="120" y="443"/>
                    </a:lnTo>
                    <a:lnTo>
                      <a:pt x="115" y="443"/>
                    </a:lnTo>
                    <a:lnTo>
                      <a:pt x="115" y="438"/>
                    </a:lnTo>
                    <a:lnTo>
                      <a:pt x="120" y="433"/>
                    </a:lnTo>
                    <a:lnTo>
                      <a:pt x="115" y="428"/>
                    </a:lnTo>
                    <a:lnTo>
                      <a:pt x="110" y="433"/>
                    </a:lnTo>
                    <a:lnTo>
                      <a:pt x="105" y="433"/>
                    </a:lnTo>
                    <a:lnTo>
                      <a:pt x="105" y="443"/>
                    </a:lnTo>
                    <a:lnTo>
                      <a:pt x="100" y="443"/>
                    </a:lnTo>
                    <a:lnTo>
                      <a:pt x="95" y="438"/>
                    </a:lnTo>
                    <a:lnTo>
                      <a:pt x="95" y="433"/>
                    </a:lnTo>
                    <a:lnTo>
                      <a:pt x="90" y="433"/>
                    </a:lnTo>
                    <a:lnTo>
                      <a:pt x="90" y="428"/>
                    </a:lnTo>
                    <a:lnTo>
                      <a:pt x="85" y="428"/>
                    </a:lnTo>
                    <a:lnTo>
                      <a:pt x="85" y="433"/>
                    </a:lnTo>
                    <a:lnTo>
                      <a:pt x="80" y="428"/>
                    </a:lnTo>
                    <a:lnTo>
                      <a:pt x="80" y="423"/>
                    </a:lnTo>
                    <a:lnTo>
                      <a:pt x="75" y="423"/>
                    </a:lnTo>
                    <a:lnTo>
                      <a:pt x="65" y="423"/>
                    </a:lnTo>
                    <a:lnTo>
                      <a:pt x="65" y="418"/>
                    </a:lnTo>
                    <a:lnTo>
                      <a:pt x="65" y="413"/>
                    </a:lnTo>
                    <a:lnTo>
                      <a:pt x="60" y="413"/>
                    </a:lnTo>
                    <a:lnTo>
                      <a:pt x="55" y="408"/>
                    </a:lnTo>
                    <a:lnTo>
                      <a:pt x="50" y="408"/>
                    </a:lnTo>
                    <a:lnTo>
                      <a:pt x="50" y="403"/>
                    </a:lnTo>
                    <a:lnTo>
                      <a:pt x="55" y="393"/>
                    </a:lnTo>
                    <a:lnTo>
                      <a:pt x="50" y="388"/>
                    </a:lnTo>
                    <a:lnTo>
                      <a:pt x="55" y="382"/>
                    </a:lnTo>
                    <a:lnTo>
                      <a:pt x="50" y="382"/>
                    </a:lnTo>
                    <a:lnTo>
                      <a:pt x="45" y="382"/>
                    </a:lnTo>
                    <a:lnTo>
                      <a:pt x="40" y="377"/>
                    </a:lnTo>
                    <a:lnTo>
                      <a:pt x="35" y="377"/>
                    </a:lnTo>
                    <a:lnTo>
                      <a:pt x="30" y="372"/>
                    </a:lnTo>
                    <a:lnTo>
                      <a:pt x="30" y="367"/>
                    </a:lnTo>
                    <a:lnTo>
                      <a:pt x="35" y="362"/>
                    </a:lnTo>
                    <a:lnTo>
                      <a:pt x="30" y="357"/>
                    </a:lnTo>
                    <a:lnTo>
                      <a:pt x="30" y="352"/>
                    </a:lnTo>
                    <a:lnTo>
                      <a:pt x="25" y="352"/>
                    </a:lnTo>
                    <a:lnTo>
                      <a:pt x="30" y="347"/>
                    </a:lnTo>
                    <a:lnTo>
                      <a:pt x="25" y="342"/>
                    </a:lnTo>
                    <a:lnTo>
                      <a:pt x="30" y="337"/>
                    </a:lnTo>
                    <a:lnTo>
                      <a:pt x="35" y="327"/>
                    </a:lnTo>
                    <a:lnTo>
                      <a:pt x="35" y="322"/>
                    </a:lnTo>
                    <a:lnTo>
                      <a:pt x="30" y="317"/>
                    </a:lnTo>
                    <a:lnTo>
                      <a:pt x="30" y="312"/>
                    </a:lnTo>
                    <a:lnTo>
                      <a:pt x="25" y="307"/>
                    </a:lnTo>
                    <a:lnTo>
                      <a:pt x="20" y="297"/>
                    </a:lnTo>
                    <a:lnTo>
                      <a:pt x="20" y="282"/>
                    </a:lnTo>
                    <a:lnTo>
                      <a:pt x="15" y="277"/>
                    </a:lnTo>
                    <a:lnTo>
                      <a:pt x="10" y="267"/>
                    </a:lnTo>
                    <a:lnTo>
                      <a:pt x="10" y="262"/>
                    </a:lnTo>
                    <a:lnTo>
                      <a:pt x="5" y="251"/>
                    </a:lnTo>
                    <a:lnTo>
                      <a:pt x="5" y="246"/>
                    </a:lnTo>
                    <a:lnTo>
                      <a:pt x="0" y="246"/>
                    </a:lnTo>
                    <a:lnTo>
                      <a:pt x="15" y="241"/>
                    </a:lnTo>
                    <a:lnTo>
                      <a:pt x="15" y="236"/>
                    </a:lnTo>
                    <a:lnTo>
                      <a:pt x="20" y="236"/>
                    </a:lnTo>
                    <a:lnTo>
                      <a:pt x="20" y="226"/>
                    </a:lnTo>
                    <a:lnTo>
                      <a:pt x="20" y="221"/>
                    </a:lnTo>
                    <a:lnTo>
                      <a:pt x="25" y="221"/>
                    </a:lnTo>
                    <a:lnTo>
                      <a:pt x="20" y="206"/>
                    </a:lnTo>
                    <a:lnTo>
                      <a:pt x="25" y="206"/>
                    </a:lnTo>
                    <a:lnTo>
                      <a:pt x="25" y="201"/>
                    </a:lnTo>
                    <a:lnTo>
                      <a:pt x="25" y="191"/>
                    </a:lnTo>
                    <a:lnTo>
                      <a:pt x="30" y="186"/>
                    </a:lnTo>
                    <a:lnTo>
                      <a:pt x="30" y="176"/>
                    </a:lnTo>
                    <a:lnTo>
                      <a:pt x="25" y="171"/>
                    </a:lnTo>
                    <a:lnTo>
                      <a:pt x="30" y="171"/>
                    </a:lnTo>
                    <a:lnTo>
                      <a:pt x="25" y="166"/>
                    </a:lnTo>
                    <a:lnTo>
                      <a:pt x="25" y="161"/>
                    </a:lnTo>
                    <a:lnTo>
                      <a:pt x="30" y="161"/>
                    </a:lnTo>
                    <a:lnTo>
                      <a:pt x="30" y="156"/>
                    </a:lnTo>
                    <a:lnTo>
                      <a:pt x="35" y="151"/>
                    </a:lnTo>
                    <a:lnTo>
                      <a:pt x="35" y="146"/>
                    </a:lnTo>
                    <a:lnTo>
                      <a:pt x="30" y="141"/>
                    </a:lnTo>
                    <a:lnTo>
                      <a:pt x="25" y="141"/>
                    </a:lnTo>
                    <a:lnTo>
                      <a:pt x="25" y="136"/>
                    </a:lnTo>
                    <a:lnTo>
                      <a:pt x="25" y="131"/>
                    </a:lnTo>
                    <a:lnTo>
                      <a:pt x="25" y="125"/>
                    </a:lnTo>
                    <a:lnTo>
                      <a:pt x="25" y="120"/>
                    </a:lnTo>
                    <a:lnTo>
                      <a:pt x="30" y="120"/>
                    </a:lnTo>
                    <a:lnTo>
                      <a:pt x="30" y="125"/>
                    </a:lnTo>
                    <a:lnTo>
                      <a:pt x="35" y="125"/>
                    </a:lnTo>
                    <a:lnTo>
                      <a:pt x="40" y="131"/>
                    </a:lnTo>
                    <a:lnTo>
                      <a:pt x="45" y="131"/>
                    </a:lnTo>
                    <a:lnTo>
                      <a:pt x="45" y="125"/>
                    </a:lnTo>
                    <a:lnTo>
                      <a:pt x="40" y="120"/>
                    </a:lnTo>
                    <a:lnTo>
                      <a:pt x="35" y="110"/>
                    </a:lnTo>
                    <a:lnTo>
                      <a:pt x="40" y="110"/>
                    </a:lnTo>
                    <a:lnTo>
                      <a:pt x="45" y="105"/>
                    </a:lnTo>
                    <a:lnTo>
                      <a:pt x="50" y="100"/>
                    </a:lnTo>
                    <a:lnTo>
                      <a:pt x="55" y="100"/>
                    </a:lnTo>
                    <a:lnTo>
                      <a:pt x="60" y="100"/>
                    </a:lnTo>
                    <a:lnTo>
                      <a:pt x="60" y="105"/>
                    </a:lnTo>
                    <a:lnTo>
                      <a:pt x="65" y="100"/>
                    </a:lnTo>
                    <a:lnTo>
                      <a:pt x="65" y="95"/>
                    </a:lnTo>
                    <a:lnTo>
                      <a:pt x="65" y="90"/>
                    </a:lnTo>
                    <a:lnTo>
                      <a:pt x="70" y="85"/>
                    </a:lnTo>
                    <a:lnTo>
                      <a:pt x="70" y="80"/>
                    </a:lnTo>
                    <a:lnTo>
                      <a:pt x="70" y="75"/>
                    </a:lnTo>
                    <a:lnTo>
                      <a:pt x="70" y="70"/>
                    </a:lnTo>
                    <a:lnTo>
                      <a:pt x="70" y="65"/>
                    </a:lnTo>
                    <a:lnTo>
                      <a:pt x="70" y="60"/>
                    </a:lnTo>
                    <a:lnTo>
                      <a:pt x="75" y="60"/>
                    </a:lnTo>
                    <a:lnTo>
                      <a:pt x="80" y="60"/>
                    </a:lnTo>
                    <a:lnTo>
                      <a:pt x="80" y="65"/>
                    </a:lnTo>
                    <a:lnTo>
                      <a:pt x="85" y="70"/>
                    </a:lnTo>
                    <a:lnTo>
                      <a:pt x="85" y="75"/>
                    </a:lnTo>
                    <a:lnTo>
                      <a:pt x="90" y="75"/>
                    </a:lnTo>
                    <a:lnTo>
                      <a:pt x="95" y="70"/>
                    </a:lnTo>
                    <a:lnTo>
                      <a:pt x="100" y="70"/>
                    </a:lnTo>
                    <a:lnTo>
                      <a:pt x="105" y="70"/>
                    </a:lnTo>
                    <a:lnTo>
                      <a:pt x="105" y="65"/>
                    </a:lnTo>
                    <a:lnTo>
                      <a:pt x="105" y="60"/>
                    </a:lnTo>
                    <a:lnTo>
                      <a:pt x="110" y="60"/>
                    </a:lnTo>
                    <a:lnTo>
                      <a:pt x="115" y="55"/>
                    </a:lnTo>
                    <a:lnTo>
                      <a:pt x="115" y="50"/>
                    </a:lnTo>
                    <a:lnTo>
                      <a:pt x="120" y="50"/>
                    </a:lnTo>
                    <a:lnTo>
                      <a:pt x="120" y="45"/>
                    </a:lnTo>
                    <a:lnTo>
                      <a:pt x="120" y="40"/>
                    </a:lnTo>
                    <a:lnTo>
                      <a:pt x="125" y="35"/>
                    </a:lnTo>
                    <a:lnTo>
                      <a:pt x="131" y="30"/>
                    </a:lnTo>
                    <a:lnTo>
                      <a:pt x="136" y="25"/>
                    </a:lnTo>
                    <a:lnTo>
                      <a:pt x="136" y="30"/>
                    </a:lnTo>
                    <a:lnTo>
                      <a:pt x="136" y="40"/>
                    </a:lnTo>
                    <a:lnTo>
                      <a:pt x="141" y="40"/>
                    </a:lnTo>
                    <a:lnTo>
                      <a:pt x="141" y="45"/>
                    </a:lnTo>
                    <a:lnTo>
                      <a:pt x="151" y="50"/>
                    </a:lnTo>
                    <a:lnTo>
                      <a:pt x="156" y="50"/>
                    </a:lnTo>
                    <a:lnTo>
                      <a:pt x="156" y="55"/>
                    </a:lnTo>
                    <a:lnTo>
                      <a:pt x="161" y="55"/>
                    </a:lnTo>
                    <a:lnTo>
                      <a:pt x="161" y="60"/>
                    </a:lnTo>
                    <a:lnTo>
                      <a:pt x="166" y="50"/>
                    </a:lnTo>
                    <a:lnTo>
                      <a:pt x="171" y="45"/>
                    </a:lnTo>
                    <a:lnTo>
                      <a:pt x="176" y="45"/>
                    </a:lnTo>
                    <a:lnTo>
                      <a:pt x="181" y="40"/>
                    </a:lnTo>
                    <a:lnTo>
                      <a:pt x="186" y="45"/>
                    </a:lnTo>
                    <a:lnTo>
                      <a:pt x="196" y="45"/>
                    </a:lnTo>
                    <a:lnTo>
                      <a:pt x="201" y="40"/>
                    </a:lnTo>
                    <a:lnTo>
                      <a:pt x="206" y="40"/>
                    </a:lnTo>
                    <a:lnTo>
                      <a:pt x="206" y="45"/>
                    </a:lnTo>
                    <a:lnTo>
                      <a:pt x="201" y="50"/>
                    </a:lnTo>
                    <a:lnTo>
                      <a:pt x="206" y="55"/>
                    </a:lnTo>
                    <a:lnTo>
                      <a:pt x="211" y="65"/>
                    </a:lnTo>
                    <a:lnTo>
                      <a:pt x="216" y="75"/>
                    </a:lnTo>
                    <a:lnTo>
                      <a:pt x="221" y="70"/>
                    </a:lnTo>
                    <a:lnTo>
                      <a:pt x="221" y="65"/>
                    </a:lnTo>
                    <a:lnTo>
                      <a:pt x="226" y="65"/>
                    </a:lnTo>
                    <a:lnTo>
                      <a:pt x="226" y="70"/>
                    </a:lnTo>
                    <a:lnTo>
                      <a:pt x="226" y="75"/>
                    </a:lnTo>
                    <a:lnTo>
                      <a:pt x="231" y="75"/>
                    </a:lnTo>
                    <a:lnTo>
                      <a:pt x="236" y="75"/>
                    </a:lnTo>
                    <a:lnTo>
                      <a:pt x="236" y="70"/>
                    </a:lnTo>
                    <a:lnTo>
                      <a:pt x="236" y="65"/>
                    </a:lnTo>
                    <a:lnTo>
                      <a:pt x="231" y="65"/>
                    </a:lnTo>
                    <a:lnTo>
                      <a:pt x="231" y="60"/>
                    </a:lnTo>
                    <a:lnTo>
                      <a:pt x="231" y="55"/>
                    </a:lnTo>
                    <a:lnTo>
                      <a:pt x="231" y="40"/>
                    </a:lnTo>
                    <a:lnTo>
                      <a:pt x="231" y="35"/>
                    </a:lnTo>
                    <a:lnTo>
                      <a:pt x="236" y="35"/>
                    </a:lnTo>
                    <a:lnTo>
                      <a:pt x="241" y="30"/>
                    </a:lnTo>
                    <a:lnTo>
                      <a:pt x="241" y="25"/>
                    </a:lnTo>
                    <a:lnTo>
                      <a:pt x="246" y="25"/>
                    </a:lnTo>
                    <a:lnTo>
                      <a:pt x="251" y="20"/>
                    </a:lnTo>
                    <a:lnTo>
                      <a:pt x="257" y="25"/>
                    </a:lnTo>
                    <a:lnTo>
                      <a:pt x="262" y="25"/>
                    </a:lnTo>
                    <a:lnTo>
                      <a:pt x="267" y="10"/>
                    </a:lnTo>
                    <a:lnTo>
                      <a:pt x="267" y="5"/>
                    </a:lnTo>
                    <a:lnTo>
                      <a:pt x="272" y="0"/>
                    </a:lnTo>
                    <a:lnTo>
                      <a:pt x="282" y="0"/>
                    </a:lnTo>
                    <a:lnTo>
                      <a:pt x="287" y="0"/>
                    </a:lnTo>
                    <a:lnTo>
                      <a:pt x="292" y="0"/>
                    </a:lnTo>
                    <a:lnTo>
                      <a:pt x="292" y="5"/>
                    </a:lnTo>
                    <a:lnTo>
                      <a:pt x="292" y="10"/>
                    </a:lnTo>
                    <a:lnTo>
                      <a:pt x="297" y="15"/>
                    </a:lnTo>
                    <a:lnTo>
                      <a:pt x="302" y="15"/>
                    </a:lnTo>
                    <a:lnTo>
                      <a:pt x="302" y="20"/>
                    </a:lnTo>
                    <a:lnTo>
                      <a:pt x="307" y="20"/>
                    </a:lnTo>
                    <a:lnTo>
                      <a:pt x="307" y="30"/>
                    </a:lnTo>
                    <a:lnTo>
                      <a:pt x="307" y="35"/>
                    </a:lnTo>
                    <a:lnTo>
                      <a:pt x="312" y="40"/>
                    </a:lnTo>
                    <a:lnTo>
                      <a:pt x="317" y="45"/>
                    </a:lnTo>
                    <a:lnTo>
                      <a:pt x="322" y="50"/>
                    </a:lnTo>
                    <a:lnTo>
                      <a:pt x="322" y="55"/>
                    </a:lnTo>
                    <a:lnTo>
                      <a:pt x="327" y="60"/>
                    </a:lnTo>
                    <a:lnTo>
                      <a:pt x="332" y="60"/>
                    </a:lnTo>
                    <a:lnTo>
                      <a:pt x="337" y="60"/>
                    </a:lnTo>
                    <a:lnTo>
                      <a:pt x="337" y="70"/>
                    </a:lnTo>
                    <a:lnTo>
                      <a:pt x="337" y="80"/>
                    </a:lnTo>
                    <a:lnTo>
                      <a:pt x="337" y="90"/>
                    </a:lnTo>
                    <a:lnTo>
                      <a:pt x="332" y="90"/>
                    </a:lnTo>
                    <a:lnTo>
                      <a:pt x="332" y="85"/>
                    </a:lnTo>
                    <a:lnTo>
                      <a:pt x="327" y="90"/>
                    </a:lnTo>
                    <a:lnTo>
                      <a:pt x="322" y="95"/>
                    </a:lnTo>
                    <a:lnTo>
                      <a:pt x="337" y="125"/>
                    </a:lnTo>
                    <a:lnTo>
                      <a:pt x="342" y="131"/>
                    </a:lnTo>
                    <a:lnTo>
                      <a:pt x="342" y="125"/>
                    </a:lnTo>
                    <a:lnTo>
                      <a:pt x="342" y="120"/>
                    </a:lnTo>
                    <a:lnTo>
                      <a:pt x="342" y="115"/>
                    </a:lnTo>
                    <a:lnTo>
                      <a:pt x="347" y="120"/>
                    </a:lnTo>
                    <a:lnTo>
                      <a:pt x="357" y="120"/>
                    </a:lnTo>
                    <a:lnTo>
                      <a:pt x="362" y="131"/>
                    </a:lnTo>
                    <a:lnTo>
                      <a:pt x="377" y="136"/>
                    </a:lnTo>
                    <a:lnTo>
                      <a:pt x="377" y="141"/>
                    </a:lnTo>
                    <a:lnTo>
                      <a:pt x="372" y="151"/>
                    </a:lnTo>
                    <a:lnTo>
                      <a:pt x="372" y="156"/>
                    </a:lnTo>
                    <a:lnTo>
                      <a:pt x="377" y="156"/>
                    </a:lnTo>
                    <a:lnTo>
                      <a:pt x="377" y="161"/>
                    </a:lnTo>
                    <a:lnTo>
                      <a:pt x="372" y="161"/>
                    </a:lnTo>
                    <a:lnTo>
                      <a:pt x="367" y="161"/>
                    </a:lnTo>
                    <a:lnTo>
                      <a:pt x="367" y="171"/>
                    </a:lnTo>
                    <a:lnTo>
                      <a:pt x="377" y="171"/>
                    </a:lnTo>
                    <a:lnTo>
                      <a:pt x="377" y="176"/>
                    </a:lnTo>
                    <a:lnTo>
                      <a:pt x="383" y="181"/>
                    </a:lnTo>
                    <a:lnTo>
                      <a:pt x="388" y="181"/>
                    </a:lnTo>
                    <a:lnTo>
                      <a:pt x="393" y="186"/>
                    </a:lnTo>
                    <a:lnTo>
                      <a:pt x="393" y="196"/>
                    </a:lnTo>
                    <a:lnTo>
                      <a:pt x="398" y="196"/>
                    </a:lnTo>
                    <a:lnTo>
                      <a:pt x="393" y="201"/>
                    </a:lnTo>
                    <a:lnTo>
                      <a:pt x="393" y="206"/>
                    </a:lnTo>
                    <a:lnTo>
                      <a:pt x="398" y="206"/>
                    </a:lnTo>
                    <a:lnTo>
                      <a:pt x="393" y="211"/>
                    </a:lnTo>
                    <a:lnTo>
                      <a:pt x="398" y="211"/>
                    </a:lnTo>
                    <a:lnTo>
                      <a:pt x="388" y="211"/>
                    </a:lnTo>
                    <a:lnTo>
                      <a:pt x="398" y="216"/>
                    </a:lnTo>
                    <a:lnTo>
                      <a:pt x="403" y="211"/>
                    </a:lnTo>
                    <a:lnTo>
                      <a:pt x="408" y="211"/>
                    </a:lnTo>
                    <a:lnTo>
                      <a:pt x="413" y="211"/>
                    </a:lnTo>
                    <a:lnTo>
                      <a:pt x="408" y="216"/>
                    </a:lnTo>
                    <a:lnTo>
                      <a:pt x="413" y="221"/>
                    </a:lnTo>
                    <a:lnTo>
                      <a:pt x="413" y="226"/>
                    </a:lnTo>
                    <a:lnTo>
                      <a:pt x="413" y="231"/>
                    </a:lnTo>
                    <a:lnTo>
                      <a:pt x="408" y="236"/>
                    </a:lnTo>
                    <a:lnTo>
                      <a:pt x="408" y="241"/>
                    </a:lnTo>
                    <a:lnTo>
                      <a:pt x="403" y="246"/>
                    </a:lnTo>
                    <a:lnTo>
                      <a:pt x="403" y="251"/>
                    </a:lnTo>
                    <a:lnTo>
                      <a:pt x="398" y="257"/>
                    </a:lnTo>
                    <a:lnTo>
                      <a:pt x="403" y="257"/>
                    </a:lnTo>
                    <a:lnTo>
                      <a:pt x="408" y="257"/>
                    </a:lnTo>
                    <a:lnTo>
                      <a:pt x="408" y="267"/>
                    </a:lnTo>
                    <a:lnTo>
                      <a:pt x="413" y="272"/>
                    </a:lnTo>
                    <a:lnTo>
                      <a:pt x="408" y="277"/>
                    </a:lnTo>
                    <a:lnTo>
                      <a:pt x="408" y="282"/>
                    </a:lnTo>
                    <a:lnTo>
                      <a:pt x="418" y="282"/>
                    </a:lnTo>
                    <a:lnTo>
                      <a:pt x="418" y="287"/>
                    </a:lnTo>
                    <a:lnTo>
                      <a:pt x="418" y="292"/>
                    </a:lnTo>
                    <a:lnTo>
                      <a:pt x="418" y="297"/>
                    </a:lnTo>
                    <a:lnTo>
                      <a:pt x="413" y="292"/>
                    </a:lnTo>
                    <a:lnTo>
                      <a:pt x="408" y="297"/>
                    </a:lnTo>
                    <a:lnTo>
                      <a:pt x="413" y="297"/>
                    </a:lnTo>
                    <a:lnTo>
                      <a:pt x="418" y="297"/>
                    </a:lnTo>
                    <a:lnTo>
                      <a:pt x="423" y="297"/>
                    </a:lnTo>
                    <a:lnTo>
                      <a:pt x="418" y="302"/>
                    </a:lnTo>
                    <a:lnTo>
                      <a:pt x="413" y="307"/>
                    </a:lnTo>
                    <a:lnTo>
                      <a:pt x="413" y="312"/>
                    </a:lnTo>
                    <a:lnTo>
                      <a:pt x="418" y="307"/>
                    </a:lnTo>
                    <a:lnTo>
                      <a:pt x="433" y="297"/>
                    </a:lnTo>
                    <a:lnTo>
                      <a:pt x="438" y="307"/>
                    </a:lnTo>
                    <a:lnTo>
                      <a:pt x="438" y="312"/>
                    </a:lnTo>
                    <a:lnTo>
                      <a:pt x="443" y="312"/>
                    </a:lnTo>
                    <a:lnTo>
                      <a:pt x="448" y="312"/>
                    </a:lnTo>
                    <a:lnTo>
                      <a:pt x="448" y="317"/>
                    </a:lnTo>
                    <a:lnTo>
                      <a:pt x="448" y="322"/>
                    </a:lnTo>
                    <a:lnTo>
                      <a:pt x="453" y="322"/>
                    </a:lnTo>
                    <a:lnTo>
                      <a:pt x="458" y="322"/>
                    </a:lnTo>
                    <a:lnTo>
                      <a:pt x="463" y="317"/>
                    </a:lnTo>
                    <a:lnTo>
                      <a:pt x="463" y="322"/>
                    </a:lnTo>
                    <a:lnTo>
                      <a:pt x="458" y="322"/>
                    </a:lnTo>
                    <a:lnTo>
                      <a:pt x="463" y="327"/>
                    </a:lnTo>
                    <a:lnTo>
                      <a:pt x="463" y="332"/>
                    </a:lnTo>
                    <a:lnTo>
                      <a:pt x="463" y="337"/>
                    </a:lnTo>
                    <a:lnTo>
                      <a:pt x="468" y="342"/>
                    </a:lnTo>
                    <a:lnTo>
                      <a:pt x="468" y="347"/>
                    </a:lnTo>
                    <a:lnTo>
                      <a:pt x="463" y="357"/>
                    </a:lnTo>
                    <a:lnTo>
                      <a:pt x="473" y="362"/>
                    </a:lnTo>
                    <a:lnTo>
                      <a:pt x="473" y="367"/>
                    </a:lnTo>
                    <a:lnTo>
                      <a:pt x="468" y="377"/>
                    </a:lnTo>
                    <a:lnTo>
                      <a:pt x="473" y="377"/>
                    </a:lnTo>
                    <a:lnTo>
                      <a:pt x="473" y="382"/>
                    </a:lnTo>
                    <a:lnTo>
                      <a:pt x="478" y="382"/>
                    </a:lnTo>
                    <a:lnTo>
                      <a:pt x="483" y="393"/>
                    </a:lnTo>
                    <a:lnTo>
                      <a:pt x="478" y="398"/>
                    </a:lnTo>
                    <a:lnTo>
                      <a:pt x="483" y="403"/>
                    </a:lnTo>
                    <a:lnTo>
                      <a:pt x="483" y="408"/>
                    </a:lnTo>
                    <a:lnTo>
                      <a:pt x="488" y="408"/>
                    </a:lnTo>
                    <a:lnTo>
                      <a:pt x="493" y="408"/>
                    </a:lnTo>
                    <a:lnTo>
                      <a:pt x="493" y="413"/>
                    </a:lnTo>
                    <a:lnTo>
                      <a:pt x="498" y="418"/>
                    </a:lnTo>
                    <a:lnTo>
                      <a:pt x="488" y="423"/>
                    </a:lnTo>
                    <a:lnTo>
                      <a:pt x="488" y="433"/>
                    </a:lnTo>
                    <a:lnTo>
                      <a:pt x="483" y="433"/>
                    </a:lnTo>
                    <a:lnTo>
                      <a:pt x="488" y="433"/>
                    </a:lnTo>
                    <a:lnTo>
                      <a:pt x="493" y="438"/>
                    </a:lnTo>
                    <a:lnTo>
                      <a:pt x="488" y="438"/>
                    </a:lnTo>
                    <a:lnTo>
                      <a:pt x="483" y="443"/>
                    </a:lnTo>
                    <a:lnTo>
                      <a:pt x="478" y="448"/>
                    </a:lnTo>
                    <a:lnTo>
                      <a:pt x="478" y="453"/>
                    </a:lnTo>
                    <a:lnTo>
                      <a:pt x="473" y="453"/>
                    </a:lnTo>
                    <a:lnTo>
                      <a:pt x="473" y="458"/>
                    </a:lnTo>
                    <a:lnTo>
                      <a:pt x="468" y="453"/>
                    </a:lnTo>
                    <a:lnTo>
                      <a:pt x="463" y="458"/>
                    </a:lnTo>
                    <a:lnTo>
                      <a:pt x="468" y="463"/>
                    </a:lnTo>
                    <a:lnTo>
                      <a:pt x="463" y="463"/>
                    </a:lnTo>
                    <a:lnTo>
                      <a:pt x="468" y="463"/>
                    </a:lnTo>
                    <a:lnTo>
                      <a:pt x="463" y="468"/>
                    </a:lnTo>
                    <a:lnTo>
                      <a:pt x="463" y="463"/>
                    </a:lnTo>
                    <a:lnTo>
                      <a:pt x="458" y="463"/>
                    </a:lnTo>
                    <a:lnTo>
                      <a:pt x="458" y="468"/>
                    </a:lnTo>
                    <a:lnTo>
                      <a:pt x="463" y="473"/>
                    </a:lnTo>
                    <a:lnTo>
                      <a:pt x="463" y="483"/>
                    </a:lnTo>
                    <a:lnTo>
                      <a:pt x="463" y="488"/>
                    </a:lnTo>
                    <a:lnTo>
                      <a:pt x="473" y="488"/>
                    </a:lnTo>
                    <a:lnTo>
                      <a:pt x="473" y="498"/>
                    </a:lnTo>
                    <a:lnTo>
                      <a:pt x="478" y="498"/>
                    </a:lnTo>
                    <a:lnTo>
                      <a:pt x="478" y="503"/>
                    </a:lnTo>
                    <a:close/>
                  </a:path>
                </a:pathLst>
              </a:custGeom>
              <a:solidFill>
                <a:srgbClr val="84BA5B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 518">
                <a:extLst>
                  <a:ext uri="{FF2B5EF4-FFF2-40B4-BE49-F238E27FC236}">
                    <a16:creationId xmlns:a16="http://schemas.microsoft.com/office/drawing/2014/main" id="{E8804FCE-E1A5-8B82-58B7-EF09D8173A3E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433675" y="3207650"/>
                <a:ext cx="714238" cy="434187"/>
              </a:xfrm>
              <a:custGeom>
                <a:avLst/>
                <a:gdLst>
                  <a:gd name="T0" fmla="*/ 2147483647 w 458"/>
                  <a:gd name="T1" fmla="*/ 2147483647 h 292"/>
                  <a:gd name="T2" fmla="*/ 2147483647 w 458"/>
                  <a:gd name="T3" fmla="*/ 2147483647 h 292"/>
                  <a:gd name="T4" fmla="*/ 2147483647 w 458"/>
                  <a:gd name="T5" fmla="*/ 2147483647 h 292"/>
                  <a:gd name="T6" fmla="*/ 2147483647 w 458"/>
                  <a:gd name="T7" fmla="*/ 2147483647 h 292"/>
                  <a:gd name="T8" fmla="*/ 2147483647 w 458"/>
                  <a:gd name="T9" fmla="*/ 2147483647 h 292"/>
                  <a:gd name="T10" fmla="*/ 2147483647 w 458"/>
                  <a:gd name="T11" fmla="*/ 2147483647 h 292"/>
                  <a:gd name="T12" fmla="*/ 2147483647 w 458"/>
                  <a:gd name="T13" fmla="*/ 2147483647 h 292"/>
                  <a:gd name="T14" fmla="*/ 2147483647 w 458"/>
                  <a:gd name="T15" fmla="*/ 2147483647 h 292"/>
                  <a:gd name="T16" fmla="*/ 2147483647 w 458"/>
                  <a:gd name="T17" fmla="*/ 2147483647 h 292"/>
                  <a:gd name="T18" fmla="*/ 2147483647 w 458"/>
                  <a:gd name="T19" fmla="*/ 2147483647 h 292"/>
                  <a:gd name="T20" fmla="*/ 2147483647 w 458"/>
                  <a:gd name="T21" fmla="*/ 2147483647 h 292"/>
                  <a:gd name="T22" fmla="*/ 2147483647 w 458"/>
                  <a:gd name="T23" fmla="*/ 2147483647 h 292"/>
                  <a:gd name="T24" fmla="*/ 2147483647 w 458"/>
                  <a:gd name="T25" fmla="*/ 2147483647 h 292"/>
                  <a:gd name="T26" fmla="*/ 2147483647 w 458"/>
                  <a:gd name="T27" fmla="*/ 2147483647 h 292"/>
                  <a:gd name="T28" fmla="*/ 2147483647 w 458"/>
                  <a:gd name="T29" fmla="*/ 2147483647 h 292"/>
                  <a:gd name="T30" fmla="*/ 2147483647 w 458"/>
                  <a:gd name="T31" fmla="*/ 2147483647 h 292"/>
                  <a:gd name="T32" fmla="*/ 2147483647 w 458"/>
                  <a:gd name="T33" fmla="*/ 2147483647 h 292"/>
                  <a:gd name="T34" fmla="*/ 2147483647 w 458"/>
                  <a:gd name="T35" fmla="*/ 2147483647 h 292"/>
                  <a:gd name="T36" fmla="*/ 2147483647 w 458"/>
                  <a:gd name="T37" fmla="*/ 2147483647 h 292"/>
                  <a:gd name="T38" fmla="*/ 2147483647 w 458"/>
                  <a:gd name="T39" fmla="*/ 2147483647 h 292"/>
                  <a:gd name="T40" fmla="*/ 2147483647 w 458"/>
                  <a:gd name="T41" fmla="*/ 2147483647 h 292"/>
                  <a:gd name="T42" fmla="*/ 2147483647 w 458"/>
                  <a:gd name="T43" fmla="*/ 2147483647 h 292"/>
                  <a:gd name="T44" fmla="*/ 2147483647 w 458"/>
                  <a:gd name="T45" fmla="*/ 2147483647 h 292"/>
                  <a:gd name="T46" fmla="*/ 2147483647 w 458"/>
                  <a:gd name="T47" fmla="*/ 2147483647 h 292"/>
                  <a:gd name="T48" fmla="*/ 2147483647 w 458"/>
                  <a:gd name="T49" fmla="*/ 2147483647 h 292"/>
                  <a:gd name="T50" fmla="*/ 2147483647 w 458"/>
                  <a:gd name="T51" fmla="*/ 2147483647 h 292"/>
                  <a:gd name="T52" fmla="*/ 2147483647 w 458"/>
                  <a:gd name="T53" fmla="*/ 2147483647 h 292"/>
                  <a:gd name="T54" fmla="*/ 2147483647 w 458"/>
                  <a:gd name="T55" fmla="*/ 2147483647 h 292"/>
                  <a:gd name="T56" fmla="*/ 2147483647 w 458"/>
                  <a:gd name="T57" fmla="*/ 2147483647 h 292"/>
                  <a:gd name="T58" fmla="*/ 2147483647 w 458"/>
                  <a:gd name="T59" fmla="*/ 2147483647 h 292"/>
                  <a:gd name="T60" fmla="*/ 2147483647 w 458"/>
                  <a:gd name="T61" fmla="*/ 2147483647 h 292"/>
                  <a:gd name="T62" fmla="*/ 2147483647 w 458"/>
                  <a:gd name="T63" fmla="*/ 2147483647 h 292"/>
                  <a:gd name="T64" fmla="*/ 2147483647 w 458"/>
                  <a:gd name="T65" fmla="*/ 2147483647 h 292"/>
                  <a:gd name="T66" fmla="*/ 2147483647 w 458"/>
                  <a:gd name="T67" fmla="*/ 2147483647 h 292"/>
                  <a:gd name="T68" fmla="*/ 2147483647 w 458"/>
                  <a:gd name="T69" fmla="*/ 2147483647 h 292"/>
                  <a:gd name="T70" fmla="*/ 2147483647 w 458"/>
                  <a:gd name="T71" fmla="*/ 2147483647 h 292"/>
                  <a:gd name="T72" fmla="*/ 2147483647 w 458"/>
                  <a:gd name="T73" fmla="*/ 2147483647 h 292"/>
                  <a:gd name="T74" fmla="*/ 2147483647 w 458"/>
                  <a:gd name="T75" fmla="*/ 2147483647 h 292"/>
                  <a:gd name="T76" fmla="*/ 2147483647 w 458"/>
                  <a:gd name="T77" fmla="*/ 2147483647 h 292"/>
                  <a:gd name="T78" fmla="*/ 2147483647 w 458"/>
                  <a:gd name="T79" fmla="*/ 2147483647 h 292"/>
                  <a:gd name="T80" fmla="*/ 2147483647 w 458"/>
                  <a:gd name="T81" fmla="*/ 2147483647 h 292"/>
                  <a:gd name="T82" fmla="*/ 2147483647 w 458"/>
                  <a:gd name="T83" fmla="*/ 2147483647 h 292"/>
                  <a:gd name="T84" fmla="*/ 2147483647 w 458"/>
                  <a:gd name="T85" fmla="*/ 2147483647 h 292"/>
                  <a:gd name="T86" fmla="*/ 2147483647 w 458"/>
                  <a:gd name="T87" fmla="*/ 2147483647 h 292"/>
                  <a:gd name="T88" fmla="*/ 2147483647 w 458"/>
                  <a:gd name="T89" fmla="*/ 2147483647 h 292"/>
                  <a:gd name="T90" fmla="*/ 0 w 458"/>
                  <a:gd name="T91" fmla="*/ 2147483647 h 292"/>
                  <a:gd name="T92" fmla="*/ 0 w 458"/>
                  <a:gd name="T93" fmla="*/ 2147483647 h 292"/>
                  <a:gd name="T94" fmla="*/ 2147483647 w 458"/>
                  <a:gd name="T95" fmla="*/ 2147483647 h 292"/>
                  <a:gd name="T96" fmla="*/ 2147483647 w 458"/>
                  <a:gd name="T97" fmla="*/ 2147483647 h 292"/>
                  <a:gd name="T98" fmla="*/ 2147483647 w 458"/>
                  <a:gd name="T99" fmla="*/ 2147483647 h 292"/>
                  <a:gd name="T100" fmla="*/ 2147483647 w 458"/>
                  <a:gd name="T101" fmla="*/ 2147483647 h 292"/>
                  <a:gd name="T102" fmla="*/ 2147483647 w 458"/>
                  <a:gd name="T103" fmla="*/ 2147483647 h 292"/>
                  <a:gd name="T104" fmla="*/ 2147483647 w 458"/>
                  <a:gd name="T105" fmla="*/ 2147483647 h 292"/>
                  <a:gd name="T106" fmla="*/ 2147483647 w 458"/>
                  <a:gd name="T107" fmla="*/ 2147483647 h 292"/>
                  <a:gd name="T108" fmla="*/ 2147483647 w 458"/>
                  <a:gd name="T109" fmla="*/ 2147483647 h 29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58"/>
                  <a:gd name="T166" fmla="*/ 0 h 292"/>
                  <a:gd name="T167" fmla="*/ 458 w 458"/>
                  <a:gd name="T168" fmla="*/ 292 h 29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58" h="292">
                    <a:moveTo>
                      <a:pt x="106" y="10"/>
                    </a:moveTo>
                    <a:lnTo>
                      <a:pt x="106" y="15"/>
                    </a:lnTo>
                    <a:lnTo>
                      <a:pt x="111" y="20"/>
                    </a:lnTo>
                    <a:lnTo>
                      <a:pt x="111" y="25"/>
                    </a:lnTo>
                    <a:lnTo>
                      <a:pt x="106" y="25"/>
                    </a:lnTo>
                    <a:lnTo>
                      <a:pt x="106" y="35"/>
                    </a:lnTo>
                    <a:lnTo>
                      <a:pt x="106" y="40"/>
                    </a:lnTo>
                    <a:lnTo>
                      <a:pt x="111" y="45"/>
                    </a:lnTo>
                    <a:lnTo>
                      <a:pt x="121" y="45"/>
                    </a:lnTo>
                    <a:lnTo>
                      <a:pt x="126" y="50"/>
                    </a:lnTo>
                    <a:lnTo>
                      <a:pt x="126" y="55"/>
                    </a:lnTo>
                    <a:lnTo>
                      <a:pt x="131" y="55"/>
                    </a:lnTo>
                    <a:lnTo>
                      <a:pt x="136" y="50"/>
                    </a:lnTo>
                    <a:lnTo>
                      <a:pt x="146" y="45"/>
                    </a:lnTo>
                    <a:lnTo>
                      <a:pt x="151" y="50"/>
                    </a:lnTo>
                    <a:lnTo>
                      <a:pt x="156" y="50"/>
                    </a:lnTo>
                    <a:lnTo>
                      <a:pt x="161" y="55"/>
                    </a:lnTo>
                    <a:lnTo>
                      <a:pt x="166" y="60"/>
                    </a:lnTo>
                    <a:lnTo>
                      <a:pt x="166" y="65"/>
                    </a:lnTo>
                    <a:lnTo>
                      <a:pt x="176" y="65"/>
                    </a:lnTo>
                    <a:lnTo>
                      <a:pt x="186" y="60"/>
                    </a:lnTo>
                    <a:lnTo>
                      <a:pt x="186" y="65"/>
                    </a:lnTo>
                    <a:lnTo>
                      <a:pt x="191" y="65"/>
                    </a:lnTo>
                    <a:lnTo>
                      <a:pt x="196" y="60"/>
                    </a:lnTo>
                    <a:lnTo>
                      <a:pt x="201" y="60"/>
                    </a:lnTo>
                    <a:lnTo>
                      <a:pt x="201" y="65"/>
                    </a:lnTo>
                    <a:lnTo>
                      <a:pt x="206" y="70"/>
                    </a:lnTo>
                    <a:lnTo>
                      <a:pt x="211" y="70"/>
                    </a:lnTo>
                    <a:lnTo>
                      <a:pt x="222" y="70"/>
                    </a:lnTo>
                    <a:lnTo>
                      <a:pt x="227" y="65"/>
                    </a:lnTo>
                    <a:lnTo>
                      <a:pt x="232" y="65"/>
                    </a:lnTo>
                    <a:lnTo>
                      <a:pt x="242" y="65"/>
                    </a:lnTo>
                    <a:lnTo>
                      <a:pt x="247" y="70"/>
                    </a:lnTo>
                    <a:lnTo>
                      <a:pt x="252" y="75"/>
                    </a:lnTo>
                    <a:lnTo>
                      <a:pt x="257" y="80"/>
                    </a:lnTo>
                    <a:lnTo>
                      <a:pt x="262" y="85"/>
                    </a:lnTo>
                    <a:lnTo>
                      <a:pt x="272" y="80"/>
                    </a:lnTo>
                    <a:lnTo>
                      <a:pt x="277" y="80"/>
                    </a:lnTo>
                    <a:lnTo>
                      <a:pt x="282" y="85"/>
                    </a:lnTo>
                    <a:lnTo>
                      <a:pt x="282" y="90"/>
                    </a:lnTo>
                    <a:lnTo>
                      <a:pt x="287" y="95"/>
                    </a:lnTo>
                    <a:lnTo>
                      <a:pt x="292" y="95"/>
                    </a:lnTo>
                    <a:lnTo>
                      <a:pt x="292" y="100"/>
                    </a:lnTo>
                    <a:lnTo>
                      <a:pt x="297" y="100"/>
                    </a:lnTo>
                    <a:lnTo>
                      <a:pt x="302" y="100"/>
                    </a:lnTo>
                    <a:lnTo>
                      <a:pt x="307" y="100"/>
                    </a:lnTo>
                    <a:lnTo>
                      <a:pt x="307" y="105"/>
                    </a:lnTo>
                    <a:lnTo>
                      <a:pt x="307" y="110"/>
                    </a:lnTo>
                    <a:lnTo>
                      <a:pt x="307" y="116"/>
                    </a:lnTo>
                    <a:lnTo>
                      <a:pt x="312" y="121"/>
                    </a:lnTo>
                    <a:lnTo>
                      <a:pt x="312" y="126"/>
                    </a:lnTo>
                    <a:lnTo>
                      <a:pt x="322" y="126"/>
                    </a:lnTo>
                    <a:lnTo>
                      <a:pt x="322" y="121"/>
                    </a:lnTo>
                    <a:lnTo>
                      <a:pt x="322" y="116"/>
                    </a:lnTo>
                    <a:lnTo>
                      <a:pt x="327" y="105"/>
                    </a:lnTo>
                    <a:lnTo>
                      <a:pt x="332" y="105"/>
                    </a:lnTo>
                    <a:lnTo>
                      <a:pt x="337" y="105"/>
                    </a:lnTo>
                    <a:lnTo>
                      <a:pt x="342" y="100"/>
                    </a:lnTo>
                    <a:lnTo>
                      <a:pt x="348" y="95"/>
                    </a:lnTo>
                    <a:lnTo>
                      <a:pt x="348" y="100"/>
                    </a:lnTo>
                    <a:lnTo>
                      <a:pt x="348" y="105"/>
                    </a:lnTo>
                    <a:lnTo>
                      <a:pt x="353" y="110"/>
                    </a:lnTo>
                    <a:lnTo>
                      <a:pt x="353" y="116"/>
                    </a:lnTo>
                    <a:lnTo>
                      <a:pt x="353" y="121"/>
                    </a:lnTo>
                    <a:lnTo>
                      <a:pt x="358" y="131"/>
                    </a:lnTo>
                    <a:lnTo>
                      <a:pt x="358" y="136"/>
                    </a:lnTo>
                    <a:lnTo>
                      <a:pt x="368" y="136"/>
                    </a:lnTo>
                    <a:lnTo>
                      <a:pt x="373" y="141"/>
                    </a:lnTo>
                    <a:lnTo>
                      <a:pt x="378" y="141"/>
                    </a:lnTo>
                    <a:lnTo>
                      <a:pt x="383" y="136"/>
                    </a:lnTo>
                    <a:lnTo>
                      <a:pt x="388" y="131"/>
                    </a:lnTo>
                    <a:lnTo>
                      <a:pt x="383" y="131"/>
                    </a:lnTo>
                    <a:lnTo>
                      <a:pt x="383" y="126"/>
                    </a:lnTo>
                    <a:lnTo>
                      <a:pt x="388" y="126"/>
                    </a:lnTo>
                    <a:lnTo>
                      <a:pt x="398" y="131"/>
                    </a:lnTo>
                    <a:lnTo>
                      <a:pt x="398" y="136"/>
                    </a:lnTo>
                    <a:lnTo>
                      <a:pt x="413" y="141"/>
                    </a:lnTo>
                    <a:lnTo>
                      <a:pt x="418" y="146"/>
                    </a:lnTo>
                    <a:lnTo>
                      <a:pt x="423" y="151"/>
                    </a:lnTo>
                    <a:lnTo>
                      <a:pt x="428" y="156"/>
                    </a:lnTo>
                    <a:lnTo>
                      <a:pt x="423" y="161"/>
                    </a:lnTo>
                    <a:lnTo>
                      <a:pt x="433" y="166"/>
                    </a:lnTo>
                    <a:lnTo>
                      <a:pt x="438" y="171"/>
                    </a:lnTo>
                    <a:lnTo>
                      <a:pt x="433" y="176"/>
                    </a:lnTo>
                    <a:lnTo>
                      <a:pt x="433" y="181"/>
                    </a:lnTo>
                    <a:lnTo>
                      <a:pt x="438" y="186"/>
                    </a:lnTo>
                    <a:lnTo>
                      <a:pt x="443" y="191"/>
                    </a:lnTo>
                    <a:lnTo>
                      <a:pt x="453" y="196"/>
                    </a:lnTo>
                    <a:lnTo>
                      <a:pt x="458" y="206"/>
                    </a:lnTo>
                    <a:lnTo>
                      <a:pt x="458" y="211"/>
                    </a:lnTo>
                    <a:lnTo>
                      <a:pt x="453" y="216"/>
                    </a:lnTo>
                    <a:lnTo>
                      <a:pt x="453" y="221"/>
                    </a:lnTo>
                    <a:lnTo>
                      <a:pt x="458" y="231"/>
                    </a:lnTo>
                    <a:lnTo>
                      <a:pt x="453" y="231"/>
                    </a:lnTo>
                    <a:lnTo>
                      <a:pt x="453" y="236"/>
                    </a:lnTo>
                    <a:lnTo>
                      <a:pt x="448" y="236"/>
                    </a:lnTo>
                    <a:lnTo>
                      <a:pt x="443" y="236"/>
                    </a:lnTo>
                    <a:lnTo>
                      <a:pt x="438" y="236"/>
                    </a:lnTo>
                    <a:lnTo>
                      <a:pt x="433" y="236"/>
                    </a:lnTo>
                    <a:lnTo>
                      <a:pt x="428" y="242"/>
                    </a:lnTo>
                    <a:lnTo>
                      <a:pt x="423" y="242"/>
                    </a:lnTo>
                    <a:lnTo>
                      <a:pt x="423" y="247"/>
                    </a:lnTo>
                    <a:lnTo>
                      <a:pt x="423" y="252"/>
                    </a:lnTo>
                    <a:lnTo>
                      <a:pt x="418" y="252"/>
                    </a:lnTo>
                    <a:lnTo>
                      <a:pt x="413" y="252"/>
                    </a:lnTo>
                    <a:lnTo>
                      <a:pt x="413" y="257"/>
                    </a:lnTo>
                    <a:lnTo>
                      <a:pt x="408" y="257"/>
                    </a:lnTo>
                    <a:lnTo>
                      <a:pt x="403" y="257"/>
                    </a:lnTo>
                    <a:lnTo>
                      <a:pt x="403" y="262"/>
                    </a:lnTo>
                    <a:lnTo>
                      <a:pt x="398" y="262"/>
                    </a:lnTo>
                    <a:lnTo>
                      <a:pt x="393" y="262"/>
                    </a:lnTo>
                    <a:lnTo>
                      <a:pt x="393" y="257"/>
                    </a:lnTo>
                    <a:lnTo>
                      <a:pt x="388" y="262"/>
                    </a:lnTo>
                    <a:lnTo>
                      <a:pt x="388" y="257"/>
                    </a:lnTo>
                    <a:lnTo>
                      <a:pt x="388" y="262"/>
                    </a:lnTo>
                    <a:lnTo>
                      <a:pt x="388" y="257"/>
                    </a:lnTo>
                    <a:lnTo>
                      <a:pt x="388" y="262"/>
                    </a:lnTo>
                    <a:lnTo>
                      <a:pt x="383" y="262"/>
                    </a:lnTo>
                    <a:lnTo>
                      <a:pt x="378" y="262"/>
                    </a:lnTo>
                    <a:lnTo>
                      <a:pt x="373" y="257"/>
                    </a:lnTo>
                    <a:lnTo>
                      <a:pt x="368" y="257"/>
                    </a:lnTo>
                    <a:lnTo>
                      <a:pt x="368" y="252"/>
                    </a:lnTo>
                    <a:lnTo>
                      <a:pt x="363" y="252"/>
                    </a:lnTo>
                    <a:lnTo>
                      <a:pt x="363" y="257"/>
                    </a:lnTo>
                    <a:lnTo>
                      <a:pt x="363" y="252"/>
                    </a:lnTo>
                    <a:lnTo>
                      <a:pt x="363" y="257"/>
                    </a:lnTo>
                    <a:lnTo>
                      <a:pt x="358" y="257"/>
                    </a:lnTo>
                    <a:lnTo>
                      <a:pt x="358" y="252"/>
                    </a:lnTo>
                    <a:lnTo>
                      <a:pt x="353" y="252"/>
                    </a:lnTo>
                    <a:lnTo>
                      <a:pt x="353" y="257"/>
                    </a:lnTo>
                    <a:lnTo>
                      <a:pt x="353" y="252"/>
                    </a:lnTo>
                    <a:lnTo>
                      <a:pt x="348" y="252"/>
                    </a:lnTo>
                    <a:lnTo>
                      <a:pt x="348" y="257"/>
                    </a:lnTo>
                    <a:lnTo>
                      <a:pt x="342" y="257"/>
                    </a:lnTo>
                    <a:lnTo>
                      <a:pt x="342" y="262"/>
                    </a:lnTo>
                    <a:lnTo>
                      <a:pt x="337" y="262"/>
                    </a:lnTo>
                    <a:lnTo>
                      <a:pt x="332" y="262"/>
                    </a:lnTo>
                    <a:lnTo>
                      <a:pt x="332" y="267"/>
                    </a:lnTo>
                    <a:lnTo>
                      <a:pt x="327" y="267"/>
                    </a:lnTo>
                    <a:lnTo>
                      <a:pt x="327" y="262"/>
                    </a:lnTo>
                    <a:lnTo>
                      <a:pt x="327" y="257"/>
                    </a:lnTo>
                    <a:lnTo>
                      <a:pt x="322" y="257"/>
                    </a:lnTo>
                    <a:lnTo>
                      <a:pt x="317" y="257"/>
                    </a:lnTo>
                    <a:lnTo>
                      <a:pt x="317" y="252"/>
                    </a:lnTo>
                    <a:lnTo>
                      <a:pt x="312" y="252"/>
                    </a:lnTo>
                    <a:lnTo>
                      <a:pt x="307" y="252"/>
                    </a:lnTo>
                    <a:lnTo>
                      <a:pt x="307" y="257"/>
                    </a:lnTo>
                    <a:lnTo>
                      <a:pt x="302" y="257"/>
                    </a:lnTo>
                    <a:lnTo>
                      <a:pt x="297" y="257"/>
                    </a:lnTo>
                    <a:lnTo>
                      <a:pt x="292" y="257"/>
                    </a:lnTo>
                    <a:lnTo>
                      <a:pt x="292" y="262"/>
                    </a:lnTo>
                    <a:lnTo>
                      <a:pt x="292" y="257"/>
                    </a:lnTo>
                    <a:lnTo>
                      <a:pt x="287" y="257"/>
                    </a:lnTo>
                    <a:lnTo>
                      <a:pt x="282" y="257"/>
                    </a:lnTo>
                    <a:lnTo>
                      <a:pt x="277" y="257"/>
                    </a:lnTo>
                    <a:lnTo>
                      <a:pt x="272" y="257"/>
                    </a:lnTo>
                    <a:lnTo>
                      <a:pt x="267" y="257"/>
                    </a:lnTo>
                    <a:lnTo>
                      <a:pt x="267" y="262"/>
                    </a:lnTo>
                    <a:lnTo>
                      <a:pt x="267" y="267"/>
                    </a:lnTo>
                    <a:lnTo>
                      <a:pt x="267" y="272"/>
                    </a:lnTo>
                    <a:lnTo>
                      <a:pt x="262" y="267"/>
                    </a:lnTo>
                    <a:lnTo>
                      <a:pt x="262" y="272"/>
                    </a:lnTo>
                    <a:lnTo>
                      <a:pt x="262" y="267"/>
                    </a:lnTo>
                    <a:lnTo>
                      <a:pt x="257" y="267"/>
                    </a:lnTo>
                    <a:lnTo>
                      <a:pt x="252" y="267"/>
                    </a:lnTo>
                    <a:lnTo>
                      <a:pt x="247" y="267"/>
                    </a:lnTo>
                    <a:lnTo>
                      <a:pt x="247" y="262"/>
                    </a:lnTo>
                    <a:lnTo>
                      <a:pt x="247" y="267"/>
                    </a:lnTo>
                    <a:lnTo>
                      <a:pt x="242" y="267"/>
                    </a:lnTo>
                    <a:lnTo>
                      <a:pt x="242" y="262"/>
                    </a:lnTo>
                    <a:lnTo>
                      <a:pt x="237" y="262"/>
                    </a:lnTo>
                    <a:lnTo>
                      <a:pt x="232" y="262"/>
                    </a:lnTo>
                    <a:lnTo>
                      <a:pt x="232" y="257"/>
                    </a:lnTo>
                    <a:lnTo>
                      <a:pt x="227" y="257"/>
                    </a:lnTo>
                    <a:lnTo>
                      <a:pt x="222" y="257"/>
                    </a:lnTo>
                    <a:lnTo>
                      <a:pt x="222" y="252"/>
                    </a:lnTo>
                    <a:lnTo>
                      <a:pt x="222" y="247"/>
                    </a:lnTo>
                    <a:lnTo>
                      <a:pt x="216" y="247"/>
                    </a:lnTo>
                    <a:lnTo>
                      <a:pt x="216" y="242"/>
                    </a:lnTo>
                    <a:lnTo>
                      <a:pt x="211" y="247"/>
                    </a:lnTo>
                    <a:lnTo>
                      <a:pt x="211" y="242"/>
                    </a:lnTo>
                    <a:lnTo>
                      <a:pt x="211" y="247"/>
                    </a:lnTo>
                    <a:lnTo>
                      <a:pt x="206" y="247"/>
                    </a:lnTo>
                    <a:lnTo>
                      <a:pt x="201" y="247"/>
                    </a:lnTo>
                    <a:lnTo>
                      <a:pt x="201" y="242"/>
                    </a:lnTo>
                    <a:lnTo>
                      <a:pt x="201" y="236"/>
                    </a:lnTo>
                    <a:lnTo>
                      <a:pt x="201" y="242"/>
                    </a:lnTo>
                    <a:lnTo>
                      <a:pt x="196" y="242"/>
                    </a:lnTo>
                    <a:lnTo>
                      <a:pt x="196" y="247"/>
                    </a:lnTo>
                    <a:lnTo>
                      <a:pt x="191" y="247"/>
                    </a:lnTo>
                    <a:lnTo>
                      <a:pt x="191" y="252"/>
                    </a:lnTo>
                    <a:lnTo>
                      <a:pt x="191" y="257"/>
                    </a:lnTo>
                    <a:lnTo>
                      <a:pt x="191" y="262"/>
                    </a:lnTo>
                    <a:lnTo>
                      <a:pt x="191" y="267"/>
                    </a:lnTo>
                    <a:lnTo>
                      <a:pt x="191" y="272"/>
                    </a:lnTo>
                    <a:lnTo>
                      <a:pt x="186" y="272"/>
                    </a:lnTo>
                    <a:lnTo>
                      <a:pt x="181" y="277"/>
                    </a:lnTo>
                    <a:lnTo>
                      <a:pt x="176" y="277"/>
                    </a:lnTo>
                    <a:lnTo>
                      <a:pt x="171" y="277"/>
                    </a:lnTo>
                    <a:lnTo>
                      <a:pt x="166" y="277"/>
                    </a:lnTo>
                    <a:lnTo>
                      <a:pt x="161" y="277"/>
                    </a:lnTo>
                    <a:lnTo>
                      <a:pt x="161" y="282"/>
                    </a:lnTo>
                    <a:lnTo>
                      <a:pt x="161" y="277"/>
                    </a:lnTo>
                    <a:lnTo>
                      <a:pt x="166" y="282"/>
                    </a:lnTo>
                    <a:lnTo>
                      <a:pt x="166" y="287"/>
                    </a:lnTo>
                    <a:lnTo>
                      <a:pt x="166" y="292"/>
                    </a:lnTo>
                    <a:lnTo>
                      <a:pt x="161" y="292"/>
                    </a:lnTo>
                    <a:lnTo>
                      <a:pt x="156" y="292"/>
                    </a:lnTo>
                    <a:lnTo>
                      <a:pt x="156" y="287"/>
                    </a:lnTo>
                    <a:lnTo>
                      <a:pt x="151" y="287"/>
                    </a:lnTo>
                    <a:lnTo>
                      <a:pt x="146" y="287"/>
                    </a:lnTo>
                    <a:lnTo>
                      <a:pt x="146" y="282"/>
                    </a:lnTo>
                    <a:lnTo>
                      <a:pt x="151" y="282"/>
                    </a:lnTo>
                    <a:lnTo>
                      <a:pt x="156" y="282"/>
                    </a:lnTo>
                    <a:lnTo>
                      <a:pt x="151" y="277"/>
                    </a:lnTo>
                    <a:lnTo>
                      <a:pt x="151" y="272"/>
                    </a:lnTo>
                    <a:lnTo>
                      <a:pt x="151" y="267"/>
                    </a:lnTo>
                    <a:lnTo>
                      <a:pt x="146" y="262"/>
                    </a:lnTo>
                    <a:lnTo>
                      <a:pt x="141" y="262"/>
                    </a:lnTo>
                    <a:lnTo>
                      <a:pt x="141" y="257"/>
                    </a:lnTo>
                    <a:lnTo>
                      <a:pt x="141" y="252"/>
                    </a:lnTo>
                    <a:lnTo>
                      <a:pt x="136" y="252"/>
                    </a:lnTo>
                    <a:lnTo>
                      <a:pt x="136" y="257"/>
                    </a:lnTo>
                    <a:lnTo>
                      <a:pt x="136" y="252"/>
                    </a:lnTo>
                    <a:lnTo>
                      <a:pt x="131" y="252"/>
                    </a:lnTo>
                    <a:lnTo>
                      <a:pt x="131" y="257"/>
                    </a:lnTo>
                    <a:lnTo>
                      <a:pt x="126" y="257"/>
                    </a:lnTo>
                    <a:lnTo>
                      <a:pt x="126" y="252"/>
                    </a:lnTo>
                    <a:lnTo>
                      <a:pt x="121" y="257"/>
                    </a:lnTo>
                    <a:lnTo>
                      <a:pt x="116" y="262"/>
                    </a:lnTo>
                    <a:lnTo>
                      <a:pt x="111" y="262"/>
                    </a:lnTo>
                    <a:lnTo>
                      <a:pt x="106" y="262"/>
                    </a:lnTo>
                    <a:lnTo>
                      <a:pt x="101" y="262"/>
                    </a:lnTo>
                    <a:lnTo>
                      <a:pt x="101" y="267"/>
                    </a:lnTo>
                    <a:lnTo>
                      <a:pt x="101" y="262"/>
                    </a:lnTo>
                    <a:lnTo>
                      <a:pt x="96" y="262"/>
                    </a:lnTo>
                    <a:lnTo>
                      <a:pt x="96" y="257"/>
                    </a:lnTo>
                    <a:lnTo>
                      <a:pt x="96" y="252"/>
                    </a:lnTo>
                    <a:lnTo>
                      <a:pt x="96" y="247"/>
                    </a:lnTo>
                    <a:lnTo>
                      <a:pt x="90" y="247"/>
                    </a:lnTo>
                    <a:lnTo>
                      <a:pt x="90" y="242"/>
                    </a:lnTo>
                    <a:lnTo>
                      <a:pt x="90" y="236"/>
                    </a:lnTo>
                    <a:lnTo>
                      <a:pt x="85" y="236"/>
                    </a:lnTo>
                    <a:lnTo>
                      <a:pt x="80" y="236"/>
                    </a:lnTo>
                    <a:lnTo>
                      <a:pt x="80" y="231"/>
                    </a:lnTo>
                    <a:lnTo>
                      <a:pt x="75" y="226"/>
                    </a:lnTo>
                    <a:lnTo>
                      <a:pt x="70" y="226"/>
                    </a:lnTo>
                    <a:lnTo>
                      <a:pt x="65" y="226"/>
                    </a:lnTo>
                    <a:lnTo>
                      <a:pt x="60" y="226"/>
                    </a:lnTo>
                    <a:lnTo>
                      <a:pt x="55" y="226"/>
                    </a:lnTo>
                    <a:lnTo>
                      <a:pt x="55" y="231"/>
                    </a:lnTo>
                    <a:lnTo>
                      <a:pt x="50" y="231"/>
                    </a:lnTo>
                    <a:lnTo>
                      <a:pt x="50" y="226"/>
                    </a:lnTo>
                    <a:lnTo>
                      <a:pt x="45" y="226"/>
                    </a:lnTo>
                    <a:lnTo>
                      <a:pt x="45" y="221"/>
                    </a:lnTo>
                    <a:lnTo>
                      <a:pt x="45" y="216"/>
                    </a:lnTo>
                    <a:lnTo>
                      <a:pt x="40" y="216"/>
                    </a:lnTo>
                    <a:lnTo>
                      <a:pt x="40" y="211"/>
                    </a:lnTo>
                    <a:lnTo>
                      <a:pt x="35" y="201"/>
                    </a:lnTo>
                    <a:lnTo>
                      <a:pt x="30" y="201"/>
                    </a:lnTo>
                    <a:lnTo>
                      <a:pt x="30" y="206"/>
                    </a:lnTo>
                    <a:lnTo>
                      <a:pt x="25" y="201"/>
                    </a:lnTo>
                    <a:lnTo>
                      <a:pt x="30" y="201"/>
                    </a:lnTo>
                    <a:lnTo>
                      <a:pt x="25" y="201"/>
                    </a:lnTo>
                    <a:lnTo>
                      <a:pt x="25" y="196"/>
                    </a:lnTo>
                    <a:lnTo>
                      <a:pt x="20" y="196"/>
                    </a:lnTo>
                    <a:lnTo>
                      <a:pt x="25" y="196"/>
                    </a:lnTo>
                    <a:lnTo>
                      <a:pt x="25" y="191"/>
                    </a:lnTo>
                    <a:lnTo>
                      <a:pt x="20" y="191"/>
                    </a:lnTo>
                    <a:lnTo>
                      <a:pt x="15" y="186"/>
                    </a:lnTo>
                    <a:lnTo>
                      <a:pt x="15" y="191"/>
                    </a:lnTo>
                    <a:lnTo>
                      <a:pt x="10" y="191"/>
                    </a:lnTo>
                    <a:lnTo>
                      <a:pt x="5" y="196"/>
                    </a:lnTo>
                    <a:lnTo>
                      <a:pt x="0" y="196"/>
                    </a:lnTo>
                    <a:lnTo>
                      <a:pt x="0" y="191"/>
                    </a:lnTo>
                    <a:lnTo>
                      <a:pt x="0" y="186"/>
                    </a:lnTo>
                    <a:lnTo>
                      <a:pt x="0" y="171"/>
                    </a:lnTo>
                    <a:lnTo>
                      <a:pt x="0" y="166"/>
                    </a:lnTo>
                    <a:lnTo>
                      <a:pt x="0" y="161"/>
                    </a:lnTo>
                    <a:lnTo>
                      <a:pt x="0" y="156"/>
                    </a:lnTo>
                    <a:lnTo>
                      <a:pt x="0" y="151"/>
                    </a:lnTo>
                    <a:lnTo>
                      <a:pt x="0" y="146"/>
                    </a:lnTo>
                    <a:lnTo>
                      <a:pt x="0" y="141"/>
                    </a:lnTo>
                    <a:lnTo>
                      <a:pt x="5" y="141"/>
                    </a:lnTo>
                    <a:lnTo>
                      <a:pt x="5" y="136"/>
                    </a:lnTo>
                    <a:lnTo>
                      <a:pt x="10" y="136"/>
                    </a:lnTo>
                    <a:lnTo>
                      <a:pt x="10" y="131"/>
                    </a:lnTo>
                    <a:lnTo>
                      <a:pt x="10" y="126"/>
                    </a:lnTo>
                    <a:lnTo>
                      <a:pt x="15" y="126"/>
                    </a:lnTo>
                    <a:lnTo>
                      <a:pt x="15" y="121"/>
                    </a:lnTo>
                    <a:lnTo>
                      <a:pt x="20" y="121"/>
                    </a:lnTo>
                    <a:lnTo>
                      <a:pt x="20" y="116"/>
                    </a:lnTo>
                    <a:lnTo>
                      <a:pt x="25" y="116"/>
                    </a:lnTo>
                    <a:lnTo>
                      <a:pt x="25" y="110"/>
                    </a:lnTo>
                    <a:lnTo>
                      <a:pt x="25" y="105"/>
                    </a:lnTo>
                    <a:lnTo>
                      <a:pt x="25" y="100"/>
                    </a:lnTo>
                    <a:lnTo>
                      <a:pt x="25" y="95"/>
                    </a:lnTo>
                    <a:lnTo>
                      <a:pt x="25" y="90"/>
                    </a:lnTo>
                    <a:lnTo>
                      <a:pt x="25" y="85"/>
                    </a:lnTo>
                    <a:lnTo>
                      <a:pt x="30" y="85"/>
                    </a:lnTo>
                    <a:lnTo>
                      <a:pt x="30" y="80"/>
                    </a:lnTo>
                    <a:lnTo>
                      <a:pt x="25" y="75"/>
                    </a:lnTo>
                    <a:lnTo>
                      <a:pt x="25" y="70"/>
                    </a:lnTo>
                    <a:lnTo>
                      <a:pt x="25" y="65"/>
                    </a:lnTo>
                    <a:lnTo>
                      <a:pt x="25" y="60"/>
                    </a:lnTo>
                    <a:lnTo>
                      <a:pt x="30" y="60"/>
                    </a:lnTo>
                    <a:lnTo>
                      <a:pt x="30" y="55"/>
                    </a:lnTo>
                    <a:lnTo>
                      <a:pt x="30" y="50"/>
                    </a:lnTo>
                    <a:lnTo>
                      <a:pt x="30" y="45"/>
                    </a:lnTo>
                    <a:lnTo>
                      <a:pt x="30" y="40"/>
                    </a:lnTo>
                    <a:lnTo>
                      <a:pt x="35" y="40"/>
                    </a:lnTo>
                    <a:lnTo>
                      <a:pt x="35" y="35"/>
                    </a:lnTo>
                    <a:lnTo>
                      <a:pt x="35" y="30"/>
                    </a:lnTo>
                    <a:lnTo>
                      <a:pt x="40" y="25"/>
                    </a:lnTo>
                    <a:lnTo>
                      <a:pt x="45" y="25"/>
                    </a:lnTo>
                    <a:lnTo>
                      <a:pt x="45" y="20"/>
                    </a:lnTo>
                    <a:lnTo>
                      <a:pt x="45" y="15"/>
                    </a:lnTo>
                    <a:lnTo>
                      <a:pt x="45" y="5"/>
                    </a:lnTo>
                    <a:lnTo>
                      <a:pt x="45" y="0"/>
                    </a:lnTo>
                    <a:lnTo>
                      <a:pt x="50" y="0"/>
                    </a:lnTo>
                    <a:lnTo>
                      <a:pt x="55" y="0"/>
                    </a:lnTo>
                    <a:lnTo>
                      <a:pt x="60" y="5"/>
                    </a:lnTo>
                    <a:lnTo>
                      <a:pt x="65" y="10"/>
                    </a:lnTo>
                    <a:lnTo>
                      <a:pt x="70" y="10"/>
                    </a:lnTo>
                    <a:lnTo>
                      <a:pt x="75" y="5"/>
                    </a:lnTo>
                    <a:lnTo>
                      <a:pt x="80" y="5"/>
                    </a:lnTo>
                    <a:lnTo>
                      <a:pt x="85" y="0"/>
                    </a:lnTo>
                    <a:lnTo>
                      <a:pt x="85" y="5"/>
                    </a:lnTo>
                    <a:lnTo>
                      <a:pt x="90" y="10"/>
                    </a:lnTo>
                    <a:lnTo>
                      <a:pt x="96" y="10"/>
                    </a:lnTo>
                    <a:lnTo>
                      <a:pt x="96" y="15"/>
                    </a:lnTo>
                    <a:lnTo>
                      <a:pt x="101" y="15"/>
                    </a:lnTo>
                    <a:lnTo>
                      <a:pt x="106" y="15"/>
                    </a:lnTo>
                    <a:lnTo>
                      <a:pt x="106" y="10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 523">
                <a:extLst>
                  <a:ext uri="{FF2B5EF4-FFF2-40B4-BE49-F238E27FC236}">
                    <a16:creationId xmlns:a16="http://schemas.microsoft.com/office/drawing/2014/main" id="{7D948642-8A52-A121-1BD2-CA60D0F9A756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3853802" y="3358657"/>
                <a:ext cx="855221" cy="765962"/>
              </a:xfrm>
              <a:custGeom>
                <a:avLst/>
                <a:gdLst>
                  <a:gd name="T0" fmla="*/ 2147483647 w 549"/>
                  <a:gd name="T1" fmla="*/ 2147483647 h 514"/>
                  <a:gd name="T2" fmla="*/ 2147483647 w 549"/>
                  <a:gd name="T3" fmla="*/ 2147483647 h 514"/>
                  <a:gd name="T4" fmla="*/ 2147483647 w 549"/>
                  <a:gd name="T5" fmla="*/ 2147483647 h 514"/>
                  <a:gd name="T6" fmla="*/ 2147483647 w 549"/>
                  <a:gd name="T7" fmla="*/ 2147483647 h 514"/>
                  <a:gd name="T8" fmla="*/ 2147483647 w 549"/>
                  <a:gd name="T9" fmla="*/ 2147483647 h 514"/>
                  <a:gd name="T10" fmla="*/ 2147483647 w 549"/>
                  <a:gd name="T11" fmla="*/ 2147483647 h 514"/>
                  <a:gd name="T12" fmla="*/ 2147483647 w 549"/>
                  <a:gd name="T13" fmla="*/ 2147483647 h 514"/>
                  <a:gd name="T14" fmla="*/ 2147483647 w 549"/>
                  <a:gd name="T15" fmla="*/ 2147483647 h 514"/>
                  <a:gd name="T16" fmla="*/ 2147483647 w 549"/>
                  <a:gd name="T17" fmla="*/ 2147483647 h 514"/>
                  <a:gd name="T18" fmla="*/ 2147483647 w 549"/>
                  <a:gd name="T19" fmla="*/ 2147483647 h 514"/>
                  <a:gd name="T20" fmla="*/ 2147483647 w 549"/>
                  <a:gd name="T21" fmla="*/ 2147483647 h 514"/>
                  <a:gd name="T22" fmla="*/ 2147483647 w 549"/>
                  <a:gd name="T23" fmla="*/ 2147483647 h 514"/>
                  <a:gd name="T24" fmla="*/ 2147483647 w 549"/>
                  <a:gd name="T25" fmla="*/ 2147483647 h 514"/>
                  <a:gd name="T26" fmla="*/ 2147483647 w 549"/>
                  <a:gd name="T27" fmla="*/ 2147483647 h 514"/>
                  <a:gd name="T28" fmla="*/ 2147483647 w 549"/>
                  <a:gd name="T29" fmla="*/ 2147483647 h 514"/>
                  <a:gd name="T30" fmla="*/ 2147483647 w 549"/>
                  <a:gd name="T31" fmla="*/ 2147483647 h 514"/>
                  <a:gd name="T32" fmla="*/ 2147483647 w 549"/>
                  <a:gd name="T33" fmla="*/ 2147483647 h 514"/>
                  <a:gd name="T34" fmla="*/ 2147483647 w 549"/>
                  <a:gd name="T35" fmla="*/ 2147483647 h 514"/>
                  <a:gd name="T36" fmla="*/ 2147483647 w 549"/>
                  <a:gd name="T37" fmla="*/ 2147483647 h 514"/>
                  <a:gd name="T38" fmla="*/ 2147483647 w 549"/>
                  <a:gd name="T39" fmla="*/ 2147483647 h 514"/>
                  <a:gd name="T40" fmla="*/ 2147483647 w 549"/>
                  <a:gd name="T41" fmla="*/ 2147483647 h 514"/>
                  <a:gd name="T42" fmla="*/ 2147483647 w 549"/>
                  <a:gd name="T43" fmla="*/ 2147483647 h 514"/>
                  <a:gd name="T44" fmla="*/ 2147483647 w 549"/>
                  <a:gd name="T45" fmla="*/ 2147483647 h 514"/>
                  <a:gd name="T46" fmla="*/ 2147483647 w 549"/>
                  <a:gd name="T47" fmla="*/ 2147483647 h 514"/>
                  <a:gd name="T48" fmla="*/ 2147483647 w 549"/>
                  <a:gd name="T49" fmla="*/ 2147483647 h 514"/>
                  <a:gd name="T50" fmla="*/ 2147483647 w 549"/>
                  <a:gd name="T51" fmla="*/ 2147483647 h 514"/>
                  <a:gd name="T52" fmla="*/ 2147483647 w 549"/>
                  <a:gd name="T53" fmla="*/ 2147483647 h 514"/>
                  <a:gd name="T54" fmla="*/ 2147483647 w 549"/>
                  <a:gd name="T55" fmla="*/ 2147483647 h 514"/>
                  <a:gd name="T56" fmla="*/ 2147483647 w 549"/>
                  <a:gd name="T57" fmla="*/ 2147483647 h 514"/>
                  <a:gd name="T58" fmla="*/ 2147483647 w 549"/>
                  <a:gd name="T59" fmla="*/ 2147483647 h 514"/>
                  <a:gd name="T60" fmla="*/ 2147483647 w 549"/>
                  <a:gd name="T61" fmla="*/ 2147483647 h 514"/>
                  <a:gd name="T62" fmla="*/ 2147483647 w 549"/>
                  <a:gd name="T63" fmla="*/ 2147483647 h 514"/>
                  <a:gd name="T64" fmla="*/ 2147483647 w 549"/>
                  <a:gd name="T65" fmla="*/ 2147483647 h 514"/>
                  <a:gd name="T66" fmla="*/ 2147483647 w 549"/>
                  <a:gd name="T67" fmla="*/ 2147483647 h 514"/>
                  <a:gd name="T68" fmla="*/ 2147483647 w 549"/>
                  <a:gd name="T69" fmla="*/ 2147483647 h 514"/>
                  <a:gd name="T70" fmla="*/ 2147483647 w 549"/>
                  <a:gd name="T71" fmla="*/ 2147483647 h 514"/>
                  <a:gd name="T72" fmla="*/ 2147483647 w 549"/>
                  <a:gd name="T73" fmla="*/ 2147483647 h 514"/>
                  <a:gd name="T74" fmla="*/ 2147483647 w 549"/>
                  <a:gd name="T75" fmla="*/ 2147483647 h 514"/>
                  <a:gd name="T76" fmla="*/ 2147483647 w 549"/>
                  <a:gd name="T77" fmla="*/ 2147483647 h 514"/>
                  <a:gd name="T78" fmla="*/ 2147483647 w 549"/>
                  <a:gd name="T79" fmla="*/ 2147483647 h 514"/>
                  <a:gd name="T80" fmla="*/ 2147483647 w 549"/>
                  <a:gd name="T81" fmla="*/ 2147483647 h 514"/>
                  <a:gd name="T82" fmla="*/ 2147483647 w 549"/>
                  <a:gd name="T83" fmla="*/ 2147483647 h 514"/>
                  <a:gd name="T84" fmla="*/ 2147483647 w 549"/>
                  <a:gd name="T85" fmla="*/ 2147483647 h 514"/>
                  <a:gd name="T86" fmla="*/ 2147483647 w 549"/>
                  <a:gd name="T87" fmla="*/ 2147483647 h 514"/>
                  <a:gd name="T88" fmla="*/ 2147483647 w 549"/>
                  <a:gd name="T89" fmla="*/ 2147483647 h 514"/>
                  <a:gd name="T90" fmla="*/ 2147483647 w 549"/>
                  <a:gd name="T91" fmla="*/ 2147483647 h 514"/>
                  <a:gd name="T92" fmla="*/ 2147483647 w 549"/>
                  <a:gd name="T93" fmla="*/ 2147483647 h 514"/>
                  <a:gd name="T94" fmla="*/ 2147483647 w 549"/>
                  <a:gd name="T95" fmla="*/ 2147483647 h 514"/>
                  <a:gd name="T96" fmla="*/ 2147483647 w 549"/>
                  <a:gd name="T97" fmla="*/ 2147483647 h 514"/>
                  <a:gd name="T98" fmla="*/ 2147483647 w 549"/>
                  <a:gd name="T99" fmla="*/ 2147483647 h 514"/>
                  <a:gd name="T100" fmla="*/ 2147483647 w 549"/>
                  <a:gd name="T101" fmla="*/ 2147483647 h 514"/>
                  <a:gd name="T102" fmla="*/ 2147483647 w 549"/>
                  <a:gd name="T103" fmla="*/ 2147483647 h 514"/>
                  <a:gd name="T104" fmla="*/ 2147483647 w 549"/>
                  <a:gd name="T105" fmla="*/ 2147483647 h 514"/>
                  <a:gd name="T106" fmla="*/ 2147483647 w 549"/>
                  <a:gd name="T107" fmla="*/ 2147483647 h 514"/>
                  <a:gd name="T108" fmla="*/ 2147483647 w 549"/>
                  <a:gd name="T109" fmla="*/ 2147483647 h 514"/>
                  <a:gd name="T110" fmla="*/ 2147483647 w 549"/>
                  <a:gd name="T111" fmla="*/ 2147483647 h 514"/>
                  <a:gd name="T112" fmla="*/ 2147483647 w 549"/>
                  <a:gd name="T113" fmla="*/ 2147483647 h 51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49"/>
                  <a:gd name="T172" fmla="*/ 0 h 514"/>
                  <a:gd name="T173" fmla="*/ 549 w 549"/>
                  <a:gd name="T174" fmla="*/ 514 h 51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49" h="514">
                    <a:moveTo>
                      <a:pt x="544" y="232"/>
                    </a:moveTo>
                    <a:lnTo>
                      <a:pt x="539" y="237"/>
                    </a:lnTo>
                    <a:lnTo>
                      <a:pt x="534" y="242"/>
                    </a:lnTo>
                    <a:lnTo>
                      <a:pt x="534" y="247"/>
                    </a:lnTo>
                    <a:lnTo>
                      <a:pt x="529" y="252"/>
                    </a:lnTo>
                    <a:lnTo>
                      <a:pt x="529" y="257"/>
                    </a:lnTo>
                    <a:lnTo>
                      <a:pt x="524" y="257"/>
                    </a:lnTo>
                    <a:lnTo>
                      <a:pt x="524" y="262"/>
                    </a:lnTo>
                    <a:lnTo>
                      <a:pt x="524" y="267"/>
                    </a:lnTo>
                    <a:lnTo>
                      <a:pt x="524" y="272"/>
                    </a:lnTo>
                    <a:lnTo>
                      <a:pt x="524" y="287"/>
                    </a:lnTo>
                    <a:lnTo>
                      <a:pt x="524" y="292"/>
                    </a:lnTo>
                    <a:lnTo>
                      <a:pt x="524" y="297"/>
                    </a:lnTo>
                    <a:lnTo>
                      <a:pt x="524" y="307"/>
                    </a:lnTo>
                    <a:lnTo>
                      <a:pt x="524" y="312"/>
                    </a:lnTo>
                    <a:lnTo>
                      <a:pt x="519" y="317"/>
                    </a:lnTo>
                    <a:lnTo>
                      <a:pt x="514" y="317"/>
                    </a:lnTo>
                    <a:lnTo>
                      <a:pt x="519" y="317"/>
                    </a:lnTo>
                    <a:lnTo>
                      <a:pt x="514" y="312"/>
                    </a:lnTo>
                    <a:lnTo>
                      <a:pt x="514" y="307"/>
                    </a:lnTo>
                    <a:lnTo>
                      <a:pt x="514" y="312"/>
                    </a:lnTo>
                    <a:lnTo>
                      <a:pt x="519" y="312"/>
                    </a:lnTo>
                    <a:lnTo>
                      <a:pt x="519" y="307"/>
                    </a:lnTo>
                    <a:lnTo>
                      <a:pt x="524" y="302"/>
                    </a:lnTo>
                    <a:lnTo>
                      <a:pt x="519" y="302"/>
                    </a:lnTo>
                    <a:lnTo>
                      <a:pt x="519" y="297"/>
                    </a:lnTo>
                    <a:lnTo>
                      <a:pt x="519" y="302"/>
                    </a:lnTo>
                    <a:lnTo>
                      <a:pt x="524" y="302"/>
                    </a:lnTo>
                    <a:lnTo>
                      <a:pt x="524" y="297"/>
                    </a:lnTo>
                    <a:lnTo>
                      <a:pt x="519" y="292"/>
                    </a:lnTo>
                    <a:lnTo>
                      <a:pt x="514" y="287"/>
                    </a:lnTo>
                    <a:lnTo>
                      <a:pt x="509" y="287"/>
                    </a:lnTo>
                    <a:lnTo>
                      <a:pt x="504" y="287"/>
                    </a:lnTo>
                    <a:lnTo>
                      <a:pt x="499" y="282"/>
                    </a:lnTo>
                    <a:lnTo>
                      <a:pt x="494" y="282"/>
                    </a:lnTo>
                    <a:lnTo>
                      <a:pt x="489" y="287"/>
                    </a:lnTo>
                    <a:lnTo>
                      <a:pt x="484" y="287"/>
                    </a:lnTo>
                    <a:lnTo>
                      <a:pt x="479" y="287"/>
                    </a:lnTo>
                    <a:lnTo>
                      <a:pt x="479" y="292"/>
                    </a:lnTo>
                    <a:lnTo>
                      <a:pt x="474" y="297"/>
                    </a:lnTo>
                    <a:lnTo>
                      <a:pt x="464" y="302"/>
                    </a:lnTo>
                    <a:lnTo>
                      <a:pt x="464" y="307"/>
                    </a:lnTo>
                    <a:lnTo>
                      <a:pt x="459" y="307"/>
                    </a:lnTo>
                    <a:lnTo>
                      <a:pt x="454" y="312"/>
                    </a:lnTo>
                    <a:lnTo>
                      <a:pt x="449" y="317"/>
                    </a:lnTo>
                    <a:lnTo>
                      <a:pt x="444" y="317"/>
                    </a:lnTo>
                    <a:lnTo>
                      <a:pt x="444" y="322"/>
                    </a:lnTo>
                    <a:lnTo>
                      <a:pt x="444" y="327"/>
                    </a:lnTo>
                    <a:lnTo>
                      <a:pt x="439" y="332"/>
                    </a:lnTo>
                    <a:lnTo>
                      <a:pt x="439" y="337"/>
                    </a:lnTo>
                    <a:lnTo>
                      <a:pt x="439" y="347"/>
                    </a:lnTo>
                    <a:lnTo>
                      <a:pt x="434" y="358"/>
                    </a:lnTo>
                    <a:lnTo>
                      <a:pt x="434" y="363"/>
                    </a:lnTo>
                    <a:lnTo>
                      <a:pt x="434" y="368"/>
                    </a:lnTo>
                    <a:lnTo>
                      <a:pt x="434" y="378"/>
                    </a:lnTo>
                    <a:lnTo>
                      <a:pt x="428" y="388"/>
                    </a:lnTo>
                    <a:lnTo>
                      <a:pt x="423" y="388"/>
                    </a:lnTo>
                    <a:lnTo>
                      <a:pt x="423" y="393"/>
                    </a:lnTo>
                    <a:lnTo>
                      <a:pt x="418" y="398"/>
                    </a:lnTo>
                    <a:lnTo>
                      <a:pt x="418" y="393"/>
                    </a:lnTo>
                    <a:lnTo>
                      <a:pt x="423" y="393"/>
                    </a:lnTo>
                    <a:lnTo>
                      <a:pt x="423" y="388"/>
                    </a:lnTo>
                    <a:lnTo>
                      <a:pt x="418" y="383"/>
                    </a:lnTo>
                    <a:lnTo>
                      <a:pt x="423" y="383"/>
                    </a:lnTo>
                    <a:lnTo>
                      <a:pt x="428" y="383"/>
                    </a:lnTo>
                    <a:lnTo>
                      <a:pt x="428" y="378"/>
                    </a:lnTo>
                    <a:lnTo>
                      <a:pt x="428" y="373"/>
                    </a:lnTo>
                    <a:lnTo>
                      <a:pt x="434" y="373"/>
                    </a:lnTo>
                    <a:lnTo>
                      <a:pt x="434" y="363"/>
                    </a:lnTo>
                    <a:lnTo>
                      <a:pt x="434" y="358"/>
                    </a:lnTo>
                    <a:lnTo>
                      <a:pt x="428" y="352"/>
                    </a:lnTo>
                    <a:lnTo>
                      <a:pt x="428" y="347"/>
                    </a:lnTo>
                    <a:lnTo>
                      <a:pt x="418" y="347"/>
                    </a:lnTo>
                    <a:lnTo>
                      <a:pt x="413" y="347"/>
                    </a:lnTo>
                    <a:lnTo>
                      <a:pt x="408" y="347"/>
                    </a:lnTo>
                    <a:lnTo>
                      <a:pt x="403" y="352"/>
                    </a:lnTo>
                    <a:lnTo>
                      <a:pt x="393" y="358"/>
                    </a:lnTo>
                    <a:lnTo>
                      <a:pt x="388" y="358"/>
                    </a:lnTo>
                    <a:lnTo>
                      <a:pt x="383" y="358"/>
                    </a:lnTo>
                    <a:lnTo>
                      <a:pt x="383" y="363"/>
                    </a:lnTo>
                    <a:lnTo>
                      <a:pt x="378" y="363"/>
                    </a:lnTo>
                    <a:lnTo>
                      <a:pt x="373" y="363"/>
                    </a:lnTo>
                    <a:lnTo>
                      <a:pt x="368" y="368"/>
                    </a:lnTo>
                    <a:lnTo>
                      <a:pt x="363" y="373"/>
                    </a:lnTo>
                    <a:lnTo>
                      <a:pt x="363" y="378"/>
                    </a:lnTo>
                    <a:lnTo>
                      <a:pt x="358" y="378"/>
                    </a:lnTo>
                    <a:lnTo>
                      <a:pt x="358" y="383"/>
                    </a:lnTo>
                    <a:lnTo>
                      <a:pt x="348" y="388"/>
                    </a:lnTo>
                    <a:lnTo>
                      <a:pt x="348" y="393"/>
                    </a:lnTo>
                    <a:lnTo>
                      <a:pt x="343" y="398"/>
                    </a:lnTo>
                    <a:lnTo>
                      <a:pt x="343" y="403"/>
                    </a:lnTo>
                    <a:lnTo>
                      <a:pt x="338" y="418"/>
                    </a:lnTo>
                    <a:lnTo>
                      <a:pt x="333" y="428"/>
                    </a:lnTo>
                    <a:lnTo>
                      <a:pt x="328" y="433"/>
                    </a:lnTo>
                    <a:lnTo>
                      <a:pt x="328" y="438"/>
                    </a:lnTo>
                    <a:lnTo>
                      <a:pt x="323" y="438"/>
                    </a:lnTo>
                    <a:lnTo>
                      <a:pt x="318" y="443"/>
                    </a:lnTo>
                    <a:lnTo>
                      <a:pt x="318" y="448"/>
                    </a:lnTo>
                    <a:lnTo>
                      <a:pt x="313" y="448"/>
                    </a:lnTo>
                    <a:lnTo>
                      <a:pt x="308" y="453"/>
                    </a:lnTo>
                    <a:lnTo>
                      <a:pt x="308" y="448"/>
                    </a:lnTo>
                    <a:lnTo>
                      <a:pt x="313" y="448"/>
                    </a:lnTo>
                    <a:lnTo>
                      <a:pt x="313" y="443"/>
                    </a:lnTo>
                    <a:lnTo>
                      <a:pt x="313" y="438"/>
                    </a:lnTo>
                    <a:lnTo>
                      <a:pt x="308" y="438"/>
                    </a:lnTo>
                    <a:lnTo>
                      <a:pt x="308" y="433"/>
                    </a:lnTo>
                    <a:lnTo>
                      <a:pt x="308" y="438"/>
                    </a:lnTo>
                    <a:lnTo>
                      <a:pt x="308" y="443"/>
                    </a:lnTo>
                    <a:lnTo>
                      <a:pt x="308" y="448"/>
                    </a:lnTo>
                    <a:lnTo>
                      <a:pt x="302" y="448"/>
                    </a:lnTo>
                    <a:lnTo>
                      <a:pt x="297" y="448"/>
                    </a:lnTo>
                    <a:lnTo>
                      <a:pt x="297" y="443"/>
                    </a:lnTo>
                    <a:lnTo>
                      <a:pt x="297" y="438"/>
                    </a:lnTo>
                    <a:lnTo>
                      <a:pt x="292" y="438"/>
                    </a:lnTo>
                    <a:lnTo>
                      <a:pt x="287" y="438"/>
                    </a:lnTo>
                    <a:lnTo>
                      <a:pt x="287" y="433"/>
                    </a:lnTo>
                    <a:lnTo>
                      <a:pt x="282" y="433"/>
                    </a:lnTo>
                    <a:lnTo>
                      <a:pt x="282" y="428"/>
                    </a:lnTo>
                    <a:lnTo>
                      <a:pt x="282" y="423"/>
                    </a:lnTo>
                    <a:lnTo>
                      <a:pt x="277" y="418"/>
                    </a:lnTo>
                    <a:lnTo>
                      <a:pt x="272" y="418"/>
                    </a:lnTo>
                    <a:lnTo>
                      <a:pt x="272" y="413"/>
                    </a:lnTo>
                    <a:lnTo>
                      <a:pt x="277" y="413"/>
                    </a:lnTo>
                    <a:lnTo>
                      <a:pt x="277" y="408"/>
                    </a:lnTo>
                    <a:lnTo>
                      <a:pt x="277" y="413"/>
                    </a:lnTo>
                    <a:lnTo>
                      <a:pt x="272" y="413"/>
                    </a:lnTo>
                    <a:lnTo>
                      <a:pt x="272" y="408"/>
                    </a:lnTo>
                    <a:lnTo>
                      <a:pt x="272" y="403"/>
                    </a:lnTo>
                    <a:lnTo>
                      <a:pt x="272" y="408"/>
                    </a:lnTo>
                    <a:lnTo>
                      <a:pt x="267" y="408"/>
                    </a:lnTo>
                    <a:lnTo>
                      <a:pt x="267" y="403"/>
                    </a:lnTo>
                    <a:lnTo>
                      <a:pt x="267" y="398"/>
                    </a:lnTo>
                    <a:lnTo>
                      <a:pt x="262" y="398"/>
                    </a:lnTo>
                    <a:lnTo>
                      <a:pt x="257" y="398"/>
                    </a:lnTo>
                    <a:lnTo>
                      <a:pt x="257" y="393"/>
                    </a:lnTo>
                    <a:lnTo>
                      <a:pt x="262" y="393"/>
                    </a:lnTo>
                    <a:lnTo>
                      <a:pt x="262" y="388"/>
                    </a:lnTo>
                    <a:lnTo>
                      <a:pt x="262" y="383"/>
                    </a:lnTo>
                    <a:lnTo>
                      <a:pt x="257" y="388"/>
                    </a:lnTo>
                    <a:lnTo>
                      <a:pt x="257" y="393"/>
                    </a:lnTo>
                    <a:lnTo>
                      <a:pt x="252" y="398"/>
                    </a:lnTo>
                    <a:lnTo>
                      <a:pt x="257" y="398"/>
                    </a:lnTo>
                    <a:lnTo>
                      <a:pt x="257" y="403"/>
                    </a:lnTo>
                    <a:lnTo>
                      <a:pt x="257" y="408"/>
                    </a:lnTo>
                    <a:lnTo>
                      <a:pt x="257" y="413"/>
                    </a:lnTo>
                    <a:lnTo>
                      <a:pt x="262" y="413"/>
                    </a:lnTo>
                    <a:lnTo>
                      <a:pt x="262" y="418"/>
                    </a:lnTo>
                    <a:lnTo>
                      <a:pt x="262" y="423"/>
                    </a:lnTo>
                    <a:lnTo>
                      <a:pt x="267" y="428"/>
                    </a:lnTo>
                    <a:lnTo>
                      <a:pt x="267" y="433"/>
                    </a:lnTo>
                    <a:lnTo>
                      <a:pt x="272" y="433"/>
                    </a:lnTo>
                    <a:lnTo>
                      <a:pt x="272" y="443"/>
                    </a:lnTo>
                    <a:lnTo>
                      <a:pt x="277" y="448"/>
                    </a:lnTo>
                    <a:lnTo>
                      <a:pt x="277" y="453"/>
                    </a:lnTo>
                    <a:lnTo>
                      <a:pt x="282" y="453"/>
                    </a:lnTo>
                    <a:lnTo>
                      <a:pt x="287" y="458"/>
                    </a:lnTo>
                    <a:lnTo>
                      <a:pt x="287" y="463"/>
                    </a:lnTo>
                    <a:lnTo>
                      <a:pt x="292" y="463"/>
                    </a:lnTo>
                    <a:lnTo>
                      <a:pt x="297" y="468"/>
                    </a:lnTo>
                    <a:lnTo>
                      <a:pt x="297" y="473"/>
                    </a:lnTo>
                    <a:lnTo>
                      <a:pt x="302" y="473"/>
                    </a:lnTo>
                    <a:lnTo>
                      <a:pt x="302" y="468"/>
                    </a:lnTo>
                    <a:lnTo>
                      <a:pt x="302" y="463"/>
                    </a:lnTo>
                    <a:lnTo>
                      <a:pt x="302" y="458"/>
                    </a:lnTo>
                    <a:lnTo>
                      <a:pt x="308" y="453"/>
                    </a:lnTo>
                    <a:lnTo>
                      <a:pt x="308" y="458"/>
                    </a:lnTo>
                    <a:lnTo>
                      <a:pt x="302" y="468"/>
                    </a:lnTo>
                    <a:lnTo>
                      <a:pt x="302" y="473"/>
                    </a:lnTo>
                    <a:lnTo>
                      <a:pt x="302" y="478"/>
                    </a:lnTo>
                    <a:lnTo>
                      <a:pt x="297" y="483"/>
                    </a:lnTo>
                    <a:lnTo>
                      <a:pt x="297" y="489"/>
                    </a:lnTo>
                    <a:lnTo>
                      <a:pt x="297" y="494"/>
                    </a:lnTo>
                    <a:lnTo>
                      <a:pt x="297" y="509"/>
                    </a:lnTo>
                    <a:lnTo>
                      <a:pt x="292" y="509"/>
                    </a:lnTo>
                    <a:lnTo>
                      <a:pt x="297" y="499"/>
                    </a:lnTo>
                    <a:lnTo>
                      <a:pt x="292" y="499"/>
                    </a:lnTo>
                    <a:lnTo>
                      <a:pt x="292" y="494"/>
                    </a:lnTo>
                    <a:lnTo>
                      <a:pt x="297" y="494"/>
                    </a:lnTo>
                    <a:lnTo>
                      <a:pt x="297" y="489"/>
                    </a:lnTo>
                    <a:lnTo>
                      <a:pt x="297" y="478"/>
                    </a:lnTo>
                    <a:lnTo>
                      <a:pt x="297" y="483"/>
                    </a:lnTo>
                    <a:lnTo>
                      <a:pt x="297" y="489"/>
                    </a:lnTo>
                    <a:lnTo>
                      <a:pt x="292" y="489"/>
                    </a:lnTo>
                    <a:lnTo>
                      <a:pt x="292" y="483"/>
                    </a:lnTo>
                    <a:lnTo>
                      <a:pt x="282" y="489"/>
                    </a:lnTo>
                    <a:lnTo>
                      <a:pt x="282" y="483"/>
                    </a:lnTo>
                    <a:lnTo>
                      <a:pt x="277" y="478"/>
                    </a:lnTo>
                    <a:lnTo>
                      <a:pt x="277" y="473"/>
                    </a:lnTo>
                    <a:lnTo>
                      <a:pt x="277" y="468"/>
                    </a:lnTo>
                    <a:lnTo>
                      <a:pt x="277" y="463"/>
                    </a:lnTo>
                    <a:lnTo>
                      <a:pt x="267" y="463"/>
                    </a:lnTo>
                    <a:lnTo>
                      <a:pt x="262" y="463"/>
                    </a:lnTo>
                    <a:lnTo>
                      <a:pt x="262" y="458"/>
                    </a:lnTo>
                    <a:lnTo>
                      <a:pt x="257" y="458"/>
                    </a:lnTo>
                    <a:lnTo>
                      <a:pt x="257" y="453"/>
                    </a:lnTo>
                    <a:lnTo>
                      <a:pt x="252" y="453"/>
                    </a:lnTo>
                    <a:lnTo>
                      <a:pt x="252" y="458"/>
                    </a:lnTo>
                    <a:lnTo>
                      <a:pt x="257" y="463"/>
                    </a:lnTo>
                    <a:lnTo>
                      <a:pt x="257" y="468"/>
                    </a:lnTo>
                    <a:lnTo>
                      <a:pt x="262" y="468"/>
                    </a:lnTo>
                    <a:lnTo>
                      <a:pt x="267" y="468"/>
                    </a:lnTo>
                    <a:lnTo>
                      <a:pt x="267" y="473"/>
                    </a:lnTo>
                    <a:lnTo>
                      <a:pt x="267" y="478"/>
                    </a:lnTo>
                    <a:lnTo>
                      <a:pt x="272" y="478"/>
                    </a:lnTo>
                    <a:lnTo>
                      <a:pt x="267" y="483"/>
                    </a:lnTo>
                    <a:lnTo>
                      <a:pt x="267" y="489"/>
                    </a:lnTo>
                    <a:lnTo>
                      <a:pt x="262" y="494"/>
                    </a:lnTo>
                    <a:lnTo>
                      <a:pt x="262" y="499"/>
                    </a:lnTo>
                    <a:lnTo>
                      <a:pt x="262" y="504"/>
                    </a:lnTo>
                    <a:lnTo>
                      <a:pt x="262" y="509"/>
                    </a:lnTo>
                    <a:lnTo>
                      <a:pt x="257" y="509"/>
                    </a:lnTo>
                    <a:lnTo>
                      <a:pt x="252" y="514"/>
                    </a:lnTo>
                    <a:lnTo>
                      <a:pt x="242" y="494"/>
                    </a:lnTo>
                    <a:lnTo>
                      <a:pt x="242" y="489"/>
                    </a:lnTo>
                    <a:lnTo>
                      <a:pt x="232" y="463"/>
                    </a:lnTo>
                    <a:lnTo>
                      <a:pt x="222" y="468"/>
                    </a:lnTo>
                    <a:lnTo>
                      <a:pt x="212" y="468"/>
                    </a:lnTo>
                    <a:lnTo>
                      <a:pt x="202" y="468"/>
                    </a:lnTo>
                    <a:lnTo>
                      <a:pt x="197" y="463"/>
                    </a:lnTo>
                    <a:lnTo>
                      <a:pt x="202" y="463"/>
                    </a:lnTo>
                    <a:lnTo>
                      <a:pt x="197" y="458"/>
                    </a:lnTo>
                    <a:lnTo>
                      <a:pt x="171" y="468"/>
                    </a:lnTo>
                    <a:lnTo>
                      <a:pt x="166" y="458"/>
                    </a:lnTo>
                    <a:lnTo>
                      <a:pt x="166" y="463"/>
                    </a:lnTo>
                    <a:lnTo>
                      <a:pt x="161" y="453"/>
                    </a:lnTo>
                    <a:lnTo>
                      <a:pt x="166" y="448"/>
                    </a:lnTo>
                    <a:lnTo>
                      <a:pt x="156" y="433"/>
                    </a:lnTo>
                    <a:lnTo>
                      <a:pt x="151" y="438"/>
                    </a:lnTo>
                    <a:lnTo>
                      <a:pt x="146" y="438"/>
                    </a:lnTo>
                    <a:lnTo>
                      <a:pt x="141" y="438"/>
                    </a:lnTo>
                    <a:lnTo>
                      <a:pt x="136" y="428"/>
                    </a:lnTo>
                    <a:lnTo>
                      <a:pt x="151" y="418"/>
                    </a:lnTo>
                    <a:lnTo>
                      <a:pt x="151" y="398"/>
                    </a:lnTo>
                    <a:lnTo>
                      <a:pt x="161" y="393"/>
                    </a:lnTo>
                    <a:lnTo>
                      <a:pt x="151" y="378"/>
                    </a:lnTo>
                    <a:lnTo>
                      <a:pt x="141" y="383"/>
                    </a:lnTo>
                    <a:lnTo>
                      <a:pt x="131" y="368"/>
                    </a:lnTo>
                    <a:lnTo>
                      <a:pt x="126" y="368"/>
                    </a:lnTo>
                    <a:lnTo>
                      <a:pt x="121" y="363"/>
                    </a:lnTo>
                    <a:lnTo>
                      <a:pt x="111" y="368"/>
                    </a:lnTo>
                    <a:lnTo>
                      <a:pt x="106" y="363"/>
                    </a:lnTo>
                    <a:lnTo>
                      <a:pt x="101" y="358"/>
                    </a:lnTo>
                    <a:lnTo>
                      <a:pt x="96" y="358"/>
                    </a:lnTo>
                    <a:lnTo>
                      <a:pt x="86" y="337"/>
                    </a:lnTo>
                    <a:lnTo>
                      <a:pt x="81" y="342"/>
                    </a:lnTo>
                    <a:lnTo>
                      <a:pt x="81" y="337"/>
                    </a:lnTo>
                    <a:lnTo>
                      <a:pt x="66" y="307"/>
                    </a:lnTo>
                    <a:lnTo>
                      <a:pt x="71" y="302"/>
                    </a:lnTo>
                    <a:lnTo>
                      <a:pt x="66" y="297"/>
                    </a:lnTo>
                    <a:lnTo>
                      <a:pt x="61" y="297"/>
                    </a:lnTo>
                    <a:lnTo>
                      <a:pt x="56" y="287"/>
                    </a:lnTo>
                    <a:lnTo>
                      <a:pt x="61" y="287"/>
                    </a:lnTo>
                    <a:lnTo>
                      <a:pt x="61" y="282"/>
                    </a:lnTo>
                    <a:lnTo>
                      <a:pt x="56" y="282"/>
                    </a:lnTo>
                    <a:lnTo>
                      <a:pt x="45" y="292"/>
                    </a:lnTo>
                    <a:lnTo>
                      <a:pt x="45" y="297"/>
                    </a:lnTo>
                    <a:lnTo>
                      <a:pt x="40" y="297"/>
                    </a:lnTo>
                    <a:lnTo>
                      <a:pt x="45" y="302"/>
                    </a:lnTo>
                    <a:lnTo>
                      <a:pt x="40" y="302"/>
                    </a:lnTo>
                    <a:lnTo>
                      <a:pt x="35" y="302"/>
                    </a:lnTo>
                    <a:lnTo>
                      <a:pt x="30" y="307"/>
                    </a:lnTo>
                    <a:lnTo>
                      <a:pt x="30" y="312"/>
                    </a:lnTo>
                    <a:lnTo>
                      <a:pt x="25" y="302"/>
                    </a:lnTo>
                    <a:lnTo>
                      <a:pt x="20" y="297"/>
                    </a:lnTo>
                    <a:lnTo>
                      <a:pt x="15" y="292"/>
                    </a:lnTo>
                    <a:lnTo>
                      <a:pt x="10" y="277"/>
                    </a:lnTo>
                    <a:lnTo>
                      <a:pt x="0" y="267"/>
                    </a:lnTo>
                    <a:lnTo>
                      <a:pt x="0" y="262"/>
                    </a:lnTo>
                    <a:lnTo>
                      <a:pt x="0" y="257"/>
                    </a:lnTo>
                    <a:lnTo>
                      <a:pt x="0" y="252"/>
                    </a:lnTo>
                    <a:lnTo>
                      <a:pt x="5" y="252"/>
                    </a:lnTo>
                    <a:lnTo>
                      <a:pt x="5" y="247"/>
                    </a:lnTo>
                    <a:lnTo>
                      <a:pt x="5" y="242"/>
                    </a:lnTo>
                    <a:lnTo>
                      <a:pt x="10" y="242"/>
                    </a:lnTo>
                    <a:lnTo>
                      <a:pt x="10" y="247"/>
                    </a:lnTo>
                    <a:lnTo>
                      <a:pt x="15" y="247"/>
                    </a:lnTo>
                    <a:lnTo>
                      <a:pt x="20" y="242"/>
                    </a:lnTo>
                    <a:lnTo>
                      <a:pt x="25" y="237"/>
                    </a:lnTo>
                    <a:lnTo>
                      <a:pt x="30" y="232"/>
                    </a:lnTo>
                    <a:lnTo>
                      <a:pt x="35" y="232"/>
                    </a:lnTo>
                    <a:lnTo>
                      <a:pt x="40" y="232"/>
                    </a:lnTo>
                    <a:lnTo>
                      <a:pt x="45" y="232"/>
                    </a:lnTo>
                    <a:lnTo>
                      <a:pt x="51" y="227"/>
                    </a:lnTo>
                    <a:lnTo>
                      <a:pt x="51" y="221"/>
                    </a:lnTo>
                    <a:lnTo>
                      <a:pt x="56" y="216"/>
                    </a:lnTo>
                    <a:lnTo>
                      <a:pt x="66" y="216"/>
                    </a:lnTo>
                    <a:lnTo>
                      <a:pt x="71" y="216"/>
                    </a:lnTo>
                    <a:lnTo>
                      <a:pt x="76" y="216"/>
                    </a:lnTo>
                    <a:lnTo>
                      <a:pt x="81" y="216"/>
                    </a:lnTo>
                    <a:lnTo>
                      <a:pt x="86" y="216"/>
                    </a:lnTo>
                    <a:lnTo>
                      <a:pt x="91" y="211"/>
                    </a:lnTo>
                    <a:lnTo>
                      <a:pt x="96" y="216"/>
                    </a:lnTo>
                    <a:lnTo>
                      <a:pt x="96" y="211"/>
                    </a:lnTo>
                    <a:lnTo>
                      <a:pt x="101" y="211"/>
                    </a:lnTo>
                    <a:lnTo>
                      <a:pt x="101" y="206"/>
                    </a:lnTo>
                    <a:lnTo>
                      <a:pt x="106" y="206"/>
                    </a:lnTo>
                    <a:lnTo>
                      <a:pt x="111" y="206"/>
                    </a:lnTo>
                    <a:lnTo>
                      <a:pt x="111" y="201"/>
                    </a:lnTo>
                    <a:lnTo>
                      <a:pt x="116" y="201"/>
                    </a:lnTo>
                    <a:lnTo>
                      <a:pt x="116" y="196"/>
                    </a:lnTo>
                    <a:lnTo>
                      <a:pt x="111" y="196"/>
                    </a:lnTo>
                    <a:lnTo>
                      <a:pt x="106" y="191"/>
                    </a:lnTo>
                    <a:lnTo>
                      <a:pt x="106" y="181"/>
                    </a:lnTo>
                    <a:lnTo>
                      <a:pt x="101" y="181"/>
                    </a:lnTo>
                    <a:lnTo>
                      <a:pt x="101" y="171"/>
                    </a:lnTo>
                    <a:lnTo>
                      <a:pt x="96" y="161"/>
                    </a:lnTo>
                    <a:lnTo>
                      <a:pt x="101" y="161"/>
                    </a:lnTo>
                    <a:lnTo>
                      <a:pt x="101" y="151"/>
                    </a:lnTo>
                    <a:lnTo>
                      <a:pt x="101" y="146"/>
                    </a:lnTo>
                    <a:lnTo>
                      <a:pt x="86" y="151"/>
                    </a:lnTo>
                    <a:lnTo>
                      <a:pt x="81" y="136"/>
                    </a:lnTo>
                    <a:lnTo>
                      <a:pt x="81" y="131"/>
                    </a:lnTo>
                    <a:lnTo>
                      <a:pt x="76" y="131"/>
                    </a:lnTo>
                    <a:lnTo>
                      <a:pt x="71" y="121"/>
                    </a:lnTo>
                    <a:lnTo>
                      <a:pt x="66" y="126"/>
                    </a:lnTo>
                    <a:lnTo>
                      <a:pt x="61" y="131"/>
                    </a:lnTo>
                    <a:lnTo>
                      <a:pt x="56" y="116"/>
                    </a:lnTo>
                    <a:lnTo>
                      <a:pt x="66" y="111"/>
                    </a:lnTo>
                    <a:lnTo>
                      <a:pt x="66" y="106"/>
                    </a:lnTo>
                    <a:lnTo>
                      <a:pt x="71" y="111"/>
                    </a:lnTo>
                    <a:lnTo>
                      <a:pt x="76" y="106"/>
                    </a:lnTo>
                    <a:lnTo>
                      <a:pt x="71" y="96"/>
                    </a:lnTo>
                    <a:lnTo>
                      <a:pt x="61" y="96"/>
                    </a:lnTo>
                    <a:lnTo>
                      <a:pt x="61" y="85"/>
                    </a:lnTo>
                    <a:lnTo>
                      <a:pt x="56" y="85"/>
                    </a:lnTo>
                    <a:lnTo>
                      <a:pt x="51" y="75"/>
                    </a:lnTo>
                    <a:lnTo>
                      <a:pt x="56" y="75"/>
                    </a:lnTo>
                    <a:lnTo>
                      <a:pt x="45" y="55"/>
                    </a:lnTo>
                    <a:lnTo>
                      <a:pt x="51" y="55"/>
                    </a:lnTo>
                    <a:lnTo>
                      <a:pt x="56" y="50"/>
                    </a:lnTo>
                    <a:lnTo>
                      <a:pt x="61" y="55"/>
                    </a:lnTo>
                    <a:lnTo>
                      <a:pt x="56" y="60"/>
                    </a:lnTo>
                    <a:lnTo>
                      <a:pt x="61" y="65"/>
                    </a:lnTo>
                    <a:lnTo>
                      <a:pt x="71" y="60"/>
                    </a:lnTo>
                    <a:lnTo>
                      <a:pt x="81" y="55"/>
                    </a:lnTo>
                    <a:lnTo>
                      <a:pt x="81" y="50"/>
                    </a:lnTo>
                    <a:lnTo>
                      <a:pt x="86" y="45"/>
                    </a:lnTo>
                    <a:lnTo>
                      <a:pt x="91" y="40"/>
                    </a:lnTo>
                    <a:lnTo>
                      <a:pt x="96" y="40"/>
                    </a:lnTo>
                    <a:lnTo>
                      <a:pt x="101" y="40"/>
                    </a:lnTo>
                    <a:lnTo>
                      <a:pt x="106" y="35"/>
                    </a:lnTo>
                    <a:lnTo>
                      <a:pt x="111" y="30"/>
                    </a:lnTo>
                    <a:lnTo>
                      <a:pt x="116" y="30"/>
                    </a:lnTo>
                    <a:lnTo>
                      <a:pt x="121" y="25"/>
                    </a:lnTo>
                    <a:lnTo>
                      <a:pt x="126" y="25"/>
                    </a:lnTo>
                    <a:lnTo>
                      <a:pt x="131" y="25"/>
                    </a:lnTo>
                    <a:lnTo>
                      <a:pt x="136" y="25"/>
                    </a:lnTo>
                    <a:lnTo>
                      <a:pt x="141" y="25"/>
                    </a:lnTo>
                    <a:lnTo>
                      <a:pt x="146" y="25"/>
                    </a:lnTo>
                    <a:lnTo>
                      <a:pt x="151" y="25"/>
                    </a:lnTo>
                    <a:lnTo>
                      <a:pt x="156" y="25"/>
                    </a:lnTo>
                    <a:lnTo>
                      <a:pt x="161" y="25"/>
                    </a:lnTo>
                    <a:lnTo>
                      <a:pt x="166" y="25"/>
                    </a:lnTo>
                    <a:lnTo>
                      <a:pt x="166" y="30"/>
                    </a:lnTo>
                    <a:lnTo>
                      <a:pt x="192" y="0"/>
                    </a:lnTo>
                    <a:lnTo>
                      <a:pt x="202" y="10"/>
                    </a:lnTo>
                    <a:lnTo>
                      <a:pt x="207" y="10"/>
                    </a:lnTo>
                    <a:lnTo>
                      <a:pt x="212" y="10"/>
                    </a:lnTo>
                    <a:lnTo>
                      <a:pt x="212" y="5"/>
                    </a:lnTo>
                    <a:lnTo>
                      <a:pt x="217" y="15"/>
                    </a:lnTo>
                    <a:lnTo>
                      <a:pt x="227" y="5"/>
                    </a:lnTo>
                    <a:lnTo>
                      <a:pt x="237" y="5"/>
                    </a:lnTo>
                    <a:lnTo>
                      <a:pt x="242" y="0"/>
                    </a:lnTo>
                    <a:lnTo>
                      <a:pt x="242" y="5"/>
                    </a:lnTo>
                    <a:lnTo>
                      <a:pt x="247" y="5"/>
                    </a:lnTo>
                    <a:lnTo>
                      <a:pt x="247" y="10"/>
                    </a:lnTo>
                    <a:lnTo>
                      <a:pt x="257" y="0"/>
                    </a:lnTo>
                    <a:lnTo>
                      <a:pt x="262" y="10"/>
                    </a:lnTo>
                    <a:lnTo>
                      <a:pt x="257" y="10"/>
                    </a:lnTo>
                    <a:lnTo>
                      <a:pt x="262" y="15"/>
                    </a:lnTo>
                    <a:lnTo>
                      <a:pt x="267" y="15"/>
                    </a:lnTo>
                    <a:lnTo>
                      <a:pt x="272" y="25"/>
                    </a:lnTo>
                    <a:lnTo>
                      <a:pt x="277" y="30"/>
                    </a:lnTo>
                    <a:lnTo>
                      <a:pt x="282" y="30"/>
                    </a:lnTo>
                    <a:lnTo>
                      <a:pt x="282" y="35"/>
                    </a:lnTo>
                    <a:lnTo>
                      <a:pt x="287" y="40"/>
                    </a:lnTo>
                    <a:lnTo>
                      <a:pt x="287" y="45"/>
                    </a:lnTo>
                    <a:lnTo>
                      <a:pt x="282" y="45"/>
                    </a:lnTo>
                    <a:lnTo>
                      <a:pt x="277" y="45"/>
                    </a:lnTo>
                    <a:lnTo>
                      <a:pt x="277" y="50"/>
                    </a:lnTo>
                    <a:lnTo>
                      <a:pt x="282" y="50"/>
                    </a:lnTo>
                    <a:lnTo>
                      <a:pt x="287" y="55"/>
                    </a:lnTo>
                    <a:lnTo>
                      <a:pt x="297" y="50"/>
                    </a:lnTo>
                    <a:lnTo>
                      <a:pt x="297" y="45"/>
                    </a:lnTo>
                    <a:lnTo>
                      <a:pt x="302" y="40"/>
                    </a:lnTo>
                    <a:lnTo>
                      <a:pt x="302" y="45"/>
                    </a:lnTo>
                    <a:lnTo>
                      <a:pt x="308" y="50"/>
                    </a:lnTo>
                    <a:lnTo>
                      <a:pt x="318" y="45"/>
                    </a:lnTo>
                    <a:lnTo>
                      <a:pt x="318" y="50"/>
                    </a:lnTo>
                    <a:lnTo>
                      <a:pt x="328" y="45"/>
                    </a:lnTo>
                    <a:lnTo>
                      <a:pt x="328" y="40"/>
                    </a:lnTo>
                    <a:lnTo>
                      <a:pt x="333" y="35"/>
                    </a:lnTo>
                    <a:lnTo>
                      <a:pt x="338" y="35"/>
                    </a:lnTo>
                    <a:lnTo>
                      <a:pt x="343" y="35"/>
                    </a:lnTo>
                    <a:lnTo>
                      <a:pt x="353" y="35"/>
                    </a:lnTo>
                    <a:lnTo>
                      <a:pt x="358" y="35"/>
                    </a:lnTo>
                    <a:lnTo>
                      <a:pt x="358" y="30"/>
                    </a:lnTo>
                    <a:lnTo>
                      <a:pt x="368" y="20"/>
                    </a:lnTo>
                    <a:lnTo>
                      <a:pt x="373" y="20"/>
                    </a:lnTo>
                    <a:lnTo>
                      <a:pt x="373" y="25"/>
                    </a:lnTo>
                    <a:lnTo>
                      <a:pt x="378" y="35"/>
                    </a:lnTo>
                    <a:lnTo>
                      <a:pt x="388" y="30"/>
                    </a:lnTo>
                    <a:lnTo>
                      <a:pt x="398" y="40"/>
                    </a:lnTo>
                    <a:lnTo>
                      <a:pt x="408" y="55"/>
                    </a:lnTo>
                    <a:lnTo>
                      <a:pt x="418" y="45"/>
                    </a:lnTo>
                    <a:lnTo>
                      <a:pt x="423" y="50"/>
                    </a:lnTo>
                    <a:lnTo>
                      <a:pt x="418" y="55"/>
                    </a:lnTo>
                    <a:lnTo>
                      <a:pt x="413" y="55"/>
                    </a:lnTo>
                    <a:lnTo>
                      <a:pt x="413" y="60"/>
                    </a:lnTo>
                    <a:lnTo>
                      <a:pt x="413" y="65"/>
                    </a:lnTo>
                    <a:lnTo>
                      <a:pt x="418" y="60"/>
                    </a:lnTo>
                    <a:lnTo>
                      <a:pt x="423" y="65"/>
                    </a:lnTo>
                    <a:lnTo>
                      <a:pt x="423" y="70"/>
                    </a:lnTo>
                    <a:lnTo>
                      <a:pt x="434" y="60"/>
                    </a:lnTo>
                    <a:lnTo>
                      <a:pt x="449" y="75"/>
                    </a:lnTo>
                    <a:lnTo>
                      <a:pt x="459" y="65"/>
                    </a:lnTo>
                    <a:lnTo>
                      <a:pt x="464" y="65"/>
                    </a:lnTo>
                    <a:lnTo>
                      <a:pt x="469" y="70"/>
                    </a:lnTo>
                    <a:lnTo>
                      <a:pt x="469" y="65"/>
                    </a:lnTo>
                    <a:lnTo>
                      <a:pt x="489" y="80"/>
                    </a:lnTo>
                    <a:lnTo>
                      <a:pt x="504" y="80"/>
                    </a:lnTo>
                    <a:lnTo>
                      <a:pt x="504" y="70"/>
                    </a:lnTo>
                    <a:lnTo>
                      <a:pt x="509" y="70"/>
                    </a:lnTo>
                    <a:lnTo>
                      <a:pt x="509" y="75"/>
                    </a:lnTo>
                    <a:lnTo>
                      <a:pt x="514" y="75"/>
                    </a:lnTo>
                    <a:lnTo>
                      <a:pt x="519" y="75"/>
                    </a:lnTo>
                    <a:lnTo>
                      <a:pt x="519" y="101"/>
                    </a:lnTo>
                    <a:lnTo>
                      <a:pt x="524" y="106"/>
                    </a:lnTo>
                    <a:lnTo>
                      <a:pt x="519" y="111"/>
                    </a:lnTo>
                    <a:lnTo>
                      <a:pt x="509" y="101"/>
                    </a:lnTo>
                    <a:lnTo>
                      <a:pt x="504" y="106"/>
                    </a:lnTo>
                    <a:lnTo>
                      <a:pt x="509" y="116"/>
                    </a:lnTo>
                    <a:lnTo>
                      <a:pt x="504" y="116"/>
                    </a:lnTo>
                    <a:lnTo>
                      <a:pt x="504" y="121"/>
                    </a:lnTo>
                    <a:lnTo>
                      <a:pt x="499" y="126"/>
                    </a:lnTo>
                    <a:lnTo>
                      <a:pt x="494" y="126"/>
                    </a:lnTo>
                    <a:lnTo>
                      <a:pt x="484" y="131"/>
                    </a:lnTo>
                    <a:lnTo>
                      <a:pt x="484" y="126"/>
                    </a:lnTo>
                    <a:lnTo>
                      <a:pt x="479" y="131"/>
                    </a:lnTo>
                    <a:lnTo>
                      <a:pt x="499" y="161"/>
                    </a:lnTo>
                    <a:lnTo>
                      <a:pt x="489" y="161"/>
                    </a:lnTo>
                    <a:lnTo>
                      <a:pt x="484" y="161"/>
                    </a:lnTo>
                    <a:lnTo>
                      <a:pt x="484" y="166"/>
                    </a:lnTo>
                    <a:lnTo>
                      <a:pt x="479" y="166"/>
                    </a:lnTo>
                    <a:lnTo>
                      <a:pt x="484" y="171"/>
                    </a:lnTo>
                    <a:lnTo>
                      <a:pt x="489" y="171"/>
                    </a:lnTo>
                    <a:lnTo>
                      <a:pt x="494" y="171"/>
                    </a:lnTo>
                    <a:lnTo>
                      <a:pt x="499" y="171"/>
                    </a:lnTo>
                    <a:lnTo>
                      <a:pt x="504" y="171"/>
                    </a:lnTo>
                    <a:lnTo>
                      <a:pt x="504" y="176"/>
                    </a:lnTo>
                    <a:lnTo>
                      <a:pt x="509" y="176"/>
                    </a:lnTo>
                    <a:lnTo>
                      <a:pt x="514" y="176"/>
                    </a:lnTo>
                    <a:lnTo>
                      <a:pt x="514" y="181"/>
                    </a:lnTo>
                    <a:lnTo>
                      <a:pt x="514" y="186"/>
                    </a:lnTo>
                    <a:lnTo>
                      <a:pt x="529" y="191"/>
                    </a:lnTo>
                    <a:lnTo>
                      <a:pt x="534" y="181"/>
                    </a:lnTo>
                    <a:lnTo>
                      <a:pt x="539" y="186"/>
                    </a:lnTo>
                    <a:lnTo>
                      <a:pt x="539" y="196"/>
                    </a:lnTo>
                    <a:lnTo>
                      <a:pt x="549" y="201"/>
                    </a:lnTo>
                    <a:lnTo>
                      <a:pt x="544" y="211"/>
                    </a:lnTo>
                    <a:lnTo>
                      <a:pt x="544" y="206"/>
                    </a:lnTo>
                    <a:lnTo>
                      <a:pt x="534" y="227"/>
                    </a:lnTo>
                    <a:lnTo>
                      <a:pt x="544" y="232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 529">
                <a:extLst>
                  <a:ext uri="{FF2B5EF4-FFF2-40B4-BE49-F238E27FC236}">
                    <a16:creationId xmlns:a16="http://schemas.microsoft.com/office/drawing/2014/main" id="{025227DF-8754-580D-4390-1F9D76E645A0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811448" y="2993010"/>
                <a:ext cx="610539" cy="706221"/>
              </a:xfrm>
              <a:custGeom>
                <a:avLst/>
                <a:gdLst>
                  <a:gd name="T0" fmla="*/ 2147483647 w 393"/>
                  <a:gd name="T1" fmla="*/ 2147483647 h 474"/>
                  <a:gd name="T2" fmla="*/ 2147483647 w 393"/>
                  <a:gd name="T3" fmla="*/ 2147483647 h 474"/>
                  <a:gd name="T4" fmla="*/ 2147483647 w 393"/>
                  <a:gd name="T5" fmla="*/ 2147483647 h 474"/>
                  <a:gd name="T6" fmla="*/ 2147483647 w 393"/>
                  <a:gd name="T7" fmla="*/ 2147483647 h 474"/>
                  <a:gd name="T8" fmla="*/ 2147483647 w 393"/>
                  <a:gd name="T9" fmla="*/ 2147483647 h 474"/>
                  <a:gd name="T10" fmla="*/ 2147483647 w 393"/>
                  <a:gd name="T11" fmla="*/ 2147483647 h 474"/>
                  <a:gd name="T12" fmla="*/ 2147483647 w 393"/>
                  <a:gd name="T13" fmla="*/ 2147483647 h 474"/>
                  <a:gd name="T14" fmla="*/ 2147483647 w 393"/>
                  <a:gd name="T15" fmla="*/ 2147483647 h 474"/>
                  <a:gd name="T16" fmla="*/ 2147483647 w 393"/>
                  <a:gd name="T17" fmla="*/ 2147483647 h 474"/>
                  <a:gd name="T18" fmla="*/ 2147483647 w 393"/>
                  <a:gd name="T19" fmla="*/ 2147483647 h 474"/>
                  <a:gd name="T20" fmla="*/ 2147483647 w 393"/>
                  <a:gd name="T21" fmla="*/ 2147483647 h 474"/>
                  <a:gd name="T22" fmla="*/ 2147483647 w 393"/>
                  <a:gd name="T23" fmla="*/ 2147483647 h 474"/>
                  <a:gd name="T24" fmla="*/ 2147483647 w 393"/>
                  <a:gd name="T25" fmla="*/ 2147483647 h 474"/>
                  <a:gd name="T26" fmla="*/ 2147483647 w 393"/>
                  <a:gd name="T27" fmla="*/ 2147483647 h 474"/>
                  <a:gd name="T28" fmla="*/ 2147483647 w 393"/>
                  <a:gd name="T29" fmla="*/ 2147483647 h 474"/>
                  <a:gd name="T30" fmla="*/ 2147483647 w 393"/>
                  <a:gd name="T31" fmla="*/ 2147483647 h 474"/>
                  <a:gd name="T32" fmla="*/ 2147483647 w 393"/>
                  <a:gd name="T33" fmla="*/ 2147483647 h 474"/>
                  <a:gd name="T34" fmla="*/ 2147483647 w 393"/>
                  <a:gd name="T35" fmla="*/ 2147483647 h 474"/>
                  <a:gd name="T36" fmla="*/ 2147483647 w 393"/>
                  <a:gd name="T37" fmla="*/ 2147483647 h 474"/>
                  <a:gd name="T38" fmla="*/ 0 w 393"/>
                  <a:gd name="T39" fmla="*/ 2147483647 h 474"/>
                  <a:gd name="T40" fmla="*/ 2147483647 w 393"/>
                  <a:gd name="T41" fmla="*/ 2147483647 h 474"/>
                  <a:gd name="T42" fmla="*/ 2147483647 w 393"/>
                  <a:gd name="T43" fmla="*/ 2147483647 h 474"/>
                  <a:gd name="T44" fmla="*/ 2147483647 w 393"/>
                  <a:gd name="T45" fmla="*/ 2147483647 h 474"/>
                  <a:gd name="T46" fmla="*/ 2147483647 w 393"/>
                  <a:gd name="T47" fmla="*/ 2147483647 h 474"/>
                  <a:gd name="T48" fmla="*/ 2147483647 w 393"/>
                  <a:gd name="T49" fmla="*/ 2147483647 h 474"/>
                  <a:gd name="T50" fmla="*/ 2147483647 w 393"/>
                  <a:gd name="T51" fmla="*/ 2147483647 h 474"/>
                  <a:gd name="T52" fmla="*/ 2147483647 w 393"/>
                  <a:gd name="T53" fmla="*/ 2147483647 h 474"/>
                  <a:gd name="T54" fmla="*/ 2147483647 w 393"/>
                  <a:gd name="T55" fmla="*/ 2147483647 h 474"/>
                  <a:gd name="T56" fmla="*/ 2147483647 w 393"/>
                  <a:gd name="T57" fmla="*/ 2147483647 h 474"/>
                  <a:gd name="T58" fmla="*/ 2147483647 w 393"/>
                  <a:gd name="T59" fmla="*/ 2147483647 h 474"/>
                  <a:gd name="T60" fmla="*/ 2147483647 w 393"/>
                  <a:gd name="T61" fmla="*/ 2147483647 h 474"/>
                  <a:gd name="T62" fmla="*/ 2147483647 w 393"/>
                  <a:gd name="T63" fmla="*/ 2147483647 h 474"/>
                  <a:gd name="T64" fmla="*/ 2147483647 w 393"/>
                  <a:gd name="T65" fmla="*/ 2147483647 h 474"/>
                  <a:gd name="T66" fmla="*/ 2147483647 w 393"/>
                  <a:gd name="T67" fmla="*/ 0 h 474"/>
                  <a:gd name="T68" fmla="*/ 2147483647 w 393"/>
                  <a:gd name="T69" fmla="*/ 2147483647 h 474"/>
                  <a:gd name="T70" fmla="*/ 2147483647 w 393"/>
                  <a:gd name="T71" fmla="*/ 2147483647 h 474"/>
                  <a:gd name="T72" fmla="*/ 2147483647 w 393"/>
                  <a:gd name="T73" fmla="*/ 2147483647 h 474"/>
                  <a:gd name="T74" fmla="*/ 2147483647 w 393"/>
                  <a:gd name="T75" fmla="*/ 2147483647 h 474"/>
                  <a:gd name="T76" fmla="*/ 2147483647 w 393"/>
                  <a:gd name="T77" fmla="*/ 2147483647 h 474"/>
                  <a:gd name="T78" fmla="*/ 2147483647 w 393"/>
                  <a:gd name="T79" fmla="*/ 2147483647 h 474"/>
                  <a:gd name="T80" fmla="*/ 2147483647 w 393"/>
                  <a:gd name="T81" fmla="*/ 2147483647 h 474"/>
                  <a:gd name="T82" fmla="*/ 2147483647 w 393"/>
                  <a:gd name="T83" fmla="*/ 2147483647 h 474"/>
                  <a:gd name="T84" fmla="*/ 2147483647 w 393"/>
                  <a:gd name="T85" fmla="*/ 2147483647 h 474"/>
                  <a:gd name="T86" fmla="*/ 2147483647 w 393"/>
                  <a:gd name="T87" fmla="*/ 2147483647 h 474"/>
                  <a:gd name="T88" fmla="*/ 2147483647 w 393"/>
                  <a:gd name="T89" fmla="*/ 2147483647 h 474"/>
                  <a:gd name="T90" fmla="*/ 2147483647 w 393"/>
                  <a:gd name="T91" fmla="*/ 2147483647 h 474"/>
                  <a:gd name="T92" fmla="*/ 2147483647 w 393"/>
                  <a:gd name="T93" fmla="*/ 2147483647 h 474"/>
                  <a:gd name="T94" fmla="*/ 2147483647 w 393"/>
                  <a:gd name="T95" fmla="*/ 2147483647 h 474"/>
                  <a:gd name="T96" fmla="*/ 2147483647 w 393"/>
                  <a:gd name="T97" fmla="*/ 2147483647 h 474"/>
                  <a:gd name="T98" fmla="*/ 2147483647 w 393"/>
                  <a:gd name="T99" fmla="*/ 2147483647 h 474"/>
                  <a:gd name="T100" fmla="*/ 2147483647 w 393"/>
                  <a:gd name="T101" fmla="*/ 2147483647 h 474"/>
                  <a:gd name="T102" fmla="*/ 2147483647 w 393"/>
                  <a:gd name="T103" fmla="*/ 2147483647 h 474"/>
                  <a:gd name="T104" fmla="*/ 2147483647 w 393"/>
                  <a:gd name="T105" fmla="*/ 2147483647 h 474"/>
                  <a:gd name="T106" fmla="*/ 2147483647 w 393"/>
                  <a:gd name="T107" fmla="*/ 2147483647 h 474"/>
                  <a:gd name="T108" fmla="*/ 2147483647 w 393"/>
                  <a:gd name="T109" fmla="*/ 2147483647 h 474"/>
                  <a:gd name="T110" fmla="*/ 2147483647 w 393"/>
                  <a:gd name="T111" fmla="*/ 2147483647 h 474"/>
                  <a:gd name="T112" fmla="*/ 2147483647 w 393"/>
                  <a:gd name="T113" fmla="*/ 2147483647 h 474"/>
                  <a:gd name="T114" fmla="*/ 2147483647 w 393"/>
                  <a:gd name="T115" fmla="*/ 2147483647 h 474"/>
                  <a:gd name="T116" fmla="*/ 2147483647 w 393"/>
                  <a:gd name="T117" fmla="*/ 2147483647 h 474"/>
                  <a:gd name="T118" fmla="*/ 2147483647 w 393"/>
                  <a:gd name="T119" fmla="*/ 2147483647 h 474"/>
                  <a:gd name="T120" fmla="*/ 2147483647 w 393"/>
                  <a:gd name="T121" fmla="*/ 2147483647 h 474"/>
                  <a:gd name="T122" fmla="*/ 2147483647 w 393"/>
                  <a:gd name="T123" fmla="*/ 2147483647 h 47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93"/>
                  <a:gd name="T187" fmla="*/ 0 h 474"/>
                  <a:gd name="T188" fmla="*/ 393 w 393"/>
                  <a:gd name="T189" fmla="*/ 474 h 47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93" h="474">
                    <a:moveTo>
                      <a:pt x="307" y="469"/>
                    </a:moveTo>
                    <a:lnTo>
                      <a:pt x="302" y="469"/>
                    </a:lnTo>
                    <a:lnTo>
                      <a:pt x="297" y="474"/>
                    </a:lnTo>
                    <a:lnTo>
                      <a:pt x="297" y="469"/>
                    </a:lnTo>
                    <a:lnTo>
                      <a:pt x="297" y="464"/>
                    </a:lnTo>
                    <a:lnTo>
                      <a:pt x="292" y="464"/>
                    </a:lnTo>
                    <a:lnTo>
                      <a:pt x="292" y="459"/>
                    </a:lnTo>
                    <a:lnTo>
                      <a:pt x="287" y="459"/>
                    </a:lnTo>
                    <a:lnTo>
                      <a:pt x="287" y="454"/>
                    </a:lnTo>
                    <a:lnTo>
                      <a:pt x="282" y="454"/>
                    </a:lnTo>
                    <a:lnTo>
                      <a:pt x="282" y="449"/>
                    </a:lnTo>
                    <a:lnTo>
                      <a:pt x="277" y="449"/>
                    </a:lnTo>
                    <a:lnTo>
                      <a:pt x="272" y="449"/>
                    </a:lnTo>
                    <a:lnTo>
                      <a:pt x="272" y="444"/>
                    </a:lnTo>
                    <a:lnTo>
                      <a:pt x="272" y="449"/>
                    </a:lnTo>
                    <a:lnTo>
                      <a:pt x="267" y="449"/>
                    </a:lnTo>
                    <a:lnTo>
                      <a:pt x="267" y="444"/>
                    </a:lnTo>
                    <a:lnTo>
                      <a:pt x="262" y="449"/>
                    </a:lnTo>
                    <a:lnTo>
                      <a:pt x="262" y="444"/>
                    </a:lnTo>
                    <a:lnTo>
                      <a:pt x="257" y="444"/>
                    </a:lnTo>
                    <a:lnTo>
                      <a:pt x="252" y="444"/>
                    </a:lnTo>
                    <a:lnTo>
                      <a:pt x="252" y="439"/>
                    </a:lnTo>
                    <a:lnTo>
                      <a:pt x="252" y="434"/>
                    </a:lnTo>
                    <a:lnTo>
                      <a:pt x="247" y="434"/>
                    </a:lnTo>
                    <a:lnTo>
                      <a:pt x="247" y="429"/>
                    </a:lnTo>
                    <a:lnTo>
                      <a:pt x="241" y="429"/>
                    </a:lnTo>
                    <a:lnTo>
                      <a:pt x="241" y="423"/>
                    </a:lnTo>
                    <a:lnTo>
                      <a:pt x="236" y="423"/>
                    </a:lnTo>
                    <a:lnTo>
                      <a:pt x="231" y="418"/>
                    </a:lnTo>
                    <a:lnTo>
                      <a:pt x="226" y="408"/>
                    </a:lnTo>
                    <a:lnTo>
                      <a:pt x="226" y="403"/>
                    </a:lnTo>
                    <a:lnTo>
                      <a:pt x="231" y="398"/>
                    </a:lnTo>
                    <a:lnTo>
                      <a:pt x="231" y="393"/>
                    </a:lnTo>
                    <a:lnTo>
                      <a:pt x="226" y="383"/>
                    </a:lnTo>
                    <a:lnTo>
                      <a:pt x="216" y="378"/>
                    </a:lnTo>
                    <a:lnTo>
                      <a:pt x="211" y="373"/>
                    </a:lnTo>
                    <a:lnTo>
                      <a:pt x="206" y="368"/>
                    </a:lnTo>
                    <a:lnTo>
                      <a:pt x="206" y="363"/>
                    </a:lnTo>
                    <a:lnTo>
                      <a:pt x="211" y="358"/>
                    </a:lnTo>
                    <a:lnTo>
                      <a:pt x="206" y="353"/>
                    </a:lnTo>
                    <a:lnTo>
                      <a:pt x="196" y="348"/>
                    </a:lnTo>
                    <a:lnTo>
                      <a:pt x="201" y="343"/>
                    </a:lnTo>
                    <a:lnTo>
                      <a:pt x="196" y="338"/>
                    </a:lnTo>
                    <a:lnTo>
                      <a:pt x="191" y="333"/>
                    </a:lnTo>
                    <a:lnTo>
                      <a:pt x="186" y="328"/>
                    </a:lnTo>
                    <a:lnTo>
                      <a:pt x="171" y="323"/>
                    </a:lnTo>
                    <a:lnTo>
                      <a:pt x="171" y="318"/>
                    </a:lnTo>
                    <a:lnTo>
                      <a:pt x="161" y="313"/>
                    </a:lnTo>
                    <a:lnTo>
                      <a:pt x="156" y="313"/>
                    </a:lnTo>
                    <a:lnTo>
                      <a:pt x="156" y="318"/>
                    </a:lnTo>
                    <a:lnTo>
                      <a:pt x="161" y="318"/>
                    </a:lnTo>
                    <a:lnTo>
                      <a:pt x="156" y="323"/>
                    </a:lnTo>
                    <a:lnTo>
                      <a:pt x="151" y="328"/>
                    </a:lnTo>
                    <a:lnTo>
                      <a:pt x="146" y="328"/>
                    </a:lnTo>
                    <a:lnTo>
                      <a:pt x="141" y="323"/>
                    </a:lnTo>
                    <a:lnTo>
                      <a:pt x="131" y="323"/>
                    </a:lnTo>
                    <a:lnTo>
                      <a:pt x="131" y="318"/>
                    </a:lnTo>
                    <a:lnTo>
                      <a:pt x="126" y="308"/>
                    </a:lnTo>
                    <a:lnTo>
                      <a:pt x="126" y="303"/>
                    </a:lnTo>
                    <a:lnTo>
                      <a:pt x="126" y="297"/>
                    </a:lnTo>
                    <a:lnTo>
                      <a:pt x="121" y="292"/>
                    </a:lnTo>
                    <a:lnTo>
                      <a:pt x="121" y="287"/>
                    </a:lnTo>
                    <a:lnTo>
                      <a:pt x="121" y="282"/>
                    </a:lnTo>
                    <a:lnTo>
                      <a:pt x="115" y="287"/>
                    </a:lnTo>
                    <a:lnTo>
                      <a:pt x="110" y="292"/>
                    </a:lnTo>
                    <a:lnTo>
                      <a:pt x="105" y="292"/>
                    </a:lnTo>
                    <a:lnTo>
                      <a:pt x="100" y="292"/>
                    </a:lnTo>
                    <a:lnTo>
                      <a:pt x="95" y="303"/>
                    </a:lnTo>
                    <a:lnTo>
                      <a:pt x="95" y="308"/>
                    </a:lnTo>
                    <a:lnTo>
                      <a:pt x="95" y="313"/>
                    </a:lnTo>
                    <a:lnTo>
                      <a:pt x="85" y="313"/>
                    </a:lnTo>
                    <a:lnTo>
                      <a:pt x="85" y="308"/>
                    </a:lnTo>
                    <a:lnTo>
                      <a:pt x="80" y="303"/>
                    </a:lnTo>
                    <a:lnTo>
                      <a:pt x="80" y="297"/>
                    </a:lnTo>
                    <a:lnTo>
                      <a:pt x="80" y="292"/>
                    </a:lnTo>
                    <a:lnTo>
                      <a:pt x="80" y="287"/>
                    </a:lnTo>
                    <a:lnTo>
                      <a:pt x="75" y="287"/>
                    </a:lnTo>
                    <a:lnTo>
                      <a:pt x="70" y="287"/>
                    </a:lnTo>
                    <a:lnTo>
                      <a:pt x="65" y="287"/>
                    </a:lnTo>
                    <a:lnTo>
                      <a:pt x="65" y="282"/>
                    </a:lnTo>
                    <a:lnTo>
                      <a:pt x="60" y="282"/>
                    </a:lnTo>
                    <a:lnTo>
                      <a:pt x="55" y="277"/>
                    </a:lnTo>
                    <a:lnTo>
                      <a:pt x="55" y="272"/>
                    </a:lnTo>
                    <a:lnTo>
                      <a:pt x="50" y="267"/>
                    </a:lnTo>
                    <a:lnTo>
                      <a:pt x="45" y="267"/>
                    </a:lnTo>
                    <a:lnTo>
                      <a:pt x="35" y="272"/>
                    </a:lnTo>
                    <a:lnTo>
                      <a:pt x="30" y="267"/>
                    </a:lnTo>
                    <a:lnTo>
                      <a:pt x="25" y="262"/>
                    </a:lnTo>
                    <a:lnTo>
                      <a:pt x="20" y="257"/>
                    </a:lnTo>
                    <a:lnTo>
                      <a:pt x="15" y="252"/>
                    </a:lnTo>
                    <a:lnTo>
                      <a:pt x="5" y="252"/>
                    </a:lnTo>
                    <a:lnTo>
                      <a:pt x="5" y="247"/>
                    </a:lnTo>
                    <a:lnTo>
                      <a:pt x="10" y="237"/>
                    </a:lnTo>
                    <a:lnTo>
                      <a:pt x="5" y="232"/>
                    </a:lnTo>
                    <a:lnTo>
                      <a:pt x="5" y="227"/>
                    </a:lnTo>
                    <a:lnTo>
                      <a:pt x="5" y="222"/>
                    </a:lnTo>
                    <a:lnTo>
                      <a:pt x="5" y="217"/>
                    </a:lnTo>
                    <a:lnTo>
                      <a:pt x="10" y="212"/>
                    </a:lnTo>
                    <a:lnTo>
                      <a:pt x="5" y="212"/>
                    </a:lnTo>
                    <a:lnTo>
                      <a:pt x="0" y="212"/>
                    </a:lnTo>
                    <a:lnTo>
                      <a:pt x="0" y="202"/>
                    </a:lnTo>
                    <a:lnTo>
                      <a:pt x="0" y="197"/>
                    </a:lnTo>
                    <a:lnTo>
                      <a:pt x="0" y="192"/>
                    </a:lnTo>
                    <a:lnTo>
                      <a:pt x="0" y="187"/>
                    </a:lnTo>
                    <a:lnTo>
                      <a:pt x="5" y="177"/>
                    </a:lnTo>
                    <a:lnTo>
                      <a:pt x="5" y="172"/>
                    </a:lnTo>
                    <a:lnTo>
                      <a:pt x="10" y="166"/>
                    </a:lnTo>
                    <a:lnTo>
                      <a:pt x="10" y="172"/>
                    </a:lnTo>
                    <a:lnTo>
                      <a:pt x="15" y="166"/>
                    </a:lnTo>
                    <a:lnTo>
                      <a:pt x="15" y="156"/>
                    </a:lnTo>
                    <a:lnTo>
                      <a:pt x="10" y="156"/>
                    </a:lnTo>
                    <a:lnTo>
                      <a:pt x="10" y="146"/>
                    </a:lnTo>
                    <a:lnTo>
                      <a:pt x="20" y="151"/>
                    </a:lnTo>
                    <a:lnTo>
                      <a:pt x="20" y="146"/>
                    </a:lnTo>
                    <a:lnTo>
                      <a:pt x="20" y="141"/>
                    </a:lnTo>
                    <a:lnTo>
                      <a:pt x="25" y="141"/>
                    </a:lnTo>
                    <a:lnTo>
                      <a:pt x="30" y="146"/>
                    </a:lnTo>
                    <a:lnTo>
                      <a:pt x="45" y="141"/>
                    </a:lnTo>
                    <a:lnTo>
                      <a:pt x="50" y="141"/>
                    </a:lnTo>
                    <a:lnTo>
                      <a:pt x="55" y="136"/>
                    </a:lnTo>
                    <a:lnTo>
                      <a:pt x="60" y="131"/>
                    </a:lnTo>
                    <a:lnTo>
                      <a:pt x="70" y="131"/>
                    </a:lnTo>
                    <a:lnTo>
                      <a:pt x="70" y="136"/>
                    </a:lnTo>
                    <a:lnTo>
                      <a:pt x="75" y="131"/>
                    </a:lnTo>
                    <a:lnTo>
                      <a:pt x="75" y="121"/>
                    </a:lnTo>
                    <a:lnTo>
                      <a:pt x="80" y="121"/>
                    </a:lnTo>
                    <a:lnTo>
                      <a:pt x="85" y="121"/>
                    </a:lnTo>
                    <a:lnTo>
                      <a:pt x="90" y="121"/>
                    </a:lnTo>
                    <a:lnTo>
                      <a:pt x="95" y="126"/>
                    </a:lnTo>
                    <a:lnTo>
                      <a:pt x="95" y="121"/>
                    </a:lnTo>
                    <a:lnTo>
                      <a:pt x="100" y="121"/>
                    </a:lnTo>
                    <a:lnTo>
                      <a:pt x="105" y="116"/>
                    </a:lnTo>
                    <a:lnTo>
                      <a:pt x="110" y="116"/>
                    </a:lnTo>
                    <a:lnTo>
                      <a:pt x="115" y="111"/>
                    </a:lnTo>
                    <a:lnTo>
                      <a:pt x="115" y="106"/>
                    </a:lnTo>
                    <a:lnTo>
                      <a:pt x="126" y="106"/>
                    </a:lnTo>
                    <a:lnTo>
                      <a:pt x="126" y="101"/>
                    </a:lnTo>
                    <a:lnTo>
                      <a:pt x="131" y="101"/>
                    </a:lnTo>
                    <a:lnTo>
                      <a:pt x="136" y="106"/>
                    </a:lnTo>
                    <a:lnTo>
                      <a:pt x="141" y="106"/>
                    </a:lnTo>
                    <a:lnTo>
                      <a:pt x="141" y="101"/>
                    </a:lnTo>
                    <a:lnTo>
                      <a:pt x="136" y="91"/>
                    </a:lnTo>
                    <a:lnTo>
                      <a:pt x="141" y="91"/>
                    </a:lnTo>
                    <a:lnTo>
                      <a:pt x="131" y="91"/>
                    </a:lnTo>
                    <a:lnTo>
                      <a:pt x="126" y="91"/>
                    </a:lnTo>
                    <a:lnTo>
                      <a:pt x="121" y="91"/>
                    </a:lnTo>
                    <a:lnTo>
                      <a:pt x="121" y="76"/>
                    </a:lnTo>
                    <a:lnTo>
                      <a:pt x="115" y="76"/>
                    </a:lnTo>
                    <a:lnTo>
                      <a:pt x="110" y="81"/>
                    </a:lnTo>
                    <a:lnTo>
                      <a:pt x="110" y="71"/>
                    </a:lnTo>
                    <a:lnTo>
                      <a:pt x="115" y="71"/>
                    </a:lnTo>
                    <a:lnTo>
                      <a:pt x="121" y="66"/>
                    </a:lnTo>
                    <a:lnTo>
                      <a:pt x="121" y="71"/>
                    </a:lnTo>
                    <a:lnTo>
                      <a:pt x="126" y="66"/>
                    </a:lnTo>
                    <a:lnTo>
                      <a:pt x="126" y="61"/>
                    </a:lnTo>
                    <a:lnTo>
                      <a:pt x="126" y="56"/>
                    </a:lnTo>
                    <a:lnTo>
                      <a:pt x="131" y="51"/>
                    </a:lnTo>
                    <a:lnTo>
                      <a:pt x="126" y="51"/>
                    </a:lnTo>
                    <a:lnTo>
                      <a:pt x="121" y="51"/>
                    </a:lnTo>
                    <a:lnTo>
                      <a:pt x="115" y="41"/>
                    </a:lnTo>
                    <a:lnTo>
                      <a:pt x="115" y="35"/>
                    </a:lnTo>
                    <a:lnTo>
                      <a:pt x="115" y="30"/>
                    </a:lnTo>
                    <a:lnTo>
                      <a:pt x="121" y="30"/>
                    </a:lnTo>
                    <a:lnTo>
                      <a:pt x="121" y="25"/>
                    </a:lnTo>
                    <a:lnTo>
                      <a:pt x="121" y="20"/>
                    </a:lnTo>
                    <a:lnTo>
                      <a:pt x="121" y="15"/>
                    </a:lnTo>
                    <a:lnTo>
                      <a:pt x="126" y="15"/>
                    </a:lnTo>
                    <a:lnTo>
                      <a:pt x="121" y="10"/>
                    </a:lnTo>
                    <a:lnTo>
                      <a:pt x="126" y="5"/>
                    </a:lnTo>
                    <a:lnTo>
                      <a:pt x="126" y="0"/>
                    </a:lnTo>
                    <a:lnTo>
                      <a:pt x="136" y="0"/>
                    </a:lnTo>
                    <a:lnTo>
                      <a:pt x="136" y="5"/>
                    </a:lnTo>
                    <a:lnTo>
                      <a:pt x="146" y="5"/>
                    </a:lnTo>
                    <a:lnTo>
                      <a:pt x="156" y="10"/>
                    </a:lnTo>
                    <a:lnTo>
                      <a:pt x="161" y="5"/>
                    </a:lnTo>
                    <a:lnTo>
                      <a:pt x="166" y="10"/>
                    </a:lnTo>
                    <a:lnTo>
                      <a:pt x="171" y="10"/>
                    </a:lnTo>
                    <a:lnTo>
                      <a:pt x="181" y="20"/>
                    </a:lnTo>
                    <a:lnTo>
                      <a:pt x="186" y="35"/>
                    </a:lnTo>
                    <a:lnTo>
                      <a:pt x="191" y="30"/>
                    </a:lnTo>
                    <a:lnTo>
                      <a:pt x="196" y="35"/>
                    </a:lnTo>
                    <a:lnTo>
                      <a:pt x="201" y="41"/>
                    </a:lnTo>
                    <a:lnTo>
                      <a:pt x="206" y="41"/>
                    </a:lnTo>
                    <a:lnTo>
                      <a:pt x="201" y="46"/>
                    </a:lnTo>
                    <a:lnTo>
                      <a:pt x="201" y="56"/>
                    </a:lnTo>
                    <a:lnTo>
                      <a:pt x="201" y="61"/>
                    </a:lnTo>
                    <a:lnTo>
                      <a:pt x="206" y="61"/>
                    </a:lnTo>
                    <a:lnTo>
                      <a:pt x="206" y="66"/>
                    </a:lnTo>
                    <a:lnTo>
                      <a:pt x="211" y="66"/>
                    </a:lnTo>
                    <a:lnTo>
                      <a:pt x="216" y="71"/>
                    </a:lnTo>
                    <a:lnTo>
                      <a:pt x="221" y="66"/>
                    </a:lnTo>
                    <a:lnTo>
                      <a:pt x="221" y="71"/>
                    </a:lnTo>
                    <a:lnTo>
                      <a:pt x="216" y="76"/>
                    </a:lnTo>
                    <a:lnTo>
                      <a:pt x="216" y="81"/>
                    </a:lnTo>
                    <a:lnTo>
                      <a:pt x="216" y="86"/>
                    </a:lnTo>
                    <a:lnTo>
                      <a:pt x="211" y="86"/>
                    </a:lnTo>
                    <a:lnTo>
                      <a:pt x="211" y="91"/>
                    </a:lnTo>
                    <a:lnTo>
                      <a:pt x="226" y="96"/>
                    </a:lnTo>
                    <a:lnTo>
                      <a:pt x="231" y="96"/>
                    </a:lnTo>
                    <a:lnTo>
                      <a:pt x="236" y="96"/>
                    </a:lnTo>
                    <a:lnTo>
                      <a:pt x="236" y="101"/>
                    </a:lnTo>
                    <a:lnTo>
                      <a:pt x="236" y="106"/>
                    </a:lnTo>
                    <a:lnTo>
                      <a:pt x="241" y="106"/>
                    </a:lnTo>
                    <a:lnTo>
                      <a:pt x="236" y="111"/>
                    </a:lnTo>
                    <a:lnTo>
                      <a:pt x="236" y="106"/>
                    </a:lnTo>
                    <a:lnTo>
                      <a:pt x="226" y="111"/>
                    </a:lnTo>
                    <a:lnTo>
                      <a:pt x="226" y="116"/>
                    </a:lnTo>
                    <a:lnTo>
                      <a:pt x="231" y="121"/>
                    </a:lnTo>
                    <a:lnTo>
                      <a:pt x="236" y="121"/>
                    </a:lnTo>
                    <a:lnTo>
                      <a:pt x="241" y="131"/>
                    </a:lnTo>
                    <a:lnTo>
                      <a:pt x="252" y="121"/>
                    </a:lnTo>
                    <a:lnTo>
                      <a:pt x="257" y="126"/>
                    </a:lnTo>
                    <a:lnTo>
                      <a:pt x="262" y="131"/>
                    </a:lnTo>
                    <a:lnTo>
                      <a:pt x="267" y="131"/>
                    </a:lnTo>
                    <a:lnTo>
                      <a:pt x="272" y="131"/>
                    </a:lnTo>
                    <a:lnTo>
                      <a:pt x="272" y="136"/>
                    </a:lnTo>
                    <a:lnTo>
                      <a:pt x="277" y="136"/>
                    </a:lnTo>
                    <a:lnTo>
                      <a:pt x="277" y="141"/>
                    </a:lnTo>
                    <a:lnTo>
                      <a:pt x="277" y="146"/>
                    </a:lnTo>
                    <a:lnTo>
                      <a:pt x="277" y="151"/>
                    </a:lnTo>
                    <a:lnTo>
                      <a:pt x="277" y="156"/>
                    </a:lnTo>
                    <a:lnTo>
                      <a:pt x="282" y="156"/>
                    </a:lnTo>
                    <a:lnTo>
                      <a:pt x="287" y="156"/>
                    </a:lnTo>
                    <a:lnTo>
                      <a:pt x="287" y="151"/>
                    </a:lnTo>
                    <a:lnTo>
                      <a:pt x="282" y="146"/>
                    </a:lnTo>
                    <a:lnTo>
                      <a:pt x="287" y="146"/>
                    </a:lnTo>
                    <a:lnTo>
                      <a:pt x="287" y="141"/>
                    </a:lnTo>
                    <a:lnTo>
                      <a:pt x="292" y="136"/>
                    </a:lnTo>
                    <a:lnTo>
                      <a:pt x="297" y="141"/>
                    </a:lnTo>
                    <a:lnTo>
                      <a:pt x="292" y="146"/>
                    </a:lnTo>
                    <a:lnTo>
                      <a:pt x="297" y="151"/>
                    </a:lnTo>
                    <a:lnTo>
                      <a:pt x="292" y="156"/>
                    </a:lnTo>
                    <a:lnTo>
                      <a:pt x="292" y="161"/>
                    </a:lnTo>
                    <a:lnTo>
                      <a:pt x="297" y="161"/>
                    </a:lnTo>
                    <a:lnTo>
                      <a:pt x="297" y="156"/>
                    </a:lnTo>
                    <a:lnTo>
                      <a:pt x="297" y="151"/>
                    </a:lnTo>
                    <a:lnTo>
                      <a:pt x="302" y="151"/>
                    </a:lnTo>
                    <a:lnTo>
                      <a:pt x="307" y="156"/>
                    </a:lnTo>
                    <a:lnTo>
                      <a:pt x="312" y="156"/>
                    </a:lnTo>
                    <a:lnTo>
                      <a:pt x="317" y="156"/>
                    </a:lnTo>
                    <a:lnTo>
                      <a:pt x="317" y="151"/>
                    </a:lnTo>
                    <a:lnTo>
                      <a:pt x="327" y="156"/>
                    </a:lnTo>
                    <a:lnTo>
                      <a:pt x="332" y="151"/>
                    </a:lnTo>
                    <a:lnTo>
                      <a:pt x="332" y="146"/>
                    </a:lnTo>
                    <a:lnTo>
                      <a:pt x="337" y="146"/>
                    </a:lnTo>
                    <a:lnTo>
                      <a:pt x="337" y="151"/>
                    </a:lnTo>
                    <a:lnTo>
                      <a:pt x="337" y="156"/>
                    </a:lnTo>
                    <a:lnTo>
                      <a:pt x="342" y="156"/>
                    </a:lnTo>
                    <a:lnTo>
                      <a:pt x="347" y="161"/>
                    </a:lnTo>
                    <a:lnTo>
                      <a:pt x="352" y="161"/>
                    </a:lnTo>
                    <a:lnTo>
                      <a:pt x="357" y="161"/>
                    </a:lnTo>
                    <a:lnTo>
                      <a:pt x="362" y="166"/>
                    </a:lnTo>
                    <a:lnTo>
                      <a:pt x="367" y="166"/>
                    </a:lnTo>
                    <a:lnTo>
                      <a:pt x="373" y="172"/>
                    </a:lnTo>
                    <a:lnTo>
                      <a:pt x="373" y="177"/>
                    </a:lnTo>
                    <a:lnTo>
                      <a:pt x="373" y="182"/>
                    </a:lnTo>
                    <a:lnTo>
                      <a:pt x="378" y="182"/>
                    </a:lnTo>
                    <a:lnTo>
                      <a:pt x="378" y="187"/>
                    </a:lnTo>
                    <a:lnTo>
                      <a:pt x="378" y="192"/>
                    </a:lnTo>
                    <a:lnTo>
                      <a:pt x="373" y="197"/>
                    </a:lnTo>
                    <a:lnTo>
                      <a:pt x="373" y="202"/>
                    </a:lnTo>
                    <a:lnTo>
                      <a:pt x="373" y="207"/>
                    </a:lnTo>
                    <a:lnTo>
                      <a:pt x="373" y="212"/>
                    </a:lnTo>
                    <a:lnTo>
                      <a:pt x="378" y="217"/>
                    </a:lnTo>
                    <a:lnTo>
                      <a:pt x="378" y="227"/>
                    </a:lnTo>
                    <a:lnTo>
                      <a:pt x="383" y="232"/>
                    </a:lnTo>
                    <a:lnTo>
                      <a:pt x="383" y="237"/>
                    </a:lnTo>
                    <a:lnTo>
                      <a:pt x="383" y="247"/>
                    </a:lnTo>
                    <a:lnTo>
                      <a:pt x="383" y="252"/>
                    </a:lnTo>
                    <a:lnTo>
                      <a:pt x="388" y="252"/>
                    </a:lnTo>
                    <a:lnTo>
                      <a:pt x="388" y="257"/>
                    </a:lnTo>
                    <a:lnTo>
                      <a:pt x="388" y="262"/>
                    </a:lnTo>
                    <a:lnTo>
                      <a:pt x="393" y="267"/>
                    </a:lnTo>
                    <a:lnTo>
                      <a:pt x="388" y="272"/>
                    </a:lnTo>
                    <a:lnTo>
                      <a:pt x="383" y="267"/>
                    </a:lnTo>
                    <a:lnTo>
                      <a:pt x="373" y="267"/>
                    </a:lnTo>
                    <a:lnTo>
                      <a:pt x="367" y="267"/>
                    </a:lnTo>
                    <a:lnTo>
                      <a:pt x="362" y="267"/>
                    </a:lnTo>
                    <a:lnTo>
                      <a:pt x="362" y="272"/>
                    </a:lnTo>
                    <a:lnTo>
                      <a:pt x="352" y="272"/>
                    </a:lnTo>
                    <a:lnTo>
                      <a:pt x="347" y="277"/>
                    </a:lnTo>
                    <a:lnTo>
                      <a:pt x="337" y="282"/>
                    </a:lnTo>
                    <a:lnTo>
                      <a:pt x="337" y="287"/>
                    </a:lnTo>
                    <a:lnTo>
                      <a:pt x="332" y="297"/>
                    </a:lnTo>
                    <a:lnTo>
                      <a:pt x="327" y="308"/>
                    </a:lnTo>
                    <a:lnTo>
                      <a:pt x="317" y="318"/>
                    </a:lnTo>
                    <a:lnTo>
                      <a:pt x="317" y="323"/>
                    </a:lnTo>
                    <a:lnTo>
                      <a:pt x="312" y="323"/>
                    </a:lnTo>
                    <a:lnTo>
                      <a:pt x="312" y="328"/>
                    </a:lnTo>
                    <a:lnTo>
                      <a:pt x="312" y="333"/>
                    </a:lnTo>
                    <a:lnTo>
                      <a:pt x="317" y="333"/>
                    </a:lnTo>
                    <a:lnTo>
                      <a:pt x="317" y="338"/>
                    </a:lnTo>
                    <a:lnTo>
                      <a:pt x="312" y="338"/>
                    </a:lnTo>
                    <a:lnTo>
                      <a:pt x="312" y="343"/>
                    </a:lnTo>
                    <a:lnTo>
                      <a:pt x="307" y="348"/>
                    </a:lnTo>
                    <a:lnTo>
                      <a:pt x="302" y="358"/>
                    </a:lnTo>
                    <a:lnTo>
                      <a:pt x="302" y="368"/>
                    </a:lnTo>
                    <a:lnTo>
                      <a:pt x="302" y="373"/>
                    </a:lnTo>
                    <a:lnTo>
                      <a:pt x="297" y="383"/>
                    </a:lnTo>
                    <a:lnTo>
                      <a:pt x="292" y="388"/>
                    </a:lnTo>
                    <a:lnTo>
                      <a:pt x="287" y="398"/>
                    </a:lnTo>
                    <a:lnTo>
                      <a:pt x="287" y="403"/>
                    </a:lnTo>
                    <a:lnTo>
                      <a:pt x="292" y="413"/>
                    </a:lnTo>
                    <a:lnTo>
                      <a:pt x="302" y="418"/>
                    </a:lnTo>
                    <a:lnTo>
                      <a:pt x="307" y="429"/>
                    </a:lnTo>
                    <a:lnTo>
                      <a:pt x="312" y="439"/>
                    </a:lnTo>
                    <a:lnTo>
                      <a:pt x="307" y="444"/>
                    </a:lnTo>
                    <a:lnTo>
                      <a:pt x="307" y="454"/>
                    </a:lnTo>
                    <a:lnTo>
                      <a:pt x="302" y="464"/>
                    </a:lnTo>
                    <a:lnTo>
                      <a:pt x="307" y="469"/>
                    </a:lnTo>
                    <a:close/>
                  </a:path>
                </a:pathLst>
              </a:custGeom>
              <a:solidFill>
                <a:srgbClr val="9067A7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 543">
                <a:extLst>
                  <a:ext uri="{FF2B5EF4-FFF2-40B4-BE49-F238E27FC236}">
                    <a16:creationId xmlns:a16="http://schemas.microsoft.com/office/drawing/2014/main" id="{363B05C9-A176-8765-7040-9B16342FD850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2605013" y="2945907"/>
                <a:ext cx="1045140" cy="658214"/>
              </a:xfrm>
              <a:custGeom>
                <a:avLst/>
                <a:gdLst>
                  <a:gd name="T0" fmla="*/ 2147483647 w 666"/>
                  <a:gd name="T1" fmla="*/ 2147483647 h 443"/>
                  <a:gd name="T2" fmla="*/ 2147483647 w 666"/>
                  <a:gd name="T3" fmla="*/ 2147483647 h 443"/>
                  <a:gd name="T4" fmla="*/ 2147483647 w 666"/>
                  <a:gd name="T5" fmla="*/ 2147483647 h 443"/>
                  <a:gd name="T6" fmla="*/ 2147483647 w 666"/>
                  <a:gd name="T7" fmla="*/ 2147483647 h 443"/>
                  <a:gd name="T8" fmla="*/ 2147483647 w 666"/>
                  <a:gd name="T9" fmla="*/ 2147483647 h 443"/>
                  <a:gd name="T10" fmla="*/ 2147483647 w 666"/>
                  <a:gd name="T11" fmla="*/ 2147483647 h 443"/>
                  <a:gd name="T12" fmla="*/ 2147483647 w 666"/>
                  <a:gd name="T13" fmla="*/ 2147483647 h 443"/>
                  <a:gd name="T14" fmla="*/ 2147483647 w 666"/>
                  <a:gd name="T15" fmla="*/ 2147483647 h 443"/>
                  <a:gd name="T16" fmla="*/ 2147483647 w 666"/>
                  <a:gd name="T17" fmla="*/ 2147483647 h 443"/>
                  <a:gd name="T18" fmla="*/ 2147483647 w 666"/>
                  <a:gd name="T19" fmla="*/ 2147483647 h 443"/>
                  <a:gd name="T20" fmla="*/ 2147483647 w 666"/>
                  <a:gd name="T21" fmla="*/ 2147483647 h 443"/>
                  <a:gd name="T22" fmla="*/ 2147483647 w 666"/>
                  <a:gd name="T23" fmla="*/ 2147483647 h 443"/>
                  <a:gd name="T24" fmla="*/ 2147483647 w 666"/>
                  <a:gd name="T25" fmla="*/ 2147483647 h 443"/>
                  <a:gd name="T26" fmla="*/ 2147483647 w 666"/>
                  <a:gd name="T27" fmla="*/ 2147483647 h 443"/>
                  <a:gd name="T28" fmla="*/ 2147483647 w 666"/>
                  <a:gd name="T29" fmla="*/ 2147483647 h 443"/>
                  <a:gd name="T30" fmla="*/ 2147483647 w 666"/>
                  <a:gd name="T31" fmla="*/ 2147483647 h 443"/>
                  <a:gd name="T32" fmla="*/ 2147483647 w 666"/>
                  <a:gd name="T33" fmla="*/ 2147483647 h 443"/>
                  <a:gd name="T34" fmla="*/ 2147483647 w 666"/>
                  <a:gd name="T35" fmla="*/ 2147483647 h 443"/>
                  <a:gd name="T36" fmla="*/ 2147483647 w 666"/>
                  <a:gd name="T37" fmla="*/ 2147483647 h 443"/>
                  <a:gd name="T38" fmla="*/ 0 w 666"/>
                  <a:gd name="T39" fmla="*/ 2147483647 h 443"/>
                  <a:gd name="T40" fmla="*/ 2147483647 w 666"/>
                  <a:gd name="T41" fmla="*/ 2147483647 h 443"/>
                  <a:gd name="T42" fmla="*/ 2147483647 w 666"/>
                  <a:gd name="T43" fmla="*/ 2147483647 h 443"/>
                  <a:gd name="T44" fmla="*/ 2147483647 w 666"/>
                  <a:gd name="T45" fmla="*/ 2147483647 h 443"/>
                  <a:gd name="T46" fmla="*/ 2147483647 w 666"/>
                  <a:gd name="T47" fmla="*/ 2147483647 h 443"/>
                  <a:gd name="T48" fmla="*/ 2147483647 w 666"/>
                  <a:gd name="T49" fmla="*/ 2147483647 h 443"/>
                  <a:gd name="T50" fmla="*/ 2147483647 w 666"/>
                  <a:gd name="T51" fmla="*/ 2147483647 h 443"/>
                  <a:gd name="T52" fmla="*/ 2147483647 w 666"/>
                  <a:gd name="T53" fmla="*/ 2147483647 h 443"/>
                  <a:gd name="T54" fmla="*/ 2147483647 w 666"/>
                  <a:gd name="T55" fmla="*/ 2147483647 h 443"/>
                  <a:gd name="T56" fmla="*/ 2147483647 w 666"/>
                  <a:gd name="T57" fmla="*/ 2147483647 h 443"/>
                  <a:gd name="T58" fmla="*/ 2147483647 w 666"/>
                  <a:gd name="T59" fmla="*/ 2147483647 h 443"/>
                  <a:gd name="T60" fmla="*/ 2147483647 w 666"/>
                  <a:gd name="T61" fmla="*/ 2147483647 h 443"/>
                  <a:gd name="T62" fmla="*/ 2147483647 w 666"/>
                  <a:gd name="T63" fmla="*/ 2147483647 h 443"/>
                  <a:gd name="T64" fmla="*/ 2147483647 w 666"/>
                  <a:gd name="T65" fmla="*/ 2147483647 h 443"/>
                  <a:gd name="T66" fmla="*/ 2147483647 w 666"/>
                  <a:gd name="T67" fmla="*/ 2147483647 h 443"/>
                  <a:gd name="T68" fmla="*/ 2147483647 w 666"/>
                  <a:gd name="T69" fmla="*/ 2147483647 h 443"/>
                  <a:gd name="T70" fmla="*/ 2147483647 w 666"/>
                  <a:gd name="T71" fmla="*/ 2147483647 h 443"/>
                  <a:gd name="T72" fmla="*/ 2147483647 w 666"/>
                  <a:gd name="T73" fmla="*/ 2147483647 h 443"/>
                  <a:gd name="T74" fmla="*/ 2147483647 w 666"/>
                  <a:gd name="T75" fmla="*/ 2147483647 h 443"/>
                  <a:gd name="T76" fmla="*/ 2147483647 w 666"/>
                  <a:gd name="T77" fmla="*/ 2147483647 h 443"/>
                  <a:gd name="T78" fmla="*/ 2147483647 w 666"/>
                  <a:gd name="T79" fmla="*/ 2147483647 h 443"/>
                  <a:gd name="T80" fmla="*/ 2147483647 w 666"/>
                  <a:gd name="T81" fmla="*/ 2147483647 h 443"/>
                  <a:gd name="T82" fmla="*/ 2147483647 w 666"/>
                  <a:gd name="T83" fmla="*/ 2147483647 h 443"/>
                  <a:gd name="T84" fmla="*/ 2147483647 w 666"/>
                  <a:gd name="T85" fmla="*/ 2147483647 h 443"/>
                  <a:gd name="T86" fmla="*/ 2147483647 w 666"/>
                  <a:gd name="T87" fmla="*/ 2147483647 h 443"/>
                  <a:gd name="T88" fmla="*/ 2147483647 w 666"/>
                  <a:gd name="T89" fmla="*/ 2147483647 h 443"/>
                  <a:gd name="T90" fmla="*/ 2147483647 w 666"/>
                  <a:gd name="T91" fmla="*/ 2147483647 h 443"/>
                  <a:gd name="T92" fmla="*/ 2147483647 w 666"/>
                  <a:gd name="T93" fmla="*/ 2147483647 h 443"/>
                  <a:gd name="T94" fmla="*/ 2147483647 w 666"/>
                  <a:gd name="T95" fmla="*/ 2147483647 h 443"/>
                  <a:gd name="T96" fmla="*/ 2147483647 w 666"/>
                  <a:gd name="T97" fmla="*/ 2147483647 h 443"/>
                  <a:gd name="T98" fmla="*/ 2147483647 w 666"/>
                  <a:gd name="T99" fmla="*/ 2147483647 h 443"/>
                  <a:gd name="T100" fmla="*/ 2147483647 w 666"/>
                  <a:gd name="T101" fmla="*/ 2147483647 h 443"/>
                  <a:gd name="T102" fmla="*/ 2147483647 w 666"/>
                  <a:gd name="T103" fmla="*/ 2147483647 h 443"/>
                  <a:gd name="T104" fmla="*/ 2147483647 w 666"/>
                  <a:gd name="T105" fmla="*/ 2147483647 h 443"/>
                  <a:gd name="T106" fmla="*/ 2147483647 w 666"/>
                  <a:gd name="T107" fmla="*/ 2147483647 h 443"/>
                  <a:gd name="T108" fmla="*/ 2147483647 w 666"/>
                  <a:gd name="T109" fmla="*/ 2147483647 h 443"/>
                  <a:gd name="T110" fmla="*/ 2147483647 w 666"/>
                  <a:gd name="T111" fmla="*/ 2147483647 h 443"/>
                  <a:gd name="T112" fmla="*/ 2147483647 w 666"/>
                  <a:gd name="T113" fmla="*/ 2147483647 h 443"/>
                  <a:gd name="T114" fmla="*/ 2147483647 w 666"/>
                  <a:gd name="T115" fmla="*/ 2147483647 h 443"/>
                  <a:gd name="T116" fmla="*/ 2147483647 w 666"/>
                  <a:gd name="T117" fmla="*/ 2147483647 h 443"/>
                  <a:gd name="T118" fmla="*/ 2147483647 w 666"/>
                  <a:gd name="T119" fmla="*/ 2147483647 h 443"/>
                  <a:gd name="T120" fmla="*/ 2147483647 w 666"/>
                  <a:gd name="T121" fmla="*/ 2147483647 h 443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66"/>
                  <a:gd name="T184" fmla="*/ 0 h 443"/>
                  <a:gd name="T185" fmla="*/ 666 w 666"/>
                  <a:gd name="T186" fmla="*/ 443 h 443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66" h="443">
                    <a:moveTo>
                      <a:pt x="590" y="322"/>
                    </a:moveTo>
                    <a:lnTo>
                      <a:pt x="580" y="307"/>
                    </a:lnTo>
                    <a:lnTo>
                      <a:pt x="575" y="312"/>
                    </a:lnTo>
                    <a:lnTo>
                      <a:pt x="565" y="317"/>
                    </a:lnTo>
                    <a:lnTo>
                      <a:pt x="565" y="312"/>
                    </a:lnTo>
                    <a:lnTo>
                      <a:pt x="560" y="312"/>
                    </a:lnTo>
                    <a:lnTo>
                      <a:pt x="565" y="317"/>
                    </a:lnTo>
                    <a:lnTo>
                      <a:pt x="575" y="327"/>
                    </a:lnTo>
                    <a:lnTo>
                      <a:pt x="560" y="332"/>
                    </a:lnTo>
                    <a:lnTo>
                      <a:pt x="555" y="337"/>
                    </a:lnTo>
                    <a:lnTo>
                      <a:pt x="555" y="332"/>
                    </a:lnTo>
                    <a:lnTo>
                      <a:pt x="550" y="332"/>
                    </a:lnTo>
                    <a:lnTo>
                      <a:pt x="535" y="337"/>
                    </a:lnTo>
                    <a:lnTo>
                      <a:pt x="540" y="348"/>
                    </a:lnTo>
                    <a:lnTo>
                      <a:pt x="550" y="343"/>
                    </a:lnTo>
                    <a:lnTo>
                      <a:pt x="550" y="348"/>
                    </a:lnTo>
                    <a:lnTo>
                      <a:pt x="545" y="353"/>
                    </a:lnTo>
                    <a:lnTo>
                      <a:pt x="540" y="353"/>
                    </a:lnTo>
                    <a:lnTo>
                      <a:pt x="535" y="358"/>
                    </a:lnTo>
                    <a:lnTo>
                      <a:pt x="540" y="358"/>
                    </a:lnTo>
                    <a:lnTo>
                      <a:pt x="545" y="368"/>
                    </a:lnTo>
                    <a:lnTo>
                      <a:pt x="540" y="368"/>
                    </a:lnTo>
                    <a:lnTo>
                      <a:pt x="545" y="373"/>
                    </a:lnTo>
                    <a:lnTo>
                      <a:pt x="540" y="383"/>
                    </a:lnTo>
                    <a:lnTo>
                      <a:pt x="540" y="388"/>
                    </a:lnTo>
                    <a:lnTo>
                      <a:pt x="520" y="398"/>
                    </a:lnTo>
                    <a:lnTo>
                      <a:pt x="504" y="403"/>
                    </a:lnTo>
                    <a:lnTo>
                      <a:pt x="499" y="408"/>
                    </a:lnTo>
                    <a:lnTo>
                      <a:pt x="494" y="408"/>
                    </a:lnTo>
                    <a:lnTo>
                      <a:pt x="489" y="408"/>
                    </a:lnTo>
                    <a:lnTo>
                      <a:pt x="484" y="403"/>
                    </a:lnTo>
                    <a:lnTo>
                      <a:pt x="479" y="403"/>
                    </a:lnTo>
                    <a:lnTo>
                      <a:pt x="469" y="408"/>
                    </a:lnTo>
                    <a:lnTo>
                      <a:pt x="469" y="413"/>
                    </a:lnTo>
                    <a:lnTo>
                      <a:pt x="474" y="423"/>
                    </a:lnTo>
                    <a:lnTo>
                      <a:pt x="469" y="423"/>
                    </a:lnTo>
                    <a:lnTo>
                      <a:pt x="464" y="428"/>
                    </a:lnTo>
                    <a:lnTo>
                      <a:pt x="464" y="423"/>
                    </a:lnTo>
                    <a:lnTo>
                      <a:pt x="454" y="433"/>
                    </a:lnTo>
                    <a:lnTo>
                      <a:pt x="449" y="423"/>
                    </a:lnTo>
                    <a:lnTo>
                      <a:pt x="444" y="423"/>
                    </a:lnTo>
                    <a:lnTo>
                      <a:pt x="439" y="418"/>
                    </a:lnTo>
                    <a:lnTo>
                      <a:pt x="434" y="418"/>
                    </a:lnTo>
                    <a:lnTo>
                      <a:pt x="424" y="423"/>
                    </a:lnTo>
                    <a:lnTo>
                      <a:pt x="424" y="428"/>
                    </a:lnTo>
                    <a:lnTo>
                      <a:pt x="414" y="433"/>
                    </a:lnTo>
                    <a:lnTo>
                      <a:pt x="414" y="438"/>
                    </a:lnTo>
                    <a:lnTo>
                      <a:pt x="404" y="443"/>
                    </a:lnTo>
                    <a:lnTo>
                      <a:pt x="404" y="438"/>
                    </a:lnTo>
                    <a:lnTo>
                      <a:pt x="399" y="433"/>
                    </a:lnTo>
                    <a:lnTo>
                      <a:pt x="409" y="428"/>
                    </a:lnTo>
                    <a:lnTo>
                      <a:pt x="409" y="423"/>
                    </a:lnTo>
                    <a:lnTo>
                      <a:pt x="404" y="423"/>
                    </a:lnTo>
                    <a:lnTo>
                      <a:pt x="404" y="418"/>
                    </a:lnTo>
                    <a:lnTo>
                      <a:pt x="404" y="413"/>
                    </a:lnTo>
                    <a:lnTo>
                      <a:pt x="404" y="408"/>
                    </a:lnTo>
                    <a:lnTo>
                      <a:pt x="399" y="398"/>
                    </a:lnTo>
                    <a:lnTo>
                      <a:pt x="394" y="403"/>
                    </a:lnTo>
                    <a:lnTo>
                      <a:pt x="394" y="393"/>
                    </a:lnTo>
                    <a:lnTo>
                      <a:pt x="373" y="398"/>
                    </a:lnTo>
                    <a:lnTo>
                      <a:pt x="368" y="378"/>
                    </a:lnTo>
                    <a:lnTo>
                      <a:pt x="373" y="373"/>
                    </a:lnTo>
                    <a:lnTo>
                      <a:pt x="368" y="358"/>
                    </a:lnTo>
                    <a:lnTo>
                      <a:pt x="353" y="363"/>
                    </a:lnTo>
                    <a:lnTo>
                      <a:pt x="353" y="358"/>
                    </a:lnTo>
                    <a:lnTo>
                      <a:pt x="343" y="363"/>
                    </a:lnTo>
                    <a:lnTo>
                      <a:pt x="343" y="358"/>
                    </a:lnTo>
                    <a:lnTo>
                      <a:pt x="333" y="363"/>
                    </a:lnTo>
                    <a:lnTo>
                      <a:pt x="333" y="368"/>
                    </a:lnTo>
                    <a:lnTo>
                      <a:pt x="328" y="368"/>
                    </a:lnTo>
                    <a:lnTo>
                      <a:pt x="333" y="378"/>
                    </a:lnTo>
                    <a:lnTo>
                      <a:pt x="323" y="378"/>
                    </a:lnTo>
                    <a:lnTo>
                      <a:pt x="323" y="383"/>
                    </a:lnTo>
                    <a:lnTo>
                      <a:pt x="318" y="383"/>
                    </a:lnTo>
                    <a:lnTo>
                      <a:pt x="318" y="378"/>
                    </a:lnTo>
                    <a:lnTo>
                      <a:pt x="323" y="378"/>
                    </a:lnTo>
                    <a:lnTo>
                      <a:pt x="318" y="363"/>
                    </a:lnTo>
                    <a:lnTo>
                      <a:pt x="313" y="368"/>
                    </a:lnTo>
                    <a:lnTo>
                      <a:pt x="308" y="368"/>
                    </a:lnTo>
                    <a:lnTo>
                      <a:pt x="308" y="373"/>
                    </a:lnTo>
                    <a:lnTo>
                      <a:pt x="303" y="373"/>
                    </a:lnTo>
                    <a:lnTo>
                      <a:pt x="298" y="368"/>
                    </a:lnTo>
                    <a:lnTo>
                      <a:pt x="298" y="373"/>
                    </a:lnTo>
                    <a:lnTo>
                      <a:pt x="293" y="378"/>
                    </a:lnTo>
                    <a:lnTo>
                      <a:pt x="288" y="378"/>
                    </a:lnTo>
                    <a:lnTo>
                      <a:pt x="288" y="368"/>
                    </a:lnTo>
                    <a:lnTo>
                      <a:pt x="283" y="373"/>
                    </a:lnTo>
                    <a:lnTo>
                      <a:pt x="278" y="378"/>
                    </a:lnTo>
                    <a:lnTo>
                      <a:pt x="273" y="378"/>
                    </a:lnTo>
                    <a:lnTo>
                      <a:pt x="268" y="368"/>
                    </a:lnTo>
                    <a:lnTo>
                      <a:pt x="262" y="368"/>
                    </a:lnTo>
                    <a:lnTo>
                      <a:pt x="252" y="363"/>
                    </a:lnTo>
                    <a:lnTo>
                      <a:pt x="242" y="363"/>
                    </a:lnTo>
                    <a:lnTo>
                      <a:pt x="232" y="368"/>
                    </a:lnTo>
                    <a:lnTo>
                      <a:pt x="232" y="358"/>
                    </a:lnTo>
                    <a:lnTo>
                      <a:pt x="222" y="363"/>
                    </a:lnTo>
                    <a:lnTo>
                      <a:pt x="222" y="368"/>
                    </a:lnTo>
                    <a:lnTo>
                      <a:pt x="227" y="378"/>
                    </a:lnTo>
                    <a:lnTo>
                      <a:pt x="222" y="378"/>
                    </a:lnTo>
                    <a:lnTo>
                      <a:pt x="217" y="383"/>
                    </a:lnTo>
                    <a:lnTo>
                      <a:pt x="212" y="388"/>
                    </a:lnTo>
                    <a:lnTo>
                      <a:pt x="207" y="388"/>
                    </a:lnTo>
                    <a:lnTo>
                      <a:pt x="202" y="393"/>
                    </a:lnTo>
                    <a:lnTo>
                      <a:pt x="202" y="388"/>
                    </a:lnTo>
                    <a:lnTo>
                      <a:pt x="197" y="388"/>
                    </a:lnTo>
                    <a:lnTo>
                      <a:pt x="197" y="393"/>
                    </a:lnTo>
                    <a:lnTo>
                      <a:pt x="192" y="393"/>
                    </a:lnTo>
                    <a:lnTo>
                      <a:pt x="187" y="383"/>
                    </a:lnTo>
                    <a:lnTo>
                      <a:pt x="177" y="388"/>
                    </a:lnTo>
                    <a:lnTo>
                      <a:pt x="172" y="393"/>
                    </a:lnTo>
                    <a:lnTo>
                      <a:pt x="167" y="393"/>
                    </a:lnTo>
                    <a:lnTo>
                      <a:pt x="167" y="398"/>
                    </a:lnTo>
                    <a:lnTo>
                      <a:pt x="162" y="403"/>
                    </a:lnTo>
                    <a:lnTo>
                      <a:pt x="157" y="403"/>
                    </a:lnTo>
                    <a:lnTo>
                      <a:pt x="152" y="403"/>
                    </a:lnTo>
                    <a:lnTo>
                      <a:pt x="142" y="403"/>
                    </a:lnTo>
                    <a:lnTo>
                      <a:pt x="142" y="408"/>
                    </a:lnTo>
                    <a:lnTo>
                      <a:pt x="136" y="408"/>
                    </a:lnTo>
                    <a:lnTo>
                      <a:pt x="131" y="408"/>
                    </a:lnTo>
                    <a:lnTo>
                      <a:pt x="131" y="413"/>
                    </a:lnTo>
                    <a:lnTo>
                      <a:pt x="126" y="413"/>
                    </a:lnTo>
                    <a:lnTo>
                      <a:pt x="121" y="413"/>
                    </a:lnTo>
                    <a:lnTo>
                      <a:pt x="116" y="413"/>
                    </a:lnTo>
                    <a:lnTo>
                      <a:pt x="111" y="418"/>
                    </a:lnTo>
                    <a:lnTo>
                      <a:pt x="111" y="423"/>
                    </a:lnTo>
                    <a:lnTo>
                      <a:pt x="106" y="428"/>
                    </a:lnTo>
                    <a:lnTo>
                      <a:pt x="101" y="423"/>
                    </a:lnTo>
                    <a:lnTo>
                      <a:pt x="96" y="428"/>
                    </a:lnTo>
                    <a:lnTo>
                      <a:pt x="91" y="428"/>
                    </a:lnTo>
                    <a:lnTo>
                      <a:pt x="86" y="428"/>
                    </a:lnTo>
                    <a:lnTo>
                      <a:pt x="81" y="428"/>
                    </a:lnTo>
                    <a:lnTo>
                      <a:pt x="76" y="433"/>
                    </a:lnTo>
                    <a:lnTo>
                      <a:pt x="71" y="433"/>
                    </a:lnTo>
                    <a:lnTo>
                      <a:pt x="66" y="433"/>
                    </a:lnTo>
                    <a:lnTo>
                      <a:pt x="61" y="433"/>
                    </a:lnTo>
                    <a:lnTo>
                      <a:pt x="61" y="428"/>
                    </a:lnTo>
                    <a:lnTo>
                      <a:pt x="56" y="428"/>
                    </a:lnTo>
                    <a:lnTo>
                      <a:pt x="51" y="428"/>
                    </a:lnTo>
                    <a:lnTo>
                      <a:pt x="51" y="418"/>
                    </a:lnTo>
                    <a:lnTo>
                      <a:pt x="46" y="418"/>
                    </a:lnTo>
                    <a:lnTo>
                      <a:pt x="36" y="418"/>
                    </a:lnTo>
                    <a:lnTo>
                      <a:pt x="36" y="428"/>
                    </a:lnTo>
                    <a:lnTo>
                      <a:pt x="36" y="433"/>
                    </a:lnTo>
                    <a:lnTo>
                      <a:pt x="31" y="428"/>
                    </a:lnTo>
                    <a:lnTo>
                      <a:pt x="26" y="428"/>
                    </a:lnTo>
                    <a:lnTo>
                      <a:pt x="16" y="433"/>
                    </a:lnTo>
                    <a:lnTo>
                      <a:pt x="10" y="433"/>
                    </a:lnTo>
                    <a:lnTo>
                      <a:pt x="10" y="428"/>
                    </a:lnTo>
                    <a:lnTo>
                      <a:pt x="10" y="423"/>
                    </a:lnTo>
                    <a:lnTo>
                      <a:pt x="5" y="423"/>
                    </a:lnTo>
                    <a:lnTo>
                      <a:pt x="5" y="418"/>
                    </a:lnTo>
                    <a:lnTo>
                      <a:pt x="5" y="413"/>
                    </a:lnTo>
                    <a:lnTo>
                      <a:pt x="0" y="413"/>
                    </a:lnTo>
                    <a:lnTo>
                      <a:pt x="0" y="408"/>
                    </a:lnTo>
                    <a:lnTo>
                      <a:pt x="5" y="408"/>
                    </a:lnTo>
                    <a:lnTo>
                      <a:pt x="0" y="403"/>
                    </a:lnTo>
                    <a:lnTo>
                      <a:pt x="5" y="403"/>
                    </a:lnTo>
                    <a:lnTo>
                      <a:pt x="5" y="398"/>
                    </a:lnTo>
                    <a:lnTo>
                      <a:pt x="5" y="393"/>
                    </a:lnTo>
                    <a:lnTo>
                      <a:pt x="0" y="393"/>
                    </a:lnTo>
                    <a:lnTo>
                      <a:pt x="10" y="373"/>
                    </a:lnTo>
                    <a:lnTo>
                      <a:pt x="16" y="368"/>
                    </a:lnTo>
                    <a:lnTo>
                      <a:pt x="16" y="363"/>
                    </a:lnTo>
                    <a:lnTo>
                      <a:pt x="21" y="363"/>
                    </a:lnTo>
                    <a:lnTo>
                      <a:pt x="26" y="363"/>
                    </a:lnTo>
                    <a:lnTo>
                      <a:pt x="26" y="358"/>
                    </a:lnTo>
                    <a:lnTo>
                      <a:pt x="26" y="353"/>
                    </a:lnTo>
                    <a:lnTo>
                      <a:pt x="31" y="353"/>
                    </a:lnTo>
                    <a:lnTo>
                      <a:pt x="31" y="348"/>
                    </a:lnTo>
                    <a:lnTo>
                      <a:pt x="41" y="348"/>
                    </a:lnTo>
                    <a:lnTo>
                      <a:pt x="46" y="348"/>
                    </a:lnTo>
                    <a:lnTo>
                      <a:pt x="51" y="353"/>
                    </a:lnTo>
                    <a:lnTo>
                      <a:pt x="51" y="348"/>
                    </a:lnTo>
                    <a:lnTo>
                      <a:pt x="56" y="343"/>
                    </a:lnTo>
                    <a:lnTo>
                      <a:pt x="56" y="337"/>
                    </a:lnTo>
                    <a:lnTo>
                      <a:pt x="71" y="343"/>
                    </a:lnTo>
                    <a:lnTo>
                      <a:pt x="71" y="337"/>
                    </a:lnTo>
                    <a:lnTo>
                      <a:pt x="71" y="327"/>
                    </a:lnTo>
                    <a:lnTo>
                      <a:pt x="81" y="327"/>
                    </a:lnTo>
                    <a:lnTo>
                      <a:pt x="81" y="322"/>
                    </a:lnTo>
                    <a:lnTo>
                      <a:pt x="91" y="322"/>
                    </a:lnTo>
                    <a:lnTo>
                      <a:pt x="91" y="317"/>
                    </a:lnTo>
                    <a:lnTo>
                      <a:pt x="91" y="302"/>
                    </a:lnTo>
                    <a:lnTo>
                      <a:pt x="101" y="302"/>
                    </a:lnTo>
                    <a:lnTo>
                      <a:pt x="106" y="307"/>
                    </a:lnTo>
                    <a:lnTo>
                      <a:pt x="106" y="302"/>
                    </a:lnTo>
                    <a:lnTo>
                      <a:pt x="121" y="297"/>
                    </a:lnTo>
                    <a:lnTo>
                      <a:pt x="116" y="287"/>
                    </a:lnTo>
                    <a:lnTo>
                      <a:pt x="111" y="287"/>
                    </a:lnTo>
                    <a:lnTo>
                      <a:pt x="111" y="277"/>
                    </a:lnTo>
                    <a:lnTo>
                      <a:pt x="116" y="277"/>
                    </a:lnTo>
                    <a:lnTo>
                      <a:pt x="116" y="272"/>
                    </a:lnTo>
                    <a:lnTo>
                      <a:pt x="116" y="267"/>
                    </a:lnTo>
                    <a:lnTo>
                      <a:pt x="106" y="262"/>
                    </a:lnTo>
                    <a:lnTo>
                      <a:pt x="111" y="257"/>
                    </a:lnTo>
                    <a:lnTo>
                      <a:pt x="116" y="262"/>
                    </a:lnTo>
                    <a:lnTo>
                      <a:pt x="116" y="257"/>
                    </a:lnTo>
                    <a:lnTo>
                      <a:pt x="116" y="252"/>
                    </a:lnTo>
                    <a:lnTo>
                      <a:pt x="121" y="252"/>
                    </a:lnTo>
                    <a:lnTo>
                      <a:pt x="116" y="247"/>
                    </a:lnTo>
                    <a:lnTo>
                      <a:pt x="131" y="237"/>
                    </a:lnTo>
                    <a:lnTo>
                      <a:pt x="131" y="242"/>
                    </a:lnTo>
                    <a:lnTo>
                      <a:pt x="136" y="242"/>
                    </a:lnTo>
                    <a:lnTo>
                      <a:pt x="136" y="237"/>
                    </a:lnTo>
                    <a:lnTo>
                      <a:pt x="147" y="237"/>
                    </a:lnTo>
                    <a:lnTo>
                      <a:pt x="152" y="237"/>
                    </a:lnTo>
                    <a:lnTo>
                      <a:pt x="157" y="242"/>
                    </a:lnTo>
                    <a:lnTo>
                      <a:pt x="162" y="237"/>
                    </a:lnTo>
                    <a:lnTo>
                      <a:pt x="167" y="237"/>
                    </a:lnTo>
                    <a:lnTo>
                      <a:pt x="167" y="232"/>
                    </a:lnTo>
                    <a:lnTo>
                      <a:pt x="172" y="232"/>
                    </a:lnTo>
                    <a:lnTo>
                      <a:pt x="177" y="232"/>
                    </a:lnTo>
                    <a:lnTo>
                      <a:pt x="182" y="227"/>
                    </a:lnTo>
                    <a:lnTo>
                      <a:pt x="182" y="232"/>
                    </a:lnTo>
                    <a:lnTo>
                      <a:pt x="187" y="227"/>
                    </a:lnTo>
                    <a:lnTo>
                      <a:pt x="192" y="227"/>
                    </a:lnTo>
                    <a:lnTo>
                      <a:pt x="197" y="232"/>
                    </a:lnTo>
                    <a:lnTo>
                      <a:pt x="202" y="232"/>
                    </a:lnTo>
                    <a:lnTo>
                      <a:pt x="207" y="232"/>
                    </a:lnTo>
                    <a:lnTo>
                      <a:pt x="207" y="227"/>
                    </a:lnTo>
                    <a:lnTo>
                      <a:pt x="212" y="227"/>
                    </a:lnTo>
                    <a:lnTo>
                      <a:pt x="212" y="222"/>
                    </a:lnTo>
                    <a:lnTo>
                      <a:pt x="217" y="217"/>
                    </a:lnTo>
                    <a:lnTo>
                      <a:pt x="217" y="222"/>
                    </a:lnTo>
                    <a:lnTo>
                      <a:pt x="217" y="217"/>
                    </a:lnTo>
                    <a:lnTo>
                      <a:pt x="222" y="217"/>
                    </a:lnTo>
                    <a:lnTo>
                      <a:pt x="227" y="217"/>
                    </a:lnTo>
                    <a:lnTo>
                      <a:pt x="232" y="217"/>
                    </a:lnTo>
                    <a:lnTo>
                      <a:pt x="237" y="212"/>
                    </a:lnTo>
                    <a:lnTo>
                      <a:pt x="237" y="217"/>
                    </a:lnTo>
                    <a:lnTo>
                      <a:pt x="237" y="222"/>
                    </a:lnTo>
                    <a:lnTo>
                      <a:pt x="242" y="222"/>
                    </a:lnTo>
                    <a:lnTo>
                      <a:pt x="242" y="217"/>
                    </a:lnTo>
                    <a:lnTo>
                      <a:pt x="247" y="217"/>
                    </a:lnTo>
                    <a:lnTo>
                      <a:pt x="252" y="217"/>
                    </a:lnTo>
                    <a:lnTo>
                      <a:pt x="252" y="212"/>
                    </a:lnTo>
                    <a:lnTo>
                      <a:pt x="252" y="217"/>
                    </a:lnTo>
                    <a:lnTo>
                      <a:pt x="252" y="212"/>
                    </a:lnTo>
                    <a:lnTo>
                      <a:pt x="252" y="206"/>
                    </a:lnTo>
                    <a:lnTo>
                      <a:pt x="257" y="212"/>
                    </a:lnTo>
                    <a:lnTo>
                      <a:pt x="252" y="206"/>
                    </a:lnTo>
                    <a:lnTo>
                      <a:pt x="262" y="196"/>
                    </a:lnTo>
                    <a:lnTo>
                      <a:pt x="268" y="191"/>
                    </a:lnTo>
                    <a:lnTo>
                      <a:pt x="268" y="186"/>
                    </a:lnTo>
                    <a:lnTo>
                      <a:pt x="273" y="181"/>
                    </a:lnTo>
                    <a:lnTo>
                      <a:pt x="273" y="176"/>
                    </a:lnTo>
                    <a:lnTo>
                      <a:pt x="268" y="176"/>
                    </a:lnTo>
                    <a:lnTo>
                      <a:pt x="273" y="166"/>
                    </a:lnTo>
                    <a:lnTo>
                      <a:pt x="268" y="166"/>
                    </a:lnTo>
                    <a:lnTo>
                      <a:pt x="268" y="161"/>
                    </a:lnTo>
                    <a:lnTo>
                      <a:pt x="273" y="161"/>
                    </a:lnTo>
                    <a:lnTo>
                      <a:pt x="273" y="156"/>
                    </a:lnTo>
                    <a:lnTo>
                      <a:pt x="278" y="156"/>
                    </a:lnTo>
                    <a:lnTo>
                      <a:pt x="283" y="161"/>
                    </a:lnTo>
                    <a:lnTo>
                      <a:pt x="288" y="156"/>
                    </a:lnTo>
                    <a:lnTo>
                      <a:pt x="293" y="156"/>
                    </a:lnTo>
                    <a:lnTo>
                      <a:pt x="288" y="156"/>
                    </a:lnTo>
                    <a:lnTo>
                      <a:pt x="288" y="151"/>
                    </a:lnTo>
                    <a:lnTo>
                      <a:pt x="293" y="146"/>
                    </a:lnTo>
                    <a:lnTo>
                      <a:pt x="298" y="151"/>
                    </a:lnTo>
                    <a:lnTo>
                      <a:pt x="298" y="146"/>
                    </a:lnTo>
                    <a:lnTo>
                      <a:pt x="303" y="141"/>
                    </a:lnTo>
                    <a:lnTo>
                      <a:pt x="303" y="136"/>
                    </a:lnTo>
                    <a:lnTo>
                      <a:pt x="308" y="141"/>
                    </a:lnTo>
                    <a:lnTo>
                      <a:pt x="328" y="141"/>
                    </a:lnTo>
                    <a:lnTo>
                      <a:pt x="328" y="146"/>
                    </a:lnTo>
                    <a:lnTo>
                      <a:pt x="328" y="151"/>
                    </a:lnTo>
                    <a:lnTo>
                      <a:pt x="333" y="151"/>
                    </a:lnTo>
                    <a:lnTo>
                      <a:pt x="333" y="141"/>
                    </a:lnTo>
                    <a:lnTo>
                      <a:pt x="338" y="141"/>
                    </a:lnTo>
                    <a:lnTo>
                      <a:pt x="343" y="131"/>
                    </a:lnTo>
                    <a:lnTo>
                      <a:pt x="348" y="136"/>
                    </a:lnTo>
                    <a:lnTo>
                      <a:pt x="353" y="131"/>
                    </a:lnTo>
                    <a:lnTo>
                      <a:pt x="353" y="136"/>
                    </a:lnTo>
                    <a:lnTo>
                      <a:pt x="363" y="136"/>
                    </a:lnTo>
                    <a:lnTo>
                      <a:pt x="358" y="131"/>
                    </a:lnTo>
                    <a:lnTo>
                      <a:pt x="363" y="131"/>
                    </a:lnTo>
                    <a:lnTo>
                      <a:pt x="363" y="126"/>
                    </a:lnTo>
                    <a:lnTo>
                      <a:pt x="363" y="121"/>
                    </a:lnTo>
                    <a:lnTo>
                      <a:pt x="358" y="121"/>
                    </a:lnTo>
                    <a:lnTo>
                      <a:pt x="358" y="116"/>
                    </a:lnTo>
                    <a:lnTo>
                      <a:pt x="363" y="111"/>
                    </a:lnTo>
                    <a:lnTo>
                      <a:pt x="363" y="106"/>
                    </a:lnTo>
                    <a:lnTo>
                      <a:pt x="368" y="106"/>
                    </a:lnTo>
                    <a:lnTo>
                      <a:pt x="368" y="86"/>
                    </a:lnTo>
                    <a:lnTo>
                      <a:pt x="373" y="86"/>
                    </a:lnTo>
                    <a:lnTo>
                      <a:pt x="373" y="80"/>
                    </a:lnTo>
                    <a:lnTo>
                      <a:pt x="373" y="75"/>
                    </a:lnTo>
                    <a:lnTo>
                      <a:pt x="378" y="80"/>
                    </a:lnTo>
                    <a:lnTo>
                      <a:pt x="378" y="75"/>
                    </a:lnTo>
                    <a:lnTo>
                      <a:pt x="388" y="75"/>
                    </a:lnTo>
                    <a:lnTo>
                      <a:pt x="394" y="80"/>
                    </a:lnTo>
                    <a:lnTo>
                      <a:pt x="394" y="86"/>
                    </a:lnTo>
                    <a:lnTo>
                      <a:pt x="399" y="86"/>
                    </a:lnTo>
                    <a:lnTo>
                      <a:pt x="399" y="91"/>
                    </a:lnTo>
                    <a:lnTo>
                      <a:pt x="404" y="86"/>
                    </a:lnTo>
                    <a:lnTo>
                      <a:pt x="404" y="80"/>
                    </a:lnTo>
                    <a:lnTo>
                      <a:pt x="409" y="80"/>
                    </a:lnTo>
                    <a:lnTo>
                      <a:pt x="414" y="80"/>
                    </a:lnTo>
                    <a:lnTo>
                      <a:pt x="409" y="86"/>
                    </a:lnTo>
                    <a:lnTo>
                      <a:pt x="414" y="86"/>
                    </a:lnTo>
                    <a:lnTo>
                      <a:pt x="414" y="91"/>
                    </a:lnTo>
                    <a:lnTo>
                      <a:pt x="419" y="86"/>
                    </a:lnTo>
                    <a:lnTo>
                      <a:pt x="419" y="91"/>
                    </a:lnTo>
                    <a:lnTo>
                      <a:pt x="424" y="96"/>
                    </a:lnTo>
                    <a:lnTo>
                      <a:pt x="429" y="106"/>
                    </a:lnTo>
                    <a:lnTo>
                      <a:pt x="429" y="101"/>
                    </a:lnTo>
                    <a:lnTo>
                      <a:pt x="429" y="96"/>
                    </a:lnTo>
                    <a:lnTo>
                      <a:pt x="434" y="96"/>
                    </a:lnTo>
                    <a:lnTo>
                      <a:pt x="439" y="96"/>
                    </a:lnTo>
                    <a:lnTo>
                      <a:pt x="439" y="91"/>
                    </a:lnTo>
                    <a:lnTo>
                      <a:pt x="444" y="96"/>
                    </a:lnTo>
                    <a:lnTo>
                      <a:pt x="449" y="91"/>
                    </a:lnTo>
                    <a:lnTo>
                      <a:pt x="454" y="91"/>
                    </a:lnTo>
                    <a:lnTo>
                      <a:pt x="449" y="86"/>
                    </a:lnTo>
                    <a:lnTo>
                      <a:pt x="449" y="80"/>
                    </a:lnTo>
                    <a:lnTo>
                      <a:pt x="454" y="86"/>
                    </a:lnTo>
                    <a:lnTo>
                      <a:pt x="459" y="80"/>
                    </a:lnTo>
                    <a:lnTo>
                      <a:pt x="459" y="86"/>
                    </a:lnTo>
                    <a:lnTo>
                      <a:pt x="469" y="80"/>
                    </a:lnTo>
                    <a:lnTo>
                      <a:pt x="479" y="75"/>
                    </a:lnTo>
                    <a:lnTo>
                      <a:pt x="479" y="70"/>
                    </a:lnTo>
                    <a:lnTo>
                      <a:pt x="484" y="70"/>
                    </a:lnTo>
                    <a:lnTo>
                      <a:pt x="479" y="65"/>
                    </a:lnTo>
                    <a:lnTo>
                      <a:pt x="479" y="70"/>
                    </a:lnTo>
                    <a:lnTo>
                      <a:pt x="474" y="65"/>
                    </a:lnTo>
                    <a:lnTo>
                      <a:pt x="474" y="70"/>
                    </a:lnTo>
                    <a:lnTo>
                      <a:pt x="474" y="65"/>
                    </a:lnTo>
                    <a:lnTo>
                      <a:pt x="469" y="65"/>
                    </a:lnTo>
                    <a:lnTo>
                      <a:pt x="469" y="50"/>
                    </a:lnTo>
                    <a:lnTo>
                      <a:pt x="469" y="45"/>
                    </a:lnTo>
                    <a:lnTo>
                      <a:pt x="474" y="45"/>
                    </a:lnTo>
                    <a:lnTo>
                      <a:pt x="474" y="35"/>
                    </a:lnTo>
                    <a:lnTo>
                      <a:pt x="464" y="40"/>
                    </a:lnTo>
                    <a:lnTo>
                      <a:pt x="454" y="40"/>
                    </a:lnTo>
                    <a:lnTo>
                      <a:pt x="449" y="35"/>
                    </a:lnTo>
                    <a:lnTo>
                      <a:pt x="449" y="20"/>
                    </a:lnTo>
                    <a:lnTo>
                      <a:pt x="459" y="5"/>
                    </a:lnTo>
                    <a:lnTo>
                      <a:pt x="464" y="5"/>
                    </a:lnTo>
                    <a:lnTo>
                      <a:pt x="469" y="5"/>
                    </a:lnTo>
                    <a:lnTo>
                      <a:pt x="474" y="5"/>
                    </a:lnTo>
                    <a:lnTo>
                      <a:pt x="474" y="0"/>
                    </a:lnTo>
                    <a:lnTo>
                      <a:pt x="479" y="0"/>
                    </a:lnTo>
                    <a:lnTo>
                      <a:pt x="479" y="5"/>
                    </a:lnTo>
                    <a:lnTo>
                      <a:pt x="484" y="10"/>
                    </a:lnTo>
                    <a:lnTo>
                      <a:pt x="494" y="10"/>
                    </a:lnTo>
                    <a:lnTo>
                      <a:pt x="499" y="10"/>
                    </a:lnTo>
                    <a:lnTo>
                      <a:pt x="504" y="10"/>
                    </a:lnTo>
                    <a:lnTo>
                      <a:pt x="514" y="10"/>
                    </a:lnTo>
                    <a:lnTo>
                      <a:pt x="514" y="15"/>
                    </a:lnTo>
                    <a:lnTo>
                      <a:pt x="520" y="20"/>
                    </a:lnTo>
                    <a:lnTo>
                      <a:pt x="520" y="25"/>
                    </a:lnTo>
                    <a:lnTo>
                      <a:pt x="525" y="25"/>
                    </a:lnTo>
                    <a:lnTo>
                      <a:pt x="530" y="25"/>
                    </a:lnTo>
                    <a:lnTo>
                      <a:pt x="530" y="30"/>
                    </a:lnTo>
                    <a:lnTo>
                      <a:pt x="535" y="30"/>
                    </a:lnTo>
                    <a:lnTo>
                      <a:pt x="525" y="10"/>
                    </a:lnTo>
                    <a:lnTo>
                      <a:pt x="535" y="10"/>
                    </a:lnTo>
                    <a:lnTo>
                      <a:pt x="540" y="15"/>
                    </a:lnTo>
                    <a:lnTo>
                      <a:pt x="540" y="20"/>
                    </a:lnTo>
                    <a:lnTo>
                      <a:pt x="540" y="25"/>
                    </a:lnTo>
                    <a:lnTo>
                      <a:pt x="545" y="25"/>
                    </a:lnTo>
                    <a:lnTo>
                      <a:pt x="550" y="20"/>
                    </a:lnTo>
                    <a:lnTo>
                      <a:pt x="550" y="25"/>
                    </a:lnTo>
                    <a:lnTo>
                      <a:pt x="550" y="30"/>
                    </a:lnTo>
                    <a:lnTo>
                      <a:pt x="555" y="35"/>
                    </a:lnTo>
                    <a:lnTo>
                      <a:pt x="555" y="40"/>
                    </a:lnTo>
                    <a:lnTo>
                      <a:pt x="550" y="40"/>
                    </a:lnTo>
                    <a:lnTo>
                      <a:pt x="560" y="50"/>
                    </a:lnTo>
                    <a:lnTo>
                      <a:pt x="560" y="55"/>
                    </a:lnTo>
                    <a:lnTo>
                      <a:pt x="565" y="55"/>
                    </a:lnTo>
                    <a:lnTo>
                      <a:pt x="575" y="55"/>
                    </a:lnTo>
                    <a:lnTo>
                      <a:pt x="575" y="50"/>
                    </a:lnTo>
                    <a:lnTo>
                      <a:pt x="580" y="45"/>
                    </a:lnTo>
                    <a:lnTo>
                      <a:pt x="585" y="45"/>
                    </a:lnTo>
                    <a:lnTo>
                      <a:pt x="590" y="50"/>
                    </a:lnTo>
                    <a:lnTo>
                      <a:pt x="590" y="55"/>
                    </a:lnTo>
                    <a:lnTo>
                      <a:pt x="595" y="50"/>
                    </a:lnTo>
                    <a:lnTo>
                      <a:pt x="600" y="50"/>
                    </a:lnTo>
                    <a:lnTo>
                      <a:pt x="605" y="50"/>
                    </a:lnTo>
                    <a:lnTo>
                      <a:pt x="605" y="45"/>
                    </a:lnTo>
                    <a:lnTo>
                      <a:pt x="610" y="50"/>
                    </a:lnTo>
                    <a:lnTo>
                      <a:pt x="615" y="40"/>
                    </a:lnTo>
                    <a:lnTo>
                      <a:pt x="610" y="40"/>
                    </a:lnTo>
                    <a:lnTo>
                      <a:pt x="615" y="35"/>
                    </a:lnTo>
                    <a:lnTo>
                      <a:pt x="615" y="30"/>
                    </a:lnTo>
                    <a:lnTo>
                      <a:pt x="620" y="30"/>
                    </a:lnTo>
                    <a:lnTo>
                      <a:pt x="625" y="30"/>
                    </a:lnTo>
                    <a:lnTo>
                      <a:pt x="625" y="35"/>
                    </a:lnTo>
                    <a:lnTo>
                      <a:pt x="630" y="35"/>
                    </a:lnTo>
                    <a:lnTo>
                      <a:pt x="640" y="30"/>
                    </a:lnTo>
                    <a:lnTo>
                      <a:pt x="646" y="30"/>
                    </a:lnTo>
                    <a:lnTo>
                      <a:pt x="651" y="30"/>
                    </a:lnTo>
                    <a:lnTo>
                      <a:pt x="656" y="35"/>
                    </a:lnTo>
                    <a:lnTo>
                      <a:pt x="661" y="35"/>
                    </a:lnTo>
                    <a:lnTo>
                      <a:pt x="661" y="45"/>
                    </a:lnTo>
                    <a:lnTo>
                      <a:pt x="661" y="55"/>
                    </a:lnTo>
                    <a:lnTo>
                      <a:pt x="666" y="65"/>
                    </a:lnTo>
                    <a:lnTo>
                      <a:pt x="661" y="65"/>
                    </a:lnTo>
                    <a:lnTo>
                      <a:pt x="666" y="70"/>
                    </a:lnTo>
                    <a:lnTo>
                      <a:pt x="666" y="75"/>
                    </a:lnTo>
                    <a:lnTo>
                      <a:pt x="661" y="70"/>
                    </a:lnTo>
                    <a:lnTo>
                      <a:pt x="656" y="65"/>
                    </a:lnTo>
                    <a:lnTo>
                      <a:pt x="656" y="70"/>
                    </a:lnTo>
                    <a:lnTo>
                      <a:pt x="651" y="75"/>
                    </a:lnTo>
                    <a:lnTo>
                      <a:pt x="651" y="70"/>
                    </a:lnTo>
                    <a:lnTo>
                      <a:pt x="646" y="70"/>
                    </a:lnTo>
                    <a:lnTo>
                      <a:pt x="646" y="75"/>
                    </a:lnTo>
                    <a:lnTo>
                      <a:pt x="646" y="70"/>
                    </a:lnTo>
                    <a:lnTo>
                      <a:pt x="640" y="70"/>
                    </a:lnTo>
                    <a:lnTo>
                      <a:pt x="635" y="75"/>
                    </a:lnTo>
                    <a:lnTo>
                      <a:pt x="635" y="70"/>
                    </a:lnTo>
                    <a:lnTo>
                      <a:pt x="630" y="75"/>
                    </a:lnTo>
                    <a:lnTo>
                      <a:pt x="630" y="80"/>
                    </a:lnTo>
                    <a:lnTo>
                      <a:pt x="625" y="80"/>
                    </a:lnTo>
                    <a:lnTo>
                      <a:pt x="620" y="80"/>
                    </a:lnTo>
                    <a:lnTo>
                      <a:pt x="620" y="86"/>
                    </a:lnTo>
                    <a:lnTo>
                      <a:pt x="620" y="91"/>
                    </a:lnTo>
                    <a:lnTo>
                      <a:pt x="625" y="96"/>
                    </a:lnTo>
                    <a:lnTo>
                      <a:pt x="630" y="96"/>
                    </a:lnTo>
                    <a:lnTo>
                      <a:pt x="635" y="96"/>
                    </a:lnTo>
                    <a:lnTo>
                      <a:pt x="640" y="96"/>
                    </a:lnTo>
                    <a:lnTo>
                      <a:pt x="646" y="96"/>
                    </a:lnTo>
                    <a:lnTo>
                      <a:pt x="651" y="101"/>
                    </a:lnTo>
                    <a:lnTo>
                      <a:pt x="656" y="101"/>
                    </a:lnTo>
                    <a:lnTo>
                      <a:pt x="666" y="96"/>
                    </a:lnTo>
                    <a:lnTo>
                      <a:pt x="666" y="106"/>
                    </a:lnTo>
                    <a:lnTo>
                      <a:pt x="661" y="106"/>
                    </a:lnTo>
                    <a:lnTo>
                      <a:pt x="661" y="111"/>
                    </a:lnTo>
                    <a:lnTo>
                      <a:pt x="666" y="111"/>
                    </a:lnTo>
                    <a:lnTo>
                      <a:pt x="661" y="111"/>
                    </a:lnTo>
                    <a:lnTo>
                      <a:pt x="661" y="116"/>
                    </a:lnTo>
                    <a:lnTo>
                      <a:pt x="651" y="131"/>
                    </a:lnTo>
                    <a:lnTo>
                      <a:pt x="646" y="126"/>
                    </a:lnTo>
                    <a:lnTo>
                      <a:pt x="640" y="131"/>
                    </a:lnTo>
                    <a:lnTo>
                      <a:pt x="646" y="136"/>
                    </a:lnTo>
                    <a:lnTo>
                      <a:pt x="640" y="141"/>
                    </a:lnTo>
                    <a:lnTo>
                      <a:pt x="640" y="136"/>
                    </a:lnTo>
                    <a:lnTo>
                      <a:pt x="630" y="141"/>
                    </a:lnTo>
                    <a:lnTo>
                      <a:pt x="630" y="146"/>
                    </a:lnTo>
                    <a:lnTo>
                      <a:pt x="625" y="146"/>
                    </a:lnTo>
                    <a:lnTo>
                      <a:pt x="625" y="156"/>
                    </a:lnTo>
                    <a:lnTo>
                      <a:pt x="635" y="181"/>
                    </a:lnTo>
                    <a:lnTo>
                      <a:pt x="635" y="186"/>
                    </a:lnTo>
                    <a:lnTo>
                      <a:pt x="640" y="186"/>
                    </a:lnTo>
                    <a:lnTo>
                      <a:pt x="635" y="191"/>
                    </a:lnTo>
                    <a:lnTo>
                      <a:pt x="635" y="196"/>
                    </a:lnTo>
                    <a:lnTo>
                      <a:pt x="635" y="201"/>
                    </a:lnTo>
                    <a:lnTo>
                      <a:pt x="640" y="201"/>
                    </a:lnTo>
                    <a:lnTo>
                      <a:pt x="640" y="206"/>
                    </a:lnTo>
                    <a:lnTo>
                      <a:pt x="646" y="201"/>
                    </a:lnTo>
                    <a:lnTo>
                      <a:pt x="646" y="206"/>
                    </a:lnTo>
                    <a:lnTo>
                      <a:pt x="651" y="217"/>
                    </a:lnTo>
                    <a:lnTo>
                      <a:pt x="656" y="222"/>
                    </a:lnTo>
                    <a:lnTo>
                      <a:pt x="661" y="227"/>
                    </a:lnTo>
                    <a:lnTo>
                      <a:pt x="656" y="227"/>
                    </a:lnTo>
                    <a:lnTo>
                      <a:pt x="656" y="237"/>
                    </a:lnTo>
                    <a:lnTo>
                      <a:pt x="651" y="237"/>
                    </a:lnTo>
                    <a:lnTo>
                      <a:pt x="646" y="242"/>
                    </a:lnTo>
                    <a:lnTo>
                      <a:pt x="646" y="247"/>
                    </a:lnTo>
                    <a:lnTo>
                      <a:pt x="640" y="252"/>
                    </a:lnTo>
                    <a:lnTo>
                      <a:pt x="630" y="257"/>
                    </a:lnTo>
                    <a:lnTo>
                      <a:pt x="625" y="262"/>
                    </a:lnTo>
                    <a:lnTo>
                      <a:pt x="630" y="267"/>
                    </a:lnTo>
                    <a:lnTo>
                      <a:pt x="635" y="267"/>
                    </a:lnTo>
                    <a:lnTo>
                      <a:pt x="630" y="272"/>
                    </a:lnTo>
                    <a:lnTo>
                      <a:pt x="625" y="267"/>
                    </a:lnTo>
                    <a:lnTo>
                      <a:pt x="625" y="262"/>
                    </a:lnTo>
                    <a:lnTo>
                      <a:pt x="620" y="262"/>
                    </a:lnTo>
                    <a:lnTo>
                      <a:pt x="615" y="257"/>
                    </a:lnTo>
                    <a:lnTo>
                      <a:pt x="610" y="257"/>
                    </a:lnTo>
                    <a:lnTo>
                      <a:pt x="610" y="262"/>
                    </a:lnTo>
                    <a:lnTo>
                      <a:pt x="615" y="267"/>
                    </a:lnTo>
                    <a:lnTo>
                      <a:pt x="615" y="272"/>
                    </a:lnTo>
                    <a:lnTo>
                      <a:pt x="610" y="277"/>
                    </a:lnTo>
                    <a:lnTo>
                      <a:pt x="615" y="277"/>
                    </a:lnTo>
                    <a:lnTo>
                      <a:pt x="620" y="272"/>
                    </a:lnTo>
                    <a:lnTo>
                      <a:pt x="620" y="277"/>
                    </a:lnTo>
                    <a:lnTo>
                      <a:pt x="605" y="282"/>
                    </a:lnTo>
                    <a:lnTo>
                      <a:pt x="605" y="287"/>
                    </a:lnTo>
                    <a:lnTo>
                      <a:pt x="610" y="292"/>
                    </a:lnTo>
                    <a:lnTo>
                      <a:pt x="615" y="297"/>
                    </a:lnTo>
                    <a:lnTo>
                      <a:pt x="610" y="297"/>
                    </a:lnTo>
                    <a:lnTo>
                      <a:pt x="610" y="292"/>
                    </a:lnTo>
                    <a:lnTo>
                      <a:pt x="605" y="292"/>
                    </a:lnTo>
                    <a:lnTo>
                      <a:pt x="600" y="297"/>
                    </a:lnTo>
                    <a:lnTo>
                      <a:pt x="590" y="302"/>
                    </a:lnTo>
                    <a:lnTo>
                      <a:pt x="595" y="312"/>
                    </a:lnTo>
                    <a:lnTo>
                      <a:pt x="590" y="312"/>
                    </a:lnTo>
                    <a:lnTo>
                      <a:pt x="595" y="317"/>
                    </a:lnTo>
                    <a:lnTo>
                      <a:pt x="590" y="322"/>
                    </a:lnTo>
                    <a:close/>
                  </a:path>
                </a:pathLst>
              </a:custGeom>
              <a:solidFill>
                <a:srgbClr val="E1974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549">
                <a:extLst>
                  <a:ext uri="{FF2B5EF4-FFF2-40B4-BE49-F238E27FC236}">
                    <a16:creationId xmlns:a16="http://schemas.microsoft.com/office/drawing/2014/main" id="{B33E2AFE-4DBC-0B0B-BFEC-AE13D4A4A1AF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4665959" y="2506643"/>
                <a:ext cx="777156" cy="763828"/>
              </a:xfrm>
              <a:custGeom>
                <a:avLst/>
                <a:gdLst>
                  <a:gd name="T0" fmla="*/ 2147483647 w 499"/>
                  <a:gd name="T1" fmla="*/ 2147483647 h 514"/>
                  <a:gd name="T2" fmla="*/ 2147483647 w 499"/>
                  <a:gd name="T3" fmla="*/ 2147483647 h 514"/>
                  <a:gd name="T4" fmla="*/ 2147483647 w 499"/>
                  <a:gd name="T5" fmla="*/ 2147483647 h 514"/>
                  <a:gd name="T6" fmla="*/ 2147483647 w 499"/>
                  <a:gd name="T7" fmla="*/ 2147483647 h 514"/>
                  <a:gd name="T8" fmla="*/ 2147483647 w 499"/>
                  <a:gd name="T9" fmla="*/ 2147483647 h 514"/>
                  <a:gd name="T10" fmla="*/ 2147483647 w 499"/>
                  <a:gd name="T11" fmla="*/ 2147483647 h 514"/>
                  <a:gd name="T12" fmla="*/ 2147483647 w 499"/>
                  <a:gd name="T13" fmla="*/ 2147483647 h 514"/>
                  <a:gd name="T14" fmla="*/ 2147483647 w 499"/>
                  <a:gd name="T15" fmla="*/ 2147483647 h 514"/>
                  <a:gd name="T16" fmla="*/ 2147483647 w 499"/>
                  <a:gd name="T17" fmla="*/ 2147483647 h 514"/>
                  <a:gd name="T18" fmla="*/ 2147483647 w 499"/>
                  <a:gd name="T19" fmla="*/ 2147483647 h 514"/>
                  <a:gd name="T20" fmla="*/ 2147483647 w 499"/>
                  <a:gd name="T21" fmla="*/ 2147483647 h 514"/>
                  <a:gd name="T22" fmla="*/ 2147483647 w 499"/>
                  <a:gd name="T23" fmla="*/ 2147483647 h 514"/>
                  <a:gd name="T24" fmla="*/ 2147483647 w 499"/>
                  <a:gd name="T25" fmla="*/ 2147483647 h 514"/>
                  <a:gd name="T26" fmla="*/ 2147483647 w 499"/>
                  <a:gd name="T27" fmla="*/ 2147483647 h 514"/>
                  <a:gd name="T28" fmla="*/ 2147483647 w 499"/>
                  <a:gd name="T29" fmla="*/ 2147483647 h 514"/>
                  <a:gd name="T30" fmla="*/ 2147483647 w 499"/>
                  <a:gd name="T31" fmla="*/ 2147483647 h 514"/>
                  <a:gd name="T32" fmla="*/ 2147483647 w 499"/>
                  <a:gd name="T33" fmla="*/ 2147483647 h 514"/>
                  <a:gd name="T34" fmla="*/ 2147483647 w 499"/>
                  <a:gd name="T35" fmla="*/ 2147483647 h 514"/>
                  <a:gd name="T36" fmla="*/ 2147483647 w 499"/>
                  <a:gd name="T37" fmla="*/ 2147483647 h 514"/>
                  <a:gd name="T38" fmla="*/ 2147483647 w 499"/>
                  <a:gd name="T39" fmla="*/ 2147483647 h 514"/>
                  <a:gd name="T40" fmla="*/ 2147483647 w 499"/>
                  <a:gd name="T41" fmla="*/ 2147483647 h 514"/>
                  <a:gd name="T42" fmla="*/ 2147483647 w 499"/>
                  <a:gd name="T43" fmla="*/ 2147483647 h 514"/>
                  <a:gd name="T44" fmla="*/ 2147483647 w 499"/>
                  <a:gd name="T45" fmla="*/ 2147483647 h 514"/>
                  <a:gd name="T46" fmla="*/ 2147483647 w 499"/>
                  <a:gd name="T47" fmla="*/ 2147483647 h 514"/>
                  <a:gd name="T48" fmla="*/ 2147483647 w 499"/>
                  <a:gd name="T49" fmla="*/ 2147483647 h 514"/>
                  <a:gd name="T50" fmla="*/ 2147483647 w 499"/>
                  <a:gd name="T51" fmla="*/ 2147483647 h 514"/>
                  <a:gd name="T52" fmla="*/ 2147483647 w 499"/>
                  <a:gd name="T53" fmla="*/ 2147483647 h 514"/>
                  <a:gd name="T54" fmla="*/ 2147483647 w 499"/>
                  <a:gd name="T55" fmla="*/ 2147483647 h 514"/>
                  <a:gd name="T56" fmla="*/ 2147483647 w 499"/>
                  <a:gd name="T57" fmla="*/ 2147483647 h 514"/>
                  <a:gd name="T58" fmla="*/ 2147483647 w 499"/>
                  <a:gd name="T59" fmla="*/ 2147483647 h 514"/>
                  <a:gd name="T60" fmla="*/ 2147483647 w 499"/>
                  <a:gd name="T61" fmla="*/ 2147483647 h 514"/>
                  <a:gd name="T62" fmla="*/ 2147483647 w 499"/>
                  <a:gd name="T63" fmla="*/ 2147483647 h 514"/>
                  <a:gd name="T64" fmla="*/ 2147483647 w 499"/>
                  <a:gd name="T65" fmla="*/ 2147483647 h 514"/>
                  <a:gd name="T66" fmla="*/ 2147483647 w 499"/>
                  <a:gd name="T67" fmla="*/ 2147483647 h 514"/>
                  <a:gd name="T68" fmla="*/ 2147483647 w 499"/>
                  <a:gd name="T69" fmla="*/ 2147483647 h 514"/>
                  <a:gd name="T70" fmla="*/ 2147483647 w 499"/>
                  <a:gd name="T71" fmla="*/ 2147483647 h 514"/>
                  <a:gd name="T72" fmla="*/ 2147483647 w 499"/>
                  <a:gd name="T73" fmla="*/ 2147483647 h 514"/>
                  <a:gd name="T74" fmla="*/ 2147483647 w 499"/>
                  <a:gd name="T75" fmla="*/ 2147483647 h 514"/>
                  <a:gd name="T76" fmla="*/ 2147483647 w 499"/>
                  <a:gd name="T77" fmla="*/ 2147483647 h 514"/>
                  <a:gd name="T78" fmla="*/ 2147483647 w 499"/>
                  <a:gd name="T79" fmla="*/ 2147483647 h 514"/>
                  <a:gd name="T80" fmla="*/ 2147483647 w 499"/>
                  <a:gd name="T81" fmla="*/ 2147483647 h 514"/>
                  <a:gd name="T82" fmla="*/ 2147483647 w 499"/>
                  <a:gd name="T83" fmla="*/ 2147483647 h 514"/>
                  <a:gd name="T84" fmla="*/ 2147483647 w 499"/>
                  <a:gd name="T85" fmla="*/ 2147483647 h 514"/>
                  <a:gd name="T86" fmla="*/ 2147483647 w 499"/>
                  <a:gd name="T87" fmla="*/ 2147483647 h 514"/>
                  <a:gd name="T88" fmla="*/ 2147483647 w 499"/>
                  <a:gd name="T89" fmla="*/ 2147483647 h 514"/>
                  <a:gd name="T90" fmla="*/ 2147483647 w 499"/>
                  <a:gd name="T91" fmla="*/ 2147483647 h 514"/>
                  <a:gd name="T92" fmla="*/ 2147483647 w 499"/>
                  <a:gd name="T93" fmla="*/ 2147483647 h 514"/>
                  <a:gd name="T94" fmla="*/ 2147483647 w 499"/>
                  <a:gd name="T95" fmla="*/ 2147483647 h 514"/>
                  <a:gd name="T96" fmla="*/ 2147483647 w 499"/>
                  <a:gd name="T97" fmla="*/ 2147483647 h 514"/>
                  <a:gd name="T98" fmla="*/ 2147483647 w 499"/>
                  <a:gd name="T99" fmla="*/ 2147483647 h 514"/>
                  <a:gd name="T100" fmla="*/ 2147483647 w 499"/>
                  <a:gd name="T101" fmla="*/ 2147483647 h 514"/>
                  <a:gd name="T102" fmla="*/ 2147483647 w 499"/>
                  <a:gd name="T103" fmla="*/ 2147483647 h 514"/>
                  <a:gd name="T104" fmla="*/ 2147483647 w 499"/>
                  <a:gd name="T105" fmla="*/ 2147483647 h 514"/>
                  <a:gd name="T106" fmla="*/ 2147483647 w 499"/>
                  <a:gd name="T107" fmla="*/ 2147483647 h 514"/>
                  <a:gd name="T108" fmla="*/ 2147483647 w 499"/>
                  <a:gd name="T109" fmla="*/ 2147483647 h 514"/>
                  <a:gd name="T110" fmla="*/ 2147483647 w 499"/>
                  <a:gd name="T111" fmla="*/ 2147483647 h 51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99"/>
                  <a:gd name="T169" fmla="*/ 0 h 514"/>
                  <a:gd name="T170" fmla="*/ 499 w 499"/>
                  <a:gd name="T171" fmla="*/ 514 h 51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99" h="514">
                    <a:moveTo>
                      <a:pt x="383" y="514"/>
                    </a:moveTo>
                    <a:lnTo>
                      <a:pt x="378" y="504"/>
                    </a:lnTo>
                    <a:lnTo>
                      <a:pt x="378" y="493"/>
                    </a:lnTo>
                    <a:lnTo>
                      <a:pt x="373" y="488"/>
                    </a:lnTo>
                    <a:lnTo>
                      <a:pt x="368" y="488"/>
                    </a:lnTo>
                    <a:lnTo>
                      <a:pt x="368" y="483"/>
                    </a:lnTo>
                    <a:lnTo>
                      <a:pt x="363" y="473"/>
                    </a:lnTo>
                    <a:lnTo>
                      <a:pt x="333" y="488"/>
                    </a:lnTo>
                    <a:lnTo>
                      <a:pt x="328" y="488"/>
                    </a:lnTo>
                    <a:lnTo>
                      <a:pt x="323" y="483"/>
                    </a:lnTo>
                    <a:lnTo>
                      <a:pt x="323" y="478"/>
                    </a:lnTo>
                    <a:lnTo>
                      <a:pt x="323" y="473"/>
                    </a:lnTo>
                    <a:lnTo>
                      <a:pt x="318" y="478"/>
                    </a:lnTo>
                    <a:lnTo>
                      <a:pt x="313" y="478"/>
                    </a:lnTo>
                    <a:lnTo>
                      <a:pt x="318" y="473"/>
                    </a:lnTo>
                    <a:lnTo>
                      <a:pt x="318" y="468"/>
                    </a:lnTo>
                    <a:lnTo>
                      <a:pt x="313" y="468"/>
                    </a:lnTo>
                    <a:lnTo>
                      <a:pt x="303" y="468"/>
                    </a:lnTo>
                    <a:lnTo>
                      <a:pt x="298" y="468"/>
                    </a:lnTo>
                    <a:lnTo>
                      <a:pt x="293" y="468"/>
                    </a:lnTo>
                    <a:lnTo>
                      <a:pt x="288" y="463"/>
                    </a:lnTo>
                    <a:lnTo>
                      <a:pt x="283" y="463"/>
                    </a:lnTo>
                    <a:lnTo>
                      <a:pt x="283" y="468"/>
                    </a:lnTo>
                    <a:lnTo>
                      <a:pt x="277" y="468"/>
                    </a:lnTo>
                    <a:lnTo>
                      <a:pt x="272" y="463"/>
                    </a:lnTo>
                    <a:lnTo>
                      <a:pt x="272" y="458"/>
                    </a:lnTo>
                    <a:lnTo>
                      <a:pt x="267" y="453"/>
                    </a:lnTo>
                    <a:lnTo>
                      <a:pt x="262" y="448"/>
                    </a:lnTo>
                    <a:lnTo>
                      <a:pt x="257" y="443"/>
                    </a:lnTo>
                    <a:lnTo>
                      <a:pt x="247" y="448"/>
                    </a:lnTo>
                    <a:lnTo>
                      <a:pt x="242" y="448"/>
                    </a:lnTo>
                    <a:lnTo>
                      <a:pt x="232" y="453"/>
                    </a:lnTo>
                    <a:lnTo>
                      <a:pt x="227" y="443"/>
                    </a:lnTo>
                    <a:lnTo>
                      <a:pt x="232" y="443"/>
                    </a:lnTo>
                    <a:lnTo>
                      <a:pt x="232" y="438"/>
                    </a:lnTo>
                    <a:lnTo>
                      <a:pt x="237" y="428"/>
                    </a:lnTo>
                    <a:lnTo>
                      <a:pt x="232" y="428"/>
                    </a:lnTo>
                    <a:lnTo>
                      <a:pt x="227" y="423"/>
                    </a:lnTo>
                    <a:lnTo>
                      <a:pt x="222" y="423"/>
                    </a:lnTo>
                    <a:lnTo>
                      <a:pt x="222" y="418"/>
                    </a:lnTo>
                    <a:lnTo>
                      <a:pt x="217" y="413"/>
                    </a:lnTo>
                    <a:lnTo>
                      <a:pt x="212" y="418"/>
                    </a:lnTo>
                    <a:lnTo>
                      <a:pt x="207" y="418"/>
                    </a:lnTo>
                    <a:lnTo>
                      <a:pt x="202" y="418"/>
                    </a:lnTo>
                    <a:lnTo>
                      <a:pt x="197" y="418"/>
                    </a:lnTo>
                    <a:lnTo>
                      <a:pt x="192" y="413"/>
                    </a:lnTo>
                    <a:lnTo>
                      <a:pt x="187" y="408"/>
                    </a:lnTo>
                    <a:lnTo>
                      <a:pt x="192" y="408"/>
                    </a:lnTo>
                    <a:lnTo>
                      <a:pt x="192" y="403"/>
                    </a:lnTo>
                    <a:lnTo>
                      <a:pt x="182" y="403"/>
                    </a:lnTo>
                    <a:lnTo>
                      <a:pt x="177" y="398"/>
                    </a:lnTo>
                    <a:lnTo>
                      <a:pt x="182" y="398"/>
                    </a:lnTo>
                    <a:lnTo>
                      <a:pt x="167" y="378"/>
                    </a:lnTo>
                    <a:lnTo>
                      <a:pt x="162" y="378"/>
                    </a:lnTo>
                    <a:lnTo>
                      <a:pt x="162" y="373"/>
                    </a:lnTo>
                    <a:lnTo>
                      <a:pt x="167" y="373"/>
                    </a:lnTo>
                    <a:lnTo>
                      <a:pt x="162" y="367"/>
                    </a:lnTo>
                    <a:lnTo>
                      <a:pt x="172" y="362"/>
                    </a:lnTo>
                    <a:lnTo>
                      <a:pt x="167" y="357"/>
                    </a:lnTo>
                    <a:lnTo>
                      <a:pt x="172" y="357"/>
                    </a:lnTo>
                    <a:lnTo>
                      <a:pt x="167" y="347"/>
                    </a:lnTo>
                    <a:lnTo>
                      <a:pt x="162" y="352"/>
                    </a:lnTo>
                    <a:lnTo>
                      <a:pt x="157" y="347"/>
                    </a:lnTo>
                    <a:lnTo>
                      <a:pt x="157" y="342"/>
                    </a:lnTo>
                    <a:lnTo>
                      <a:pt x="151" y="332"/>
                    </a:lnTo>
                    <a:lnTo>
                      <a:pt x="157" y="327"/>
                    </a:lnTo>
                    <a:lnTo>
                      <a:pt x="151" y="327"/>
                    </a:lnTo>
                    <a:lnTo>
                      <a:pt x="146" y="322"/>
                    </a:lnTo>
                    <a:lnTo>
                      <a:pt x="136" y="327"/>
                    </a:lnTo>
                    <a:lnTo>
                      <a:pt x="136" y="317"/>
                    </a:lnTo>
                    <a:lnTo>
                      <a:pt x="131" y="312"/>
                    </a:lnTo>
                    <a:lnTo>
                      <a:pt x="126" y="307"/>
                    </a:lnTo>
                    <a:lnTo>
                      <a:pt x="121" y="307"/>
                    </a:lnTo>
                    <a:lnTo>
                      <a:pt x="116" y="307"/>
                    </a:lnTo>
                    <a:lnTo>
                      <a:pt x="116" y="312"/>
                    </a:lnTo>
                    <a:lnTo>
                      <a:pt x="111" y="312"/>
                    </a:lnTo>
                    <a:lnTo>
                      <a:pt x="106" y="317"/>
                    </a:lnTo>
                    <a:lnTo>
                      <a:pt x="101" y="317"/>
                    </a:lnTo>
                    <a:lnTo>
                      <a:pt x="101" y="312"/>
                    </a:lnTo>
                    <a:lnTo>
                      <a:pt x="96" y="317"/>
                    </a:lnTo>
                    <a:lnTo>
                      <a:pt x="91" y="317"/>
                    </a:lnTo>
                    <a:lnTo>
                      <a:pt x="91" y="307"/>
                    </a:lnTo>
                    <a:lnTo>
                      <a:pt x="96" y="307"/>
                    </a:lnTo>
                    <a:lnTo>
                      <a:pt x="96" y="302"/>
                    </a:lnTo>
                    <a:lnTo>
                      <a:pt x="101" y="297"/>
                    </a:lnTo>
                    <a:lnTo>
                      <a:pt x="91" y="287"/>
                    </a:lnTo>
                    <a:lnTo>
                      <a:pt x="91" y="282"/>
                    </a:lnTo>
                    <a:lnTo>
                      <a:pt x="86" y="262"/>
                    </a:lnTo>
                    <a:lnTo>
                      <a:pt x="81" y="262"/>
                    </a:lnTo>
                    <a:lnTo>
                      <a:pt x="81" y="267"/>
                    </a:lnTo>
                    <a:lnTo>
                      <a:pt x="81" y="272"/>
                    </a:lnTo>
                    <a:lnTo>
                      <a:pt x="71" y="272"/>
                    </a:lnTo>
                    <a:lnTo>
                      <a:pt x="66" y="272"/>
                    </a:lnTo>
                    <a:lnTo>
                      <a:pt x="61" y="272"/>
                    </a:lnTo>
                    <a:lnTo>
                      <a:pt x="56" y="272"/>
                    </a:lnTo>
                    <a:lnTo>
                      <a:pt x="56" y="267"/>
                    </a:lnTo>
                    <a:lnTo>
                      <a:pt x="51" y="267"/>
                    </a:lnTo>
                    <a:lnTo>
                      <a:pt x="56" y="262"/>
                    </a:lnTo>
                    <a:lnTo>
                      <a:pt x="56" y="257"/>
                    </a:lnTo>
                    <a:lnTo>
                      <a:pt x="51" y="257"/>
                    </a:lnTo>
                    <a:lnTo>
                      <a:pt x="46" y="257"/>
                    </a:lnTo>
                    <a:lnTo>
                      <a:pt x="46" y="252"/>
                    </a:lnTo>
                    <a:lnTo>
                      <a:pt x="41" y="252"/>
                    </a:lnTo>
                    <a:lnTo>
                      <a:pt x="41" y="247"/>
                    </a:lnTo>
                    <a:lnTo>
                      <a:pt x="46" y="247"/>
                    </a:lnTo>
                    <a:lnTo>
                      <a:pt x="41" y="241"/>
                    </a:lnTo>
                    <a:lnTo>
                      <a:pt x="46" y="236"/>
                    </a:lnTo>
                    <a:lnTo>
                      <a:pt x="51" y="236"/>
                    </a:lnTo>
                    <a:lnTo>
                      <a:pt x="46" y="231"/>
                    </a:lnTo>
                    <a:lnTo>
                      <a:pt x="46" y="226"/>
                    </a:lnTo>
                    <a:lnTo>
                      <a:pt x="36" y="231"/>
                    </a:lnTo>
                    <a:lnTo>
                      <a:pt x="31" y="206"/>
                    </a:lnTo>
                    <a:lnTo>
                      <a:pt x="20" y="201"/>
                    </a:lnTo>
                    <a:lnTo>
                      <a:pt x="25" y="201"/>
                    </a:lnTo>
                    <a:lnTo>
                      <a:pt x="20" y="196"/>
                    </a:lnTo>
                    <a:lnTo>
                      <a:pt x="15" y="201"/>
                    </a:lnTo>
                    <a:lnTo>
                      <a:pt x="15" y="186"/>
                    </a:lnTo>
                    <a:lnTo>
                      <a:pt x="10" y="186"/>
                    </a:lnTo>
                    <a:lnTo>
                      <a:pt x="10" y="181"/>
                    </a:lnTo>
                    <a:lnTo>
                      <a:pt x="15" y="181"/>
                    </a:lnTo>
                    <a:lnTo>
                      <a:pt x="20" y="171"/>
                    </a:lnTo>
                    <a:lnTo>
                      <a:pt x="10" y="171"/>
                    </a:lnTo>
                    <a:lnTo>
                      <a:pt x="10" y="161"/>
                    </a:lnTo>
                    <a:lnTo>
                      <a:pt x="20" y="161"/>
                    </a:lnTo>
                    <a:lnTo>
                      <a:pt x="20" y="156"/>
                    </a:lnTo>
                    <a:lnTo>
                      <a:pt x="15" y="156"/>
                    </a:lnTo>
                    <a:lnTo>
                      <a:pt x="15" y="151"/>
                    </a:lnTo>
                    <a:lnTo>
                      <a:pt x="20" y="151"/>
                    </a:lnTo>
                    <a:lnTo>
                      <a:pt x="20" y="141"/>
                    </a:lnTo>
                    <a:lnTo>
                      <a:pt x="25" y="136"/>
                    </a:lnTo>
                    <a:lnTo>
                      <a:pt x="25" y="131"/>
                    </a:lnTo>
                    <a:lnTo>
                      <a:pt x="15" y="126"/>
                    </a:lnTo>
                    <a:lnTo>
                      <a:pt x="15" y="121"/>
                    </a:lnTo>
                    <a:lnTo>
                      <a:pt x="10" y="121"/>
                    </a:lnTo>
                    <a:lnTo>
                      <a:pt x="10" y="126"/>
                    </a:lnTo>
                    <a:lnTo>
                      <a:pt x="5" y="126"/>
                    </a:lnTo>
                    <a:lnTo>
                      <a:pt x="5" y="121"/>
                    </a:lnTo>
                    <a:lnTo>
                      <a:pt x="5" y="110"/>
                    </a:lnTo>
                    <a:lnTo>
                      <a:pt x="10" y="116"/>
                    </a:lnTo>
                    <a:lnTo>
                      <a:pt x="10" y="110"/>
                    </a:lnTo>
                    <a:lnTo>
                      <a:pt x="15" y="100"/>
                    </a:lnTo>
                    <a:lnTo>
                      <a:pt x="15" y="95"/>
                    </a:lnTo>
                    <a:lnTo>
                      <a:pt x="10" y="100"/>
                    </a:lnTo>
                    <a:lnTo>
                      <a:pt x="5" y="95"/>
                    </a:lnTo>
                    <a:lnTo>
                      <a:pt x="5" y="90"/>
                    </a:lnTo>
                    <a:lnTo>
                      <a:pt x="15" y="85"/>
                    </a:lnTo>
                    <a:lnTo>
                      <a:pt x="15" y="80"/>
                    </a:lnTo>
                    <a:lnTo>
                      <a:pt x="0" y="65"/>
                    </a:lnTo>
                    <a:lnTo>
                      <a:pt x="10" y="55"/>
                    </a:lnTo>
                    <a:lnTo>
                      <a:pt x="15" y="60"/>
                    </a:lnTo>
                    <a:lnTo>
                      <a:pt x="15" y="55"/>
                    </a:lnTo>
                    <a:lnTo>
                      <a:pt x="15" y="50"/>
                    </a:lnTo>
                    <a:lnTo>
                      <a:pt x="20" y="50"/>
                    </a:lnTo>
                    <a:lnTo>
                      <a:pt x="20" y="45"/>
                    </a:lnTo>
                    <a:lnTo>
                      <a:pt x="20" y="40"/>
                    </a:lnTo>
                    <a:lnTo>
                      <a:pt x="15" y="35"/>
                    </a:lnTo>
                    <a:lnTo>
                      <a:pt x="10" y="30"/>
                    </a:lnTo>
                    <a:lnTo>
                      <a:pt x="10" y="25"/>
                    </a:lnTo>
                    <a:lnTo>
                      <a:pt x="5" y="20"/>
                    </a:lnTo>
                    <a:lnTo>
                      <a:pt x="15" y="20"/>
                    </a:lnTo>
                    <a:lnTo>
                      <a:pt x="20" y="15"/>
                    </a:lnTo>
                    <a:lnTo>
                      <a:pt x="25" y="10"/>
                    </a:lnTo>
                    <a:lnTo>
                      <a:pt x="31" y="5"/>
                    </a:lnTo>
                    <a:lnTo>
                      <a:pt x="31" y="15"/>
                    </a:lnTo>
                    <a:lnTo>
                      <a:pt x="36" y="15"/>
                    </a:lnTo>
                    <a:lnTo>
                      <a:pt x="36" y="20"/>
                    </a:lnTo>
                    <a:lnTo>
                      <a:pt x="36" y="25"/>
                    </a:lnTo>
                    <a:lnTo>
                      <a:pt x="46" y="25"/>
                    </a:lnTo>
                    <a:lnTo>
                      <a:pt x="51" y="25"/>
                    </a:lnTo>
                    <a:lnTo>
                      <a:pt x="56" y="20"/>
                    </a:lnTo>
                    <a:lnTo>
                      <a:pt x="61" y="20"/>
                    </a:lnTo>
                    <a:lnTo>
                      <a:pt x="66" y="25"/>
                    </a:lnTo>
                    <a:lnTo>
                      <a:pt x="71" y="25"/>
                    </a:lnTo>
                    <a:lnTo>
                      <a:pt x="76" y="20"/>
                    </a:lnTo>
                    <a:lnTo>
                      <a:pt x="81" y="15"/>
                    </a:lnTo>
                    <a:lnTo>
                      <a:pt x="91" y="15"/>
                    </a:lnTo>
                    <a:lnTo>
                      <a:pt x="96" y="15"/>
                    </a:lnTo>
                    <a:lnTo>
                      <a:pt x="96" y="10"/>
                    </a:lnTo>
                    <a:lnTo>
                      <a:pt x="96" y="5"/>
                    </a:lnTo>
                    <a:lnTo>
                      <a:pt x="101" y="5"/>
                    </a:lnTo>
                    <a:lnTo>
                      <a:pt x="101" y="10"/>
                    </a:lnTo>
                    <a:lnTo>
                      <a:pt x="101" y="15"/>
                    </a:lnTo>
                    <a:lnTo>
                      <a:pt x="101" y="20"/>
                    </a:lnTo>
                    <a:lnTo>
                      <a:pt x="106" y="20"/>
                    </a:lnTo>
                    <a:lnTo>
                      <a:pt x="111" y="20"/>
                    </a:lnTo>
                    <a:lnTo>
                      <a:pt x="116" y="25"/>
                    </a:lnTo>
                    <a:lnTo>
                      <a:pt x="121" y="25"/>
                    </a:lnTo>
                    <a:lnTo>
                      <a:pt x="126" y="25"/>
                    </a:lnTo>
                    <a:lnTo>
                      <a:pt x="131" y="25"/>
                    </a:lnTo>
                    <a:lnTo>
                      <a:pt x="141" y="25"/>
                    </a:lnTo>
                    <a:lnTo>
                      <a:pt x="141" y="20"/>
                    </a:lnTo>
                    <a:lnTo>
                      <a:pt x="146" y="20"/>
                    </a:lnTo>
                    <a:lnTo>
                      <a:pt x="146" y="25"/>
                    </a:lnTo>
                    <a:lnTo>
                      <a:pt x="151" y="30"/>
                    </a:lnTo>
                    <a:lnTo>
                      <a:pt x="157" y="35"/>
                    </a:lnTo>
                    <a:lnTo>
                      <a:pt x="162" y="30"/>
                    </a:lnTo>
                    <a:lnTo>
                      <a:pt x="167" y="30"/>
                    </a:lnTo>
                    <a:lnTo>
                      <a:pt x="167" y="25"/>
                    </a:lnTo>
                    <a:lnTo>
                      <a:pt x="172" y="25"/>
                    </a:lnTo>
                    <a:lnTo>
                      <a:pt x="177" y="25"/>
                    </a:lnTo>
                    <a:lnTo>
                      <a:pt x="177" y="20"/>
                    </a:lnTo>
                    <a:lnTo>
                      <a:pt x="182" y="15"/>
                    </a:lnTo>
                    <a:lnTo>
                      <a:pt x="182" y="5"/>
                    </a:lnTo>
                    <a:lnTo>
                      <a:pt x="182" y="0"/>
                    </a:lnTo>
                    <a:lnTo>
                      <a:pt x="187" y="0"/>
                    </a:lnTo>
                    <a:lnTo>
                      <a:pt x="192" y="5"/>
                    </a:lnTo>
                    <a:lnTo>
                      <a:pt x="197" y="5"/>
                    </a:lnTo>
                    <a:lnTo>
                      <a:pt x="197" y="10"/>
                    </a:lnTo>
                    <a:lnTo>
                      <a:pt x="202" y="15"/>
                    </a:lnTo>
                    <a:lnTo>
                      <a:pt x="212" y="20"/>
                    </a:lnTo>
                    <a:lnTo>
                      <a:pt x="212" y="25"/>
                    </a:lnTo>
                    <a:lnTo>
                      <a:pt x="227" y="25"/>
                    </a:lnTo>
                    <a:lnTo>
                      <a:pt x="232" y="25"/>
                    </a:lnTo>
                    <a:lnTo>
                      <a:pt x="232" y="20"/>
                    </a:lnTo>
                    <a:lnTo>
                      <a:pt x="242" y="10"/>
                    </a:lnTo>
                    <a:lnTo>
                      <a:pt x="252" y="10"/>
                    </a:lnTo>
                    <a:lnTo>
                      <a:pt x="257" y="10"/>
                    </a:lnTo>
                    <a:lnTo>
                      <a:pt x="267" y="5"/>
                    </a:lnTo>
                    <a:lnTo>
                      <a:pt x="267" y="10"/>
                    </a:lnTo>
                    <a:lnTo>
                      <a:pt x="272" y="15"/>
                    </a:lnTo>
                    <a:lnTo>
                      <a:pt x="283" y="25"/>
                    </a:lnTo>
                    <a:lnTo>
                      <a:pt x="288" y="30"/>
                    </a:lnTo>
                    <a:lnTo>
                      <a:pt x="298" y="30"/>
                    </a:lnTo>
                    <a:lnTo>
                      <a:pt x="303" y="30"/>
                    </a:lnTo>
                    <a:lnTo>
                      <a:pt x="308" y="30"/>
                    </a:lnTo>
                    <a:lnTo>
                      <a:pt x="318" y="35"/>
                    </a:lnTo>
                    <a:lnTo>
                      <a:pt x="323" y="35"/>
                    </a:lnTo>
                    <a:lnTo>
                      <a:pt x="328" y="30"/>
                    </a:lnTo>
                    <a:lnTo>
                      <a:pt x="333" y="30"/>
                    </a:lnTo>
                    <a:lnTo>
                      <a:pt x="338" y="25"/>
                    </a:lnTo>
                    <a:lnTo>
                      <a:pt x="343" y="15"/>
                    </a:lnTo>
                    <a:lnTo>
                      <a:pt x="348" y="10"/>
                    </a:lnTo>
                    <a:lnTo>
                      <a:pt x="358" y="5"/>
                    </a:lnTo>
                    <a:lnTo>
                      <a:pt x="358" y="10"/>
                    </a:lnTo>
                    <a:lnTo>
                      <a:pt x="368" y="0"/>
                    </a:lnTo>
                    <a:lnTo>
                      <a:pt x="373" y="5"/>
                    </a:lnTo>
                    <a:lnTo>
                      <a:pt x="378" y="10"/>
                    </a:lnTo>
                    <a:lnTo>
                      <a:pt x="373" y="15"/>
                    </a:lnTo>
                    <a:lnTo>
                      <a:pt x="368" y="25"/>
                    </a:lnTo>
                    <a:lnTo>
                      <a:pt x="358" y="35"/>
                    </a:lnTo>
                    <a:lnTo>
                      <a:pt x="363" y="35"/>
                    </a:lnTo>
                    <a:lnTo>
                      <a:pt x="363" y="40"/>
                    </a:lnTo>
                    <a:lnTo>
                      <a:pt x="363" y="50"/>
                    </a:lnTo>
                    <a:lnTo>
                      <a:pt x="368" y="50"/>
                    </a:lnTo>
                    <a:lnTo>
                      <a:pt x="378" y="55"/>
                    </a:lnTo>
                    <a:lnTo>
                      <a:pt x="388" y="55"/>
                    </a:lnTo>
                    <a:lnTo>
                      <a:pt x="398" y="60"/>
                    </a:lnTo>
                    <a:lnTo>
                      <a:pt x="403" y="60"/>
                    </a:lnTo>
                    <a:lnTo>
                      <a:pt x="409" y="70"/>
                    </a:lnTo>
                    <a:lnTo>
                      <a:pt x="409" y="75"/>
                    </a:lnTo>
                    <a:lnTo>
                      <a:pt x="414" y="80"/>
                    </a:lnTo>
                    <a:lnTo>
                      <a:pt x="419" y="80"/>
                    </a:lnTo>
                    <a:lnTo>
                      <a:pt x="424" y="85"/>
                    </a:lnTo>
                    <a:lnTo>
                      <a:pt x="409" y="95"/>
                    </a:lnTo>
                    <a:lnTo>
                      <a:pt x="403" y="100"/>
                    </a:lnTo>
                    <a:lnTo>
                      <a:pt x="403" y="105"/>
                    </a:lnTo>
                    <a:lnTo>
                      <a:pt x="403" y="110"/>
                    </a:lnTo>
                    <a:lnTo>
                      <a:pt x="398" y="116"/>
                    </a:lnTo>
                    <a:lnTo>
                      <a:pt x="398" y="121"/>
                    </a:lnTo>
                    <a:lnTo>
                      <a:pt x="398" y="126"/>
                    </a:lnTo>
                    <a:lnTo>
                      <a:pt x="393" y="136"/>
                    </a:lnTo>
                    <a:lnTo>
                      <a:pt x="393" y="146"/>
                    </a:lnTo>
                    <a:lnTo>
                      <a:pt x="398" y="151"/>
                    </a:lnTo>
                    <a:lnTo>
                      <a:pt x="393" y="156"/>
                    </a:lnTo>
                    <a:lnTo>
                      <a:pt x="393" y="151"/>
                    </a:lnTo>
                    <a:lnTo>
                      <a:pt x="388" y="151"/>
                    </a:lnTo>
                    <a:lnTo>
                      <a:pt x="383" y="156"/>
                    </a:lnTo>
                    <a:lnTo>
                      <a:pt x="373" y="161"/>
                    </a:lnTo>
                    <a:lnTo>
                      <a:pt x="373" y="166"/>
                    </a:lnTo>
                    <a:lnTo>
                      <a:pt x="368" y="166"/>
                    </a:lnTo>
                    <a:lnTo>
                      <a:pt x="363" y="166"/>
                    </a:lnTo>
                    <a:lnTo>
                      <a:pt x="358" y="166"/>
                    </a:lnTo>
                    <a:lnTo>
                      <a:pt x="358" y="171"/>
                    </a:lnTo>
                    <a:lnTo>
                      <a:pt x="353" y="176"/>
                    </a:lnTo>
                    <a:lnTo>
                      <a:pt x="358" y="176"/>
                    </a:lnTo>
                    <a:lnTo>
                      <a:pt x="358" y="181"/>
                    </a:lnTo>
                    <a:lnTo>
                      <a:pt x="363" y="181"/>
                    </a:lnTo>
                    <a:lnTo>
                      <a:pt x="368" y="181"/>
                    </a:lnTo>
                    <a:lnTo>
                      <a:pt x="373" y="186"/>
                    </a:lnTo>
                    <a:lnTo>
                      <a:pt x="373" y="181"/>
                    </a:lnTo>
                    <a:lnTo>
                      <a:pt x="378" y="186"/>
                    </a:lnTo>
                    <a:lnTo>
                      <a:pt x="383" y="191"/>
                    </a:lnTo>
                    <a:lnTo>
                      <a:pt x="383" y="196"/>
                    </a:lnTo>
                    <a:lnTo>
                      <a:pt x="388" y="196"/>
                    </a:lnTo>
                    <a:lnTo>
                      <a:pt x="393" y="196"/>
                    </a:lnTo>
                    <a:lnTo>
                      <a:pt x="398" y="196"/>
                    </a:lnTo>
                    <a:lnTo>
                      <a:pt x="398" y="201"/>
                    </a:lnTo>
                    <a:lnTo>
                      <a:pt x="398" y="211"/>
                    </a:lnTo>
                    <a:lnTo>
                      <a:pt x="398" y="216"/>
                    </a:lnTo>
                    <a:lnTo>
                      <a:pt x="398" y="221"/>
                    </a:lnTo>
                    <a:lnTo>
                      <a:pt x="398" y="231"/>
                    </a:lnTo>
                    <a:lnTo>
                      <a:pt x="398" y="236"/>
                    </a:lnTo>
                    <a:lnTo>
                      <a:pt x="398" y="241"/>
                    </a:lnTo>
                    <a:lnTo>
                      <a:pt x="398" y="247"/>
                    </a:lnTo>
                    <a:lnTo>
                      <a:pt x="398" y="252"/>
                    </a:lnTo>
                    <a:lnTo>
                      <a:pt x="398" y="257"/>
                    </a:lnTo>
                    <a:lnTo>
                      <a:pt x="403" y="257"/>
                    </a:lnTo>
                    <a:lnTo>
                      <a:pt x="403" y="262"/>
                    </a:lnTo>
                    <a:lnTo>
                      <a:pt x="398" y="262"/>
                    </a:lnTo>
                    <a:lnTo>
                      <a:pt x="403" y="267"/>
                    </a:lnTo>
                    <a:lnTo>
                      <a:pt x="403" y="272"/>
                    </a:lnTo>
                    <a:lnTo>
                      <a:pt x="403" y="277"/>
                    </a:lnTo>
                    <a:lnTo>
                      <a:pt x="398" y="277"/>
                    </a:lnTo>
                    <a:lnTo>
                      <a:pt x="398" y="282"/>
                    </a:lnTo>
                    <a:lnTo>
                      <a:pt x="403" y="287"/>
                    </a:lnTo>
                    <a:lnTo>
                      <a:pt x="409" y="287"/>
                    </a:lnTo>
                    <a:lnTo>
                      <a:pt x="414" y="282"/>
                    </a:lnTo>
                    <a:lnTo>
                      <a:pt x="419" y="282"/>
                    </a:lnTo>
                    <a:lnTo>
                      <a:pt x="424" y="277"/>
                    </a:lnTo>
                    <a:lnTo>
                      <a:pt x="429" y="277"/>
                    </a:lnTo>
                    <a:lnTo>
                      <a:pt x="434" y="277"/>
                    </a:lnTo>
                    <a:lnTo>
                      <a:pt x="444" y="292"/>
                    </a:lnTo>
                    <a:lnTo>
                      <a:pt x="444" y="297"/>
                    </a:lnTo>
                    <a:lnTo>
                      <a:pt x="444" y="302"/>
                    </a:lnTo>
                    <a:lnTo>
                      <a:pt x="449" y="307"/>
                    </a:lnTo>
                    <a:lnTo>
                      <a:pt x="454" y="307"/>
                    </a:lnTo>
                    <a:lnTo>
                      <a:pt x="459" y="307"/>
                    </a:lnTo>
                    <a:lnTo>
                      <a:pt x="459" y="312"/>
                    </a:lnTo>
                    <a:lnTo>
                      <a:pt x="464" y="317"/>
                    </a:lnTo>
                    <a:lnTo>
                      <a:pt x="469" y="322"/>
                    </a:lnTo>
                    <a:lnTo>
                      <a:pt x="469" y="317"/>
                    </a:lnTo>
                    <a:lnTo>
                      <a:pt x="469" y="322"/>
                    </a:lnTo>
                    <a:lnTo>
                      <a:pt x="474" y="322"/>
                    </a:lnTo>
                    <a:lnTo>
                      <a:pt x="474" y="327"/>
                    </a:lnTo>
                    <a:lnTo>
                      <a:pt x="469" y="327"/>
                    </a:lnTo>
                    <a:lnTo>
                      <a:pt x="464" y="337"/>
                    </a:lnTo>
                    <a:lnTo>
                      <a:pt x="459" y="337"/>
                    </a:lnTo>
                    <a:lnTo>
                      <a:pt x="464" y="342"/>
                    </a:lnTo>
                    <a:lnTo>
                      <a:pt x="469" y="342"/>
                    </a:lnTo>
                    <a:lnTo>
                      <a:pt x="474" y="337"/>
                    </a:lnTo>
                    <a:lnTo>
                      <a:pt x="474" y="342"/>
                    </a:lnTo>
                    <a:lnTo>
                      <a:pt x="479" y="342"/>
                    </a:lnTo>
                    <a:lnTo>
                      <a:pt x="479" y="337"/>
                    </a:lnTo>
                    <a:lnTo>
                      <a:pt x="484" y="332"/>
                    </a:lnTo>
                    <a:lnTo>
                      <a:pt x="489" y="332"/>
                    </a:lnTo>
                    <a:lnTo>
                      <a:pt x="489" y="337"/>
                    </a:lnTo>
                    <a:lnTo>
                      <a:pt x="489" y="342"/>
                    </a:lnTo>
                    <a:lnTo>
                      <a:pt x="494" y="347"/>
                    </a:lnTo>
                    <a:lnTo>
                      <a:pt x="499" y="352"/>
                    </a:lnTo>
                    <a:lnTo>
                      <a:pt x="494" y="352"/>
                    </a:lnTo>
                    <a:lnTo>
                      <a:pt x="489" y="357"/>
                    </a:lnTo>
                    <a:lnTo>
                      <a:pt x="494" y="367"/>
                    </a:lnTo>
                    <a:lnTo>
                      <a:pt x="494" y="373"/>
                    </a:lnTo>
                    <a:lnTo>
                      <a:pt x="489" y="373"/>
                    </a:lnTo>
                    <a:lnTo>
                      <a:pt x="489" y="378"/>
                    </a:lnTo>
                    <a:lnTo>
                      <a:pt x="494" y="378"/>
                    </a:lnTo>
                    <a:lnTo>
                      <a:pt x="494" y="383"/>
                    </a:lnTo>
                    <a:lnTo>
                      <a:pt x="489" y="388"/>
                    </a:lnTo>
                    <a:lnTo>
                      <a:pt x="489" y="393"/>
                    </a:lnTo>
                    <a:lnTo>
                      <a:pt x="494" y="393"/>
                    </a:lnTo>
                    <a:lnTo>
                      <a:pt x="494" y="398"/>
                    </a:lnTo>
                    <a:lnTo>
                      <a:pt x="489" y="403"/>
                    </a:lnTo>
                    <a:lnTo>
                      <a:pt x="489" y="413"/>
                    </a:lnTo>
                    <a:lnTo>
                      <a:pt x="489" y="423"/>
                    </a:lnTo>
                    <a:lnTo>
                      <a:pt x="494" y="423"/>
                    </a:lnTo>
                    <a:lnTo>
                      <a:pt x="494" y="428"/>
                    </a:lnTo>
                    <a:lnTo>
                      <a:pt x="494" y="433"/>
                    </a:lnTo>
                    <a:lnTo>
                      <a:pt x="499" y="433"/>
                    </a:lnTo>
                    <a:lnTo>
                      <a:pt x="499" y="443"/>
                    </a:lnTo>
                    <a:lnTo>
                      <a:pt x="494" y="443"/>
                    </a:lnTo>
                    <a:lnTo>
                      <a:pt x="494" y="448"/>
                    </a:lnTo>
                    <a:lnTo>
                      <a:pt x="499" y="448"/>
                    </a:lnTo>
                    <a:lnTo>
                      <a:pt x="499" y="453"/>
                    </a:lnTo>
                    <a:lnTo>
                      <a:pt x="499" y="458"/>
                    </a:lnTo>
                    <a:lnTo>
                      <a:pt x="499" y="463"/>
                    </a:lnTo>
                    <a:lnTo>
                      <a:pt x="499" y="468"/>
                    </a:lnTo>
                    <a:lnTo>
                      <a:pt x="499" y="473"/>
                    </a:lnTo>
                    <a:lnTo>
                      <a:pt x="494" y="473"/>
                    </a:lnTo>
                    <a:lnTo>
                      <a:pt x="489" y="473"/>
                    </a:lnTo>
                    <a:lnTo>
                      <a:pt x="484" y="478"/>
                    </a:lnTo>
                    <a:lnTo>
                      <a:pt x="479" y="478"/>
                    </a:lnTo>
                    <a:lnTo>
                      <a:pt x="474" y="478"/>
                    </a:lnTo>
                    <a:lnTo>
                      <a:pt x="469" y="483"/>
                    </a:lnTo>
                    <a:lnTo>
                      <a:pt x="464" y="483"/>
                    </a:lnTo>
                    <a:lnTo>
                      <a:pt x="464" y="488"/>
                    </a:lnTo>
                    <a:lnTo>
                      <a:pt x="454" y="483"/>
                    </a:lnTo>
                    <a:lnTo>
                      <a:pt x="449" y="483"/>
                    </a:lnTo>
                    <a:lnTo>
                      <a:pt x="444" y="483"/>
                    </a:lnTo>
                    <a:lnTo>
                      <a:pt x="444" y="488"/>
                    </a:lnTo>
                    <a:lnTo>
                      <a:pt x="439" y="493"/>
                    </a:lnTo>
                    <a:lnTo>
                      <a:pt x="439" y="488"/>
                    </a:lnTo>
                    <a:lnTo>
                      <a:pt x="434" y="488"/>
                    </a:lnTo>
                    <a:lnTo>
                      <a:pt x="434" y="483"/>
                    </a:lnTo>
                    <a:lnTo>
                      <a:pt x="429" y="488"/>
                    </a:lnTo>
                    <a:lnTo>
                      <a:pt x="424" y="488"/>
                    </a:lnTo>
                    <a:lnTo>
                      <a:pt x="424" y="493"/>
                    </a:lnTo>
                    <a:lnTo>
                      <a:pt x="419" y="493"/>
                    </a:lnTo>
                    <a:lnTo>
                      <a:pt x="414" y="493"/>
                    </a:lnTo>
                    <a:lnTo>
                      <a:pt x="414" y="498"/>
                    </a:lnTo>
                    <a:lnTo>
                      <a:pt x="409" y="498"/>
                    </a:lnTo>
                    <a:lnTo>
                      <a:pt x="409" y="504"/>
                    </a:lnTo>
                    <a:lnTo>
                      <a:pt x="403" y="504"/>
                    </a:lnTo>
                    <a:lnTo>
                      <a:pt x="398" y="509"/>
                    </a:lnTo>
                    <a:lnTo>
                      <a:pt x="393" y="509"/>
                    </a:lnTo>
                    <a:lnTo>
                      <a:pt x="393" y="514"/>
                    </a:lnTo>
                    <a:lnTo>
                      <a:pt x="388" y="514"/>
                    </a:lnTo>
                    <a:lnTo>
                      <a:pt x="383" y="514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554">
                <a:extLst>
                  <a:ext uri="{FF2B5EF4-FFF2-40B4-BE49-F238E27FC236}">
                    <a16:creationId xmlns:a16="http://schemas.microsoft.com/office/drawing/2014/main" id="{14FDBB00-9EBB-3002-485E-F40E6AA6FBCB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597817" y="2539616"/>
                <a:ext cx="706082" cy="793699"/>
              </a:xfrm>
              <a:custGeom>
                <a:avLst/>
                <a:gdLst>
                  <a:gd name="T0" fmla="*/ 2147483647 w 454"/>
                  <a:gd name="T1" fmla="*/ 2147483647 h 534"/>
                  <a:gd name="T2" fmla="*/ 2147483647 w 454"/>
                  <a:gd name="T3" fmla="*/ 2147483647 h 534"/>
                  <a:gd name="T4" fmla="*/ 2147483647 w 454"/>
                  <a:gd name="T5" fmla="*/ 2147483647 h 534"/>
                  <a:gd name="T6" fmla="*/ 2147483647 w 454"/>
                  <a:gd name="T7" fmla="*/ 2147483647 h 534"/>
                  <a:gd name="T8" fmla="*/ 2147483647 w 454"/>
                  <a:gd name="T9" fmla="*/ 2147483647 h 534"/>
                  <a:gd name="T10" fmla="*/ 2147483647 w 454"/>
                  <a:gd name="T11" fmla="*/ 2147483647 h 534"/>
                  <a:gd name="T12" fmla="*/ 2147483647 w 454"/>
                  <a:gd name="T13" fmla="*/ 2147483647 h 534"/>
                  <a:gd name="T14" fmla="*/ 2147483647 w 454"/>
                  <a:gd name="T15" fmla="*/ 2147483647 h 534"/>
                  <a:gd name="T16" fmla="*/ 2147483647 w 454"/>
                  <a:gd name="T17" fmla="*/ 2147483647 h 534"/>
                  <a:gd name="T18" fmla="*/ 2147483647 w 454"/>
                  <a:gd name="T19" fmla="*/ 2147483647 h 534"/>
                  <a:gd name="T20" fmla="*/ 2147483647 w 454"/>
                  <a:gd name="T21" fmla="*/ 2147483647 h 534"/>
                  <a:gd name="T22" fmla="*/ 2147483647 w 454"/>
                  <a:gd name="T23" fmla="*/ 2147483647 h 534"/>
                  <a:gd name="T24" fmla="*/ 2147483647 w 454"/>
                  <a:gd name="T25" fmla="*/ 2147483647 h 534"/>
                  <a:gd name="T26" fmla="*/ 2147483647 w 454"/>
                  <a:gd name="T27" fmla="*/ 2147483647 h 534"/>
                  <a:gd name="T28" fmla="*/ 2147483647 w 454"/>
                  <a:gd name="T29" fmla="*/ 2147483647 h 534"/>
                  <a:gd name="T30" fmla="*/ 2147483647 w 454"/>
                  <a:gd name="T31" fmla="*/ 2147483647 h 534"/>
                  <a:gd name="T32" fmla="*/ 2147483647 w 454"/>
                  <a:gd name="T33" fmla="*/ 2147483647 h 534"/>
                  <a:gd name="T34" fmla="*/ 2147483647 w 454"/>
                  <a:gd name="T35" fmla="*/ 2147483647 h 534"/>
                  <a:gd name="T36" fmla="*/ 2147483647 w 454"/>
                  <a:gd name="T37" fmla="*/ 2147483647 h 534"/>
                  <a:gd name="T38" fmla="*/ 2147483647 w 454"/>
                  <a:gd name="T39" fmla="*/ 2147483647 h 534"/>
                  <a:gd name="T40" fmla="*/ 2147483647 w 454"/>
                  <a:gd name="T41" fmla="*/ 2147483647 h 534"/>
                  <a:gd name="T42" fmla="*/ 2147483647 w 454"/>
                  <a:gd name="T43" fmla="*/ 2147483647 h 534"/>
                  <a:gd name="T44" fmla="*/ 2147483647 w 454"/>
                  <a:gd name="T45" fmla="*/ 2147483647 h 534"/>
                  <a:gd name="T46" fmla="*/ 2147483647 w 454"/>
                  <a:gd name="T47" fmla="*/ 2147483647 h 534"/>
                  <a:gd name="T48" fmla="*/ 2147483647 w 454"/>
                  <a:gd name="T49" fmla="*/ 2147483647 h 534"/>
                  <a:gd name="T50" fmla="*/ 0 w 454"/>
                  <a:gd name="T51" fmla="*/ 2147483647 h 534"/>
                  <a:gd name="T52" fmla="*/ 2147483647 w 454"/>
                  <a:gd name="T53" fmla="*/ 2147483647 h 534"/>
                  <a:gd name="T54" fmla="*/ 2147483647 w 454"/>
                  <a:gd name="T55" fmla="*/ 2147483647 h 534"/>
                  <a:gd name="T56" fmla="*/ 2147483647 w 454"/>
                  <a:gd name="T57" fmla="*/ 2147483647 h 534"/>
                  <a:gd name="T58" fmla="*/ 2147483647 w 454"/>
                  <a:gd name="T59" fmla="*/ 2147483647 h 534"/>
                  <a:gd name="T60" fmla="*/ 2147483647 w 454"/>
                  <a:gd name="T61" fmla="*/ 2147483647 h 534"/>
                  <a:gd name="T62" fmla="*/ 2147483647 w 454"/>
                  <a:gd name="T63" fmla="*/ 2147483647 h 534"/>
                  <a:gd name="T64" fmla="*/ 2147483647 w 454"/>
                  <a:gd name="T65" fmla="*/ 2147483647 h 534"/>
                  <a:gd name="T66" fmla="*/ 2147483647 w 454"/>
                  <a:gd name="T67" fmla="*/ 2147483647 h 534"/>
                  <a:gd name="T68" fmla="*/ 2147483647 w 454"/>
                  <a:gd name="T69" fmla="*/ 2147483647 h 534"/>
                  <a:gd name="T70" fmla="*/ 2147483647 w 454"/>
                  <a:gd name="T71" fmla="*/ 2147483647 h 534"/>
                  <a:gd name="T72" fmla="*/ 2147483647 w 454"/>
                  <a:gd name="T73" fmla="*/ 2147483647 h 534"/>
                  <a:gd name="T74" fmla="*/ 2147483647 w 454"/>
                  <a:gd name="T75" fmla="*/ 2147483647 h 534"/>
                  <a:gd name="T76" fmla="*/ 2147483647 w 454"/>
                  <a:gd name="T77" fmla="*/ 2147483647 h 534"/>
                  <a:gd name="T78" fmla="*/ 2147483647 w 454"/>
                  <a:gd name="T79" fmla="*/ 2147483647 h 534"/>
                  <a:gd name="T80" fmla="*/ 2147483647 w 454"/>
                  <a:gd name="T81" fmla="*/ 2147483647 h 534"/>
                  <a:gd name="T82" fmla="*/ 2147483647 w 454"/>
                  <a:gd name="T83" fmla="*/ 2147483647 h 534"/>
                  <a:gd name="T84" fmla="*/ 2147483647 w 454"/>
                  <a:gd name="T85" fmla="*/ 2147483647 h 534"/>
                  <a:gd name="T86" fmla="*/ 2147483647 w 454"/>
                  <a:gd name="T87" fmla="*/ 2147483647 h 534"/>
                  <a:gd name="T88" fmla="*/ 2147483647 w 454"/>
                  <a:gd name="T89" fmla="*/ 2147483647 h 534"/>
                  <a:gd name="T90" fmla="*/ 2147483647 w 454"/>
                  <a:gd name="T91" fmla="*/ 2147483647 h 534"/>
                  <a:gd name="T92" fmla="*/ 2147483647 w 454"/>
                  <a:gd name="T93" fmla="*/ 2147483647 h 534"/>
                  <a:gd name="T94" fmla="*/ 2147483647 w 454"/>
                  <a:gd name="T95" fmla="*/ 2147483647 h 534"/>
                  <a:gd name="T96" fmla="*/ 2147483647 w 454"/>
                  <a:gd name="T97" fmla="*/ 2147483647 h 534"/>
                  <a:gd name="T98" fmla="*/ 2147483647 w 454"/>
                  <a:gd name="T99" fmla="*/ 2147483647 h 534"/>
                  <a:gd name="T100" fmla="*/ 2147483647 w 454"/>
                  <a:gd name="T101" fmla="*/ 2147483647 h 534"/>
                  <a:gd name="T102" fmla="*/ 2147483647 w 454"/>
                  <a:gd name="T103" fmla="*/ 2147483647 h 534"/>
                  <a:gd name="T104" fmla="*/ 2147483647 w 454"/>
                  <a:gd name="T105" fmla="*/ 2147483647 h 534"/>
                  <a:gd name="T106" fmla="*/ 2147483647 w 454"/>
                  <a:gd name="T107" fmla="*/ 2147483647 h 534"/>
                  <a:gd name="T108" fmla="*/ 2147483647 w 454"/>
                  <a:gd name="T109" fmla="*/ 2147483647 h 534"/>
                  <a:gd name="T110" fmla="*/ 2147483647 w 454"/>
                  <a:gd name="T111" fmla="*/ 2147483647 h 53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54"/>
                  <a:gd name="T169" fmla="*/ 0 h 534"/>
                  <a:gd name="T170" fmla="*/ 454 w 454"/>
                  <a:gd name="T171" fmla="*/ 534 h 53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54" h="534">
                    <a:moveTo>
                      <a:pt x="358" y="287"/>
                    </a:moveTo>
                    <a:lnTo>
                      <a:pt x="353" y="287"/>
                    </a:lnTo>
                    <a:lnTo>
                      <a:pt x="348" y="282"/>
                    </a:lnTo>
                    <a:lnTo>
                      <a:pt x="343" y="287"/>
                    </a:lnTo>
                    <a:lnTo>
                      <a:pt x="333" y="282"/>
                    </a:lnTo>
                    <a:lnTo>
                      <a:pt x="323" y="282"/>
                    </a:lnTo>
                    <a:lnTo>
                      <a:pt x="323" y="277"/>
                    </a:lnTo>
                    <a:lnTo>
                      <a:pt x="313" y="277"/>
                    </a:lnTo>
                    <a:lnTo>
                      <a:pt x="313" y="282"/>
                    </a:lnTo>
                    <a:lnTo>
                      <a:pt x="308" y="287"/>
                    </a:lnTo>
                    <a:lnTo>
                      <a:pt x="313" y="292"/>
                    </a:lnTo>
                    <a:lnTo>
                      <a:pt x="308" y="292"/>
                    </a:lnTo>
                    <a:lnTo>
                      <a:pt x="308" y="297"/>
                    </a:lnTo>
                    <a:lnTo>
                      <a:pt x="308" y="302"/>
                    </a:lnTo>
                    <a:lnTo>
                      <a:pt x="308" y="307"/>
                    </a:lnTo>
                    <a:lnTo>
                      <a:pt x="302" y="307"/>
                    </a:lnTo>
                    <a:lnTo>
                      <a:pt x="302" y="312"/>
                    </a:lnTo>
                    <a:lnTo>
                      <a:pt x="302" y="318"/>
                    </a:lnTo>
                    <a:lnTo>
                      <a:pt x="308" y="328"/>
                    </a:lnTo>
                    <a:lnTo>
                      <a:pt x="313" y="328"/>
                    </a:lnTo>
                    <a:lnTo>
                      <a:pt x="318" y="328"/>
                    </a:lnTo>
                    <a:lnTo>
                      <a:pt x="313" y="333"/>
                    </a:lnTo>
                    <a:lnTo>
                      <a:pt x="313" y="338"/>
                    </a:lnTo>
                    <a:lnTo>
                      <a:pt x="313" y="343"/>
                    </a:lnTo>
                    <a:lnTo>
                      <a:pt x="308" y="348"/>
                    </a:lnTo>
                    <a:lnTo>
                      <a:pt x="308" y="343"/>
                    </a:lnTo>
                    <a:lnTo>
                      <a:pt x="302" y="348"/>
                    </a:lnTo>
                    <a:lnTo>
                      <a:pt x="297" y="348"/>
                    </a:lnTo>
                    <a:lnTo>
                      <a:pt x="297" y="358"/>
                    </a:lnTo>
                    <a:lnTo>
                      <a:pt x="302" y="353"/>
                    </a:lnTo>
                    <a:lnTo>
                      <a:pt x="308" y="353"/>
                    </a:lnTo>
                    <a:lnTo>
                      <a:pt x="308" y="368"/>
                    </a:lnTo>
                    <a:lnTo>
                      <a:pt x="313" y="368"/>
                    </a:lnTo>
                    <a:lnTo>
                      <a:pt x="318" y="368"/>
                    </a:lnTo>
                    <a:lnTo>
                      <a:pt x="328" y="368"/>
                    </a:lnTo>
                    <a:lnTo>
                      <a:pt x="323" y="368"/>
                    </a:lnTo>
                    <a:lnTo>
                      <a:pt x="328" y="378"/>
                    </a:lnTo>
                    <a:lnTo>
                      <a:pt x="328" y="383"/>
                    </a:lnTo>
                    <a:lnTo>
                      <a:pt x="323" y="383"/>
                    </a:lnTo>
                    <a:lnTo>
                      <a:pt x="318" y="378"/>
                    </a:lnTo>
                    <a:lnTo>
                      <a:pt x="313" y="378"/>
                    </a:lnTo>
                    <a:lnTo>
                      <a:pt x="313" y="383"/>
                    </a:lnTo>
                    <a:lnTo>
                      <a:pt x="302" y="383"/>
                    </a:lnTo>
                    <a:lnTo>
                      <a:pt x="302" y="388"/>
                    </a:lnTo>
                    <a:lnTo>
                      <a:pt x="297" y="393"/>
                    </a:lnTo>
                    <a:lnTo>
                      <a:pt x="292" y="393"/>
                    </a:lnTo>
                    <a:lnTo>
                      <a:pt x="287" y="398"/>
                    </a:lnTo>
                    <a:lnTo>
                      <a:pt x="282" y="398"/>
                    </a:lnTo>
                    <a:lnTo>
                      <a:pt x="282" y="403"/>
                    </a:lnTo>
                    <a:lnTo>
                      <a:pt x="277" y="398"/>
                    </a:lnTo>
                    <a:lnTo>
                      <a:pt x="272" y="398"/>
                    </a:lnTo>
                    <a:lnTo>
                      <a:pt x="267" y="398"/>
                    </a:lnTo>
                    <a:lnTo>
                      <a:pt x="262" y="398"/>
                    </a:lnTo>
                    <a:lnTo>
                      <a:pt x="262" y="408"/>
                    </a:lnTo>
                    <a:lnTo>
                      <a:pt x="257" y="413"/>
                    </a:lnTo>
                    <a:lnTo>
                      <a:pt x="257" y="408"/>
                    </a:lnTo>
                    <a:lnTo>
                      <a:pt x="247" y="408"/>
                    </a:lnTo>
                    <a:lnTo>
                      <a:pt x="242" y="413"/>
                    </a:lnTo>
                    <a:lnTo>
                      <a:pt x="237" y="418"/>
                    </a:lnTo>
                    <a:lnTo>
                      <a:pt x="232" y="418"/>
                    </a:lnTo>
                    <a:lnTo>
                      <a:pt x="217" y="423"/>
                    </a:lnTo>
                    <a:lnTo>
                      <a:pt x="212" y="418"/>
                    </a:lnTo>
                    <a:lnTo>
                      <a:pt x="207" y="418"/>
                    </a:lnTo>
                    <a:lnTo>
                      <a:pt x="207" y="423"/>
                    </a:lnTo>
                    <a:lnTo>
                      <a:pt x="207" y="428"/>
                    </a:lnTo>
                    <a:lnTo>
                      <a:pt x="197" y="423"/>
                    </a:lnTo>
                    <a:lnTo>
                      <a:pt x="197" y="433"/>
                    </a:lnTo>
                    <a:lnTo>
                      <a:pt x="202" y="433"/>
                    </a:lnTo>
                    <a:lnTo>
                      <a:pt x="202" y="443"/>
                    </a:lnTo>
                    <a:lnTo>
                      <a:pt x="197" y="449"/>
                    </a:lnTo>
                    <a:lnTo>
                      <a:pt x="197" y="443"/>
                    </a:lnTo>
                    <a:lnTo>
                      <a:pt x="192" y="449"/>
                    </a:lnTo>
                    <a:lnTo>
                      <a:pt x="192" y="454"/>
                    </a:lnTo>
                    <a:lnTo>
                      <a:pt x="187" y="464"/>
                    </a:lnTo>
                    <a:lnTo>
                      <a:pt x="187" y="469"/>
                    </a:lnTo>
                    <a:lnTo>
                      <a:pt x="187" y="474"/>
                    </a:lnTo>
                    <a:lnTo>
                      <a:pt x="187" y="479"/>
                    </a:lnTo>
                    <a:lnTo>
                      <a:pt x="187" y="489"/>
                    </a:lnTo>
                    <a:lnTo>
                      <a:pt x="192" y="489"/>
                    </a:lnTo>
                    <a:lnTo>
                      <a:pt x="197" y="489"/>
                    </a:lnTo>
                    <a:lnTo>
                      <a:pt x="192" y="494"/>
                    </a:lnTo>
                    <a:lnTo>
                      <a:pt x="192" y="499"/>
                    </a:lnTo>
                    <a:lnTo>
                      <a:pt x="192" y="504"/>
                    </a:lnTo>
                    <a:lnTo>
                      <a:pt x="192" y="509"/>
                    </a:lnTo>
                    <a:lnTo>
                      <a:pt x="197" y="514"/>
                    </a:lnTo>
                    <a:lnTo>
                      <a:pt x="192" y="524"/>
                    </a:lnTo>
                    <a:lnTo>
                      <a:pt x="192" y="529"/>
                    </a:lnTo>
                    <a:lnTo>
                      <a:pt x="187" y="529"/>
                    </a:lnTo>
                    <a:lnTo>
                      <a:pt x="182" y="534"/>
                    </a:lnTo>
                    <a:lnTo>
                      <a:pt x="171" y="534"/>
                    </a:lnTo>
                    <a:lnTo>
                      <a:pt x="166" y="534"/>
                    </a:lnTo>
                    <a:lnTo>
                      <a:pt x="161" y="529"/>
                    </a:lnTo>
                    <a:lnTo>
                      <a:pt x="161" y="524"/>
                    </a:lnTo>
                    <a:lnTo>
                      <a:pt x="156" y="524"/>
                    </a:lnTo>
                    <a:lnTo>
                      <a:pt x="151" y="529"/>
                    </a:lnTo>
                    <a:lnTo>
                      <a:pt x="146" y="529"/>
                    </a:lnTo>
                    <a:lnTo>
                      <a:pt x="146" y="524"/>
                    </a:lnTo>
                    <a:lnTo>
                      <a:pt x="136" y="529"/>
                    </a:lnTo>
                    <a:lnTo>
                      <a:pt x="126" y="529"/>
                    </a:lnTo>
                    <a:lnTo>
                      <a:pt x="126" y="524"/>
                    </a:lnTo>
                    <a:lnTo>
                      <a:pt x="121" y="519"/>
                    </a:lnTo>
                    <a:lnTo>
                      <a:pt x="116" y="514"/>
                    </a:lnTo>
                    <a:lnTo>
                      <a:pt x="111" y="514"/>
                    </a:lnTo>
                    <a:lnTo>
                      <a:pt x="106" y="509"/>
                    </a:lnTo>
                    <a:lnTo>
                      <a:pt x="96" y="514"/>
                    </a:lnTo>
                    <a:lnTo>
                      <a:pt x="91" y="519"/>
                    </a:lnTo>
                    <a:lnTo>
                      <a:pt x="86" y="519"/>
                    </a:lnTo>
                    <a:lnTo>
                      <a:pt x="86" y="514"/>
                    </a:lnTo>
                    <a:lnTo>
                      <a:pt x="81" y="509"/>
                    </a:lnTo>
                    <a:lnTo>
                      <a:pt x="71" y="509"/>
                    </a:lnTo>
                    <a:lnTo>
                      <a:pt x="66" y="504"/>
                    </a:lnTo>
                    <a:lnTo>
                      <a:pt x="66" y="499"/>
                    </a:lnTo>
                    <a:lnTo>
                      <a:pt x="66" y="489"/>
                    </a:lnTo>
                    <a:lnTo>
                      <a:pt x="71" y="489"/>
                    </a:lnTo>
                    <a:lnTo>
                      <a:pt x="71" y="484"/>
                    </a:lnTo>
                    <a:lnTo>
                      <a:pt x="66" y="479"/>
                    </a:lnTo>
                    <a:lnTo>
                      <a:pt x="66" y="474"/>
                    </a:lnTo>
                    <a:lnTo>
                      <a:pt x="61" y="469"/>
                    </a:lnTo>
                    <a:lnTo>
                      <a:pt x="61" y="464"/>
                    </a:lnTo>
                    <a:lnTo>
                      <a:pt x="61" y="459"/>
                    </a:lnTo>
                    <a:lnTo>
                      <a:pt x="61" y="454"/>
                    </a:lnTo>
                    <a:lnTo>
                      <a:pt x="56" y="454"/>
                    </a:lnTo>
                    <a:lnTo>
                      <a:pt x="56" y="449"/>
                    </a:lnTo>
                    <a:lnTo>
                      <a:pt x="50" y="449"/>
                    </a:lnTo>
                    <a:lnTo>
                      <a:pt x="45" y="449"/>
                    </a:lnTo>
                    <a:lnTo>
                      <a:pt x="45" y="443"/>
                    </a:lnTo>
                    <a:lnTo>
                      <a:pt x="40" y="438"/>
                    </a:lnTo>
                    <a:lnTo>
                      <a:pt x="35" y="438"/>
                    </a:lnTo>
                    <a:lnTo>
                      <a:pt x="35" y="433"/>
                    </a:lnTo>
                    <a:lnTo>
                      <a:pt x="30" y="433"/>
                    </a:lnTo>
                    <a:lnTo>
                      <a:pt x="30" y="438"/>
                    </a:lnTo>
                    <a:lnTo>
                      <a:pt x="25" y="438"/>
                    </a:lnTo>
                    <a:lnTo>
                      <a:pt x="25" y="433"/>
                    </a:lnTo>
                    <a:lnTo>
                      <a:pt x="30" y="428"/>
                    </a:lnTo>
                    <a:lnTo>
                      <a:pt x="30" y="423"/>
                    </a:lnTo>
                    <a:lnTo>
                      <a:pt x="25" y="423"/>
                    </a:lnTo>
                    <a:lnTo>
                      <a:pt x="25" y="418"/>
                    </a:lnTo>
                    <a:lnTo>
                      <a:pt x="30" y="418"/>
                    </a:lnTo>
                    <a:lnTo>
                      <a:pt x="30" y="413"/>
                    </a:lnTo>
                    <a:lnTo>
                      <a:pt x="25" y="403"/>
                    </a:lnTo>
                    <a:lnTo>
                      <a:pt x="25" y="398"/>
                    </a:lnTo>
                    <a:lnTo>
                      <a:pt x="25" y="393"/>
                    </a:lnTo>
                    <a:lnTo>
                      <a:pt x="20" y="383"/>
                    </a:lnTo>
                    <a:lnTo>
                      <a:pt x="20" y="378"/>
                    </a:lnTo>
                    <a:lnTo>
                      <a:pt x="20" y="373"/>
                    </a:lnTo>
                    <a:lnTo>
                      <a:pt x="15" y="373"/>
                    </a:lnTo>
                    <a:lnTo>
                      <a:pt x="15" y="368"/>
                    </a:lnTo>
                    <a:lnTo>
                      <a:pt x="10" y="368"/>
                    </a:lnTo>
                    <a:lnTo>
                      <a:pt x="10" y="363"/>
                    </a:lnTo>
                    <a:lnTo>
                      <a:pt x="10" y="358"/>
                    </a:lnTo>
                    <a:lnTo>
                      <a:pt x="10" y="353"/>
                    </a:lnTo>
                    <a:lnTo>
                      <a:pt x="5" y="353"/>
                    </a:lnTo>
                    <a:lnTo>
                      <a:pt x="0" y="348"/>
                    </a:lnTo>
                    <a:lnTo>
                      <a:pt x="0" y="343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5" y="333"/>
                    </a:lnTo>
                    <a:lnTo>
                      <a:pt x="5" y="323"/>
                    </a:lnTo>
                    <a:lnTo>
                      <a:pt x="10" y="318"/>
                    </a:lnTo>
                    <a:lnTo>
                      <a:pt x="15" y="312"/>
                    </a:lnTo>
                    <a:lnTo>
                      <a:pt x="15" y="307"/>
                    </a:lnTo>
                    <a:lnTo>
                      <a:pt x="15" y="302"/>
                    </a:lnTo>
                    <a:lnTo>
                      <a:pt x="15" y="297"/>
                    </a:lnTo>
                    <a:lnTo>
                      <a:pt x="20" y="297"/>
                    </a:lnTo>
                    <a:lnTo>
                      <a:pt x="20" y="292"/>
                    </a:lnTo>
                    <a:lnTo>
                      <a:pt x="25" y="292"/>
                    </a:lnTo>
                    <a:lnTo>
                      <a:pt x="25" y="287"/>
                    </a:lnTo>
                    <a:lnTo>
                      <a:pt x="25" y="282"/>
                    </a:lnTo>
                    <a:lnTo>
                      <a:pt x="30" y="277"/>
                    </a:lnTo>
                    <a:lnTo>
                      <a:pt x="30" y="272"/>
                    </a:lnTo>
                    <a:lnTo>
                      <a:pt x="30" y="267"/>
                    </a:lnTo>
                    <a:lnTo>
                      <a:pt x="35" y="267"/>
                    </a:lnTo>
                    <a:lnTo>
                      <a:pt x="35" y="262"/>
                    </a:lnTo>
                    <a:lnTo>
                      <a:pt x="40" y="262"/>
                    </a:lnTo>
                    <a:lnTo>
                      <a:pt x="40" y="257"/>
                    </a:lnTo>
                    <a:lnTo>
                      <a:pt x="40" y="252"/>
                    </a:lnTo>
                    <a:lnTo>
                      <a:pt x="40" y="247"/>
                    </a:lnTo>
                    <a:lnTo>
                      <a:pt x="45" y="247"/>
                    </a:lnTo>
                    <a:lnTo>
                      <a:pt x="50" y="237"/>
                    </a:lnTo>
                    <a:lnTo>
                      <a:pt x="56" y="227"/>
                    </a:lnTo>
                    <a:lnTo>
                      <a:pt x="56" y="222"/>
                    </a:lnTo>
                    <a:lnTo>
                      <a:pt x="61" y="217"/>
                    </a:lnTo>
                    <a:lnTo>
                      <a:pt x="66" y="212"/>
                    </a:lnTo>
                    <a:lnTo>
                      <a:pt x="66" y="207"/>
                    </a:lnTo>
                    <a:lnTo>
                      <a:pt x="66" y="202"/>
                    </a:lnTo>
                    <a:lnTo>
                      <a:pt x="71" y="202"/>
                    </a:lnTo>
                    <a:lnTo>
                      <a:pt x="71" y="197"/>
                    </a:lnTo>
                    <a:lnTo>
                      <a:pt x="71" y="192"/>
                    </a:lnTo>
                    <a:lnTo>
                      <a:pt x="76" y="181"/>
                    </a:lnTo>
                    <a:lnTo>
                      <a:pt x="81" y="176"/>
                    </a:lnTo>
                    <a:lnTo>
                      <a:pt x="81" y="171"/>
                    </a:lnTo>
                    <a:lnTo>
                      <a:pt x="86" y="171"/>
                    </a:lnTo>
                    <a:lnTo>
                      <a:pt x="86" y="166"/>
                    </a:lnTo>
                    <a:lnTo>
                      <a:pt x="91" y="166"/>
                    </a:lnTo>
                    <a:lnTo>
                      <a:pt x="91" y="156"/>
                    </a:lnTo>
                    <a:lnTo>
                      <a:pt x="96" y="151"/>
                    </a:lnTo>
                    <a:lnTo>
                      <a:pt x="101" y="146"/>
                    </a:lnTo>
                    <a:lnTo>
                      <a:pt x="106" y="141"/>
                    </a:lnTo>
                    <a:lnTo>
                      <a:pt x="111" y="131"/>
                    </a:lnTo>
                    <a:lnTo>
                      <a:pt x="116" y="126"/>
                    </a:lnTo>
                    <a:lnTo>
                      <a:pt x="121" y="126"/>
                    </a:lnTo>
                    <a:lnTo>
                      <a:pt x="121" y="121"/>
                    </a:lnTo>
                    <a:lnTo>
                      <a:pt x="126" y="116"/>
                    </a:lnTo>
                    <a:lnTo>
                      <a:pt x="126" y="111"/>
                    </a:lnTo>
                    <a:lnTo>
                      <a:pt x="126" y="106"/>
                    </a:lnTo>
                    <a:lnTo>
                      <a:pt x="131" y="101"/>
                    </a:lnTo>
                    <a:lnTo>
                      <a:pt x="136" y="101"/>
                    </a:lnTo>
                    <a:lnTo>
                      <a:pt x="136" y="96"/>
                    </a:lnTo>
                    <a:lnTo>
                      <a:pt x="136" y="91"/>
                    </a:lnTo>
                    <a:lnTo>
                      <a:pt x="136" y="86"/>
                    </a:lnTo>
                    <a:lnTo>
                      <a:pt x="141" y="86"/>
                    </a:lnTo>
                    <a:lnTo>
                      <a:pt x="141" y="81"/>
                    </a:lnTo>
                    <a:lnTo>
                      <a:pt x="146" y="81"/>
                    </a:lnTo>
                    <a:lnTo>
                      <a:pt x="151" y="76"/>
                    </a:lnTo>
                    <a:lnTo>
                      <a:pt x="156" y="76"/>
                    </a:lnTo>
                    <a:lnTo>
                      <a:pt x="161" y="71"/>
                    </a:lnTo>
                    <a:lnTo>
                      <a:pt x="171" y="71"/>
                    </a:lnTo>
                    <a:lnTo>
                      <a:pt x="176" y="71"/>
                    </a:lnTo>
                    <a:lnTo>
                      <a:pt x="182" y="71"/>
                    </a:lnTo>
                    <a:lnTo>
                      <a:pt x="187" y="66"/>
                    </a:lnTo>
                    <a:lnTo>
                      <a:pt x="187" y="61"/>
                    </a:lnTo>
                    <a:lnTo>
                      <a:pt x="192" y="55"/>
                    </a:lnTo>
                    <a:lnTo>
                      <a:pt x="192" y="50"/>
                    </a:lnTo>
                    <a:lnTo>
                      <a:pt x="192" y="45"/>
                    </a:lnTo>
                    <a:lnTo>
                      <a:pt x="197" y="40"/>
                    </a:lnTo>
                    <a:lnTo>
                      <a:pt x="197" y="30"/>
                    </a:lnTo>
                    <a:lnTo>
                      <a:pt x="197" y="25"/>
                    </a:lnTo>
                    <a:lnTo>
                      <a:pt x="192" y="15"/>
                    </a:lnTo>
                    <a:lnTo>
                      <a:pt x="192" y="10"/>
                    </a:lnTo>
                    <a:lnTo>
                      <a:pt x="192" y="5"/>
                    </a:lnTo>
                    <a:lnTo>
                      <a:pt x="192" y="0"/>
                    </a:lnTo>
                    <a:lnTo>
                      <a:pt x="197" y="0"/>
                    </a:lnTo>
                    <a:lnTo>
                      <a:pt x="202" y="0"/>
                    </a:lnTo>
                    <a:lnTo>
                      <a:pt x="207" y="5"/>
                    </a:lnTo>
                    <a:lnTo>
                      <a:pt x="212" y="10"/>
                    </a:lnTo>
                    <a:lnTo>
                      <a:pt x="217" y="10"/>
                    </a:lnTo>
                    <a:lnTo>
                      <a:pt x="222" y="15"/>
                    </a:lnTo>
                    <a:lnTo>
                      <a:pt x="227" y="15"/>
                    </a:lnTo>
                    <a:lnTo>
                      <a:pt x="232" y="15"/>
                    </a:lnTo>
                    <a:lnTo>
                      <a:pt x="232" y="10"/>
                    </a:lnTo>
                    <a:lnTo>
                      <a:pt x="232" y="5"/>
                    </a:lnTo>
                    <a:lnTo>
                      <a:pt x="237" y="5"/>
                    </a:lnTo>
                    <a:lnTo>
                      <a:pt x="242" y="5"/>
                    </a:lnTo>
                    <a:lnTo>
                      <a:pt x="242" y="0"/>
                    </a:lnTo>
                    <a:lnTo>
                      <a:pt x="247" y="5"/>
                    </a:lnTo>
                    <a:lnTo>
                      <a:pt x="247" y="10"/>
                    </a:lnTo>
                    <a:lnTo>
                      <a:pt x="252" y="15"/>
                    </a:lnTo>
                    <a:lnTo>
                      <a:pt x="257" y="20"/>
                    </a:lnTo>
                    <a:lnTo>
                      <a:pt x="262" y="15"/>
                    </a:lnTo>
                    <a:lnTo>
                      <a:pt x="267" y="15"/>
                    </a:lnTo>
                    <a:lnTo>
                      <a:pt x="272" y="15"/>
                    </a:lnTo>
                    <a:lnTo>
                      <a:pt x="277" y="20"/>
                    </a:lnTo>
                    <a:lnTo>
                      <a:pt x="272" y="25"/>
                    </a:lnTo>
                    <a:lnTo>
                      <a:pt x="277" y="25"/>
                    </a:lnTo>
                    <a:lnTo>
                      <a:pt x="282" y="25"/>
                    </a:lnTo>
                    <a:lnTo>
                      <a:pt x="282" y="30"/>
                    </a:lnTo>
                    <a:lnTo>
                      <a:pt x="287" y="35"/>
                    </a:lnTo>
                    <a:lnTo>
                      <a:pt x="282" y="35"/>
                    </a:lnTo>
                    <a:lnTo>
                      <a:pt x="287" y="35"/>
                    </a:lnTo>
                    <a:lnTo>
                      <a:pt x="287" y="40"/>
                    </a:lnTo>
                    <a:lnTo>
                      <a:pt x="287" y="45"/>
                    </a:lnTo>
                    <a:lnTo>
                      <a:pt x="292" y="50"/>
                    </a:lnTo>
                    <a:lnTo>
                      <a:pt x="297" y="45"/>
                    </a:lnTo>
                    <a:lnTo>
                      <a:pt x="297" y="50"/>
                    </a:lnTo>
                    <a:lnTo>
                      <a:pt x="313" y="50"/>
                    </a:lnTo>
                    <a:lnTo>
                      <a:pt x="313" y="55"/>
                    </a:lnTo>
                    <a:lnTo>
                      <a:pt x="313" y="61"/>
                    </a:lnTo>
                    <a:lnTo>
                      <a:pt x="328" y="61"/>
                    </a:lnTo>
                    <a:lnTo>
                      <a:pt x="328" y="55"/>
                    </a:lnTo>
                    <a:lnTo>
                      <a:pt x="338" y="55"/>
                    </a:lnTo>
                    <a:lnTo>
                      <a:pt x="343" y="55"/>
                    </a:lnTo>
                    <a:lnTo>
                      <a:pt x="348" y="50"/>
                    </a:lnTo>
                    <a:lnTo>
                      <a:pt x="348" y="45"/>
                    </a:lnTo>
                    <a:lnTo>
                      <a:pt x="348" y="40"/>
                    </a:lnTo>
                    <a:lnTo>
                      <a:pt x="353" y="45"/>
                    </a:lnTo>
                    <a:lnTo>
                      <a:pt x="358" y="45"/>
                    </a:lnTo>
                    <a:lnTo>
                      <a:pt x="363" y="50"/>
                    </a:lnTo>
                    <a:lnTo>
                      <a:pt x="368" y="50"/>
                    </a:lnTo>
                    <a:lnTo>
                      <a:pt x="373" y="50"/>
                    </a:lnTo>
                    <a:lnTo>
                      <a:pt x="373" y="55"/>
                    </a:lnTo>
                    <a:lnTo>
                      <a:pt x="368" y="55"/>
                    </a:lnTo>
                    <a:lnTo>
                      <a:pt x="373" y="61"/>
                    </a:lnTo>
                    <a:lnTo>
                      <a:pt x="383" y="61"/>
                    </a:lnTo>
                    <a:lnTo>
                      <a:pt x="388" y="61"/>
                    </a:lnTo>
                    <a:lnTo>
                      <a:pt x="393" y="61"/>
                    </a:lnTo>
                    <a:lnTo>
                      <a:pt x="398" y="61"/>
                    </a:lnTo>
                    <a:lnTo>
                      <a:pt x="403" y="71"/>
                    </a:lnTo>
                    <a:lnTo>
                      <a:pt x="398" y="71"/>
                    </a:lnTo>
                    <a:lnTo>
                      <a:pt x="393" y="76"/>
                    </a:lnTo>
                    <a:lnTo>
                      <a:pt x="398" y="76"/>
                    </a:lnTo>
                    <a:lnTo>
                      <a:pt x="403" y="81"/>
                    </a:lnTo>
                    <a:lnTo>
                      <a:pt x="403" y="86"/>
                    </a:lnTo>
                    <a:lnTo>
                      <a:pt x="403" y="91"/>
                    </a:lnTo>
                    <a:lnTo>
                      <a:pt x="403" y="101"/>
                    </a:lnTo>
                    <a:lnTo>
                      <a:pt x="439" y="126"/>
                    </a:lnTo>
                    <a:lnTo>
                      <a:pt x="444" y="131"/>
                    </a:lnTo>
                    <a:lnTo>
                      <a:pt x="449" y="131"/>
                    </a:lnTo>
                    <a:lnTo>
                      <a:pt x="449" y="136"/>
                    </a:lnTo>
                    <a:lnTo>
                      <a:pt x="454" y="141"/>
                    </a:lnTo>
                    <a:lnTo>
                      <a:pt x="449" y="146"/>
                    </a:lnTo>
                    <a:lnTo>
                      <a:pt x="449" y="151"/>
                    </a:lnTo>
                    <a:lnTo>
                      <a:pt x="449" y="156"/>
                    </a:lnTo>
                    <a:lnTo>
                      <a:pt x="449" y="166"/>
                    </a:lnTo>
                    <a:lnTo>
                      <a:pt x="444" y="166"/>
                    </a:lnTo>
                    <a:lnTo>
                      <a:pt x="439" y="166"/>
                    </a:lnTo>
                    <a:lnTo>
                      <a:pt x="439" y="171"/>
                    </a:lnTo>
                    <a:lnTo>
                      <a:pt x="434" y="176"/>
                    </a:lnTo>
                    <a:lnTo>
                      <a:pt x="428" y="176"/>
                    </a:lnTo>
                    <a:lnTo>
                      <a:pt x="418" y="176"/>
                    </a:lnTo>
                    <a:lnTo>
                      <a:pt x="418" y="181"/>
                    </a:lnTo>
                    <a:lnTo>
                      <a:pt x="413" y="176"/>
                    </a:lnTo>
                    <a:lnTo>
                      <a:pt x="413" y="181"/>
                    </a:lnTo>
                    <a:lnTo>
                      <a:pt x="408" y="187"/>
                    </a:lnTo>
                    <a:lnTo>
                      <a:pt x="403" y="181"/>
                    </a:lnTo>
                    <a:lnTo>
                      <a:pt x="403" y="187"/>
                    </a:lnTo>
                    <a:lnTo>
                      <a:pt x="408" y="202"/>
                    </a:lnTo>
                    <a:lnTo>
                      <a:pt x="413" y="207"/>
                    </a:lnTo>
                    <a:lnTo>
                      <a:pt x="408" y="212"/>
                    </a:lnTo>
                    <a:lnTo>
                      <a:pt x="408" y="217"/>
                    </a:lnTo>
                    <a:lnTo>
                      <a:pt x="403" y="212"/>
                    </a:lnTo>
                    <a:lnTo>
                      <a:pt x="398" y="212"/>
                    </a:lnTo>
                    <a:lnTo>
                      <a:pt x="393" y="227"/>
                    </a:lnTo>
                    <a:lnTo>
                      <a:pt x="398" y="232"/>
                    </a:lnTo>
                    <a:lnTo>
                      <a:pt x="393" y="232"/>
                    </a:lnTo>
                    <a:lnTo>
                      <a:pt x="398" y="237"/>
                    </a:lnTo>
                    <a:lnTo>
                      <a:pt x="393" y="237"/>
                    </a:lnTo>
                    <a:lnTo>
                      <a:pt x="393" y="242"/>
                    </a:lnTo>
                    <a:lnTo>
                      <a:pt x="388" y="247"/>
                    </a:lnTo>
                    <a:lnTo>
                      <a:pt x="383" y="247"/>
                    </a:lnTo>
                    <a:lnTo>
                      <a:pt x="383" y="252"/>
                    </a:lnTo>
                    <a:lnTo>
                      <a:pt x="383" y="247"/>
                    </a:lnTo>
                    <a:lnTo>
                      <a:pt x="378" y="252"/>
                    </a:lnTo>
                    <a:lnTo>
                      <a:pt x="373" y="252"/>
                    </a:lnTo>
                    <a:lnTo>
                      <a:pt x="378" y="257"/>
                    </a:lnTo>
                    <a:lnTo>
                      <a:pt x="373" y="257"/>
                    </a:lnTo>
                    <a:lnTo>
                      <a:pt x="368" y="262"/>
                    </a:lnTo>
                    <a:lnTo>
                      <a:pt x="353" y="267"/>
                    </a:lnTo>
                    <a:lnTo>
                      <a:pt x="358" y="272"/>
                    </a:lnTo>
                    <a:lnTo>
                      <a:pt x="358" y="277"/>
                    </a:lnTo>
                    <a:lnTo>
                      <a:pt x="358" y="287"/>
                    </a:lnTo>
                    <a:close/>
                  </a:path>
                </a:pathLst>
              </a:custGeom>
              <a:solidFill>
                <a:srgbClr val="9067A7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559">
                <a:extLst>
                  <a:ext uri="{FF2B5EF4-FFF2-40B4-BE49-F238E27FC236}">
                    <a16:creationId xmlns:a16="http://schemas.microsoft.com/office/drawing/2014/main" id="{102E52E9-EE1D-FD9B-3F2C-F8E9A58675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694472">
                <a:off x="2654759" y="3409782"/>
                <a:ext cx="915808" cy="741426"/>
              </a:xfrm>
              <a:custGeom>
                <a:avLst/>
                <a:gdLst>
                  <a:gd name="T0" fmla="*/ 2147483647 w 590"/>
                  <a:gd name="T1" fmla="*/ 2147483647 h 499"/>
                  <a:gd name="T2" fmla="*/ 2147483647 w 590"/>
                  <a:gd name="T3" fmla="*/ 2147483647 h 499"/>
                  <a:gd name="T4" fmla="*/ 2147483647 w 590"/>
                  <a:gd name="T5" fmla="*/ 2147483647 h 499"/>
                  <a:gd name="T6" fmla="*/ 2147483647 w 590"/>
                  <a:gd name="T7" fmla="*/ 2147483647 h 499"/>
                  <a:gd name="T8" fmla="*/ 2147483647 w 590"/>
                  <a:gd name="T9" fmla="*/ 2147483647 h 499"/>
                  <a:gd name="T10" fmla="*/ 2147483647 w 590"/>
                  <a:gd name="T11" fmla="*/ 2147483647 h 499"/>
                  <a:gd name="T12" fmla="*/ 2147483647 w 590"/>
                  <a:gd name="T13" fmla="*/ 2147483647 h 499"/>
                  <a:gd name="T14" fmla="*/ 2147483647 w 590"/>
                  <a:gd name="T15" fmla="*/ 2147483647 h 499"/>
                  <a:gd name="T16" fmla="*/ 2147483647 w 590"/>
                  <a:gd name="T17" fmla="*/ 2147483647 h 499"/>
                  <a:gd name="T18" fmla="*/ 2147483647 w 590"/>
                  <a:gd name="T19" fmla="*/ 2147483647 h 499"/>
                  <a:gd name="T20" fmla="*/ 2147483647 w 590"/>
                  <a:gd name="T21" fmla="*/ 2147483647 h 499"/>
                  <a:gd name="T22" fmla="*/ 2147483647 w 590"/>
                  <a:gd name="T23" fmla="*/ 2147483647 h 499"/>
                  <a:gd name="T24" fmla="*/ 2147483647 w 590"/>
                  <a:gd name="T25" fmla="*/ 2147483647 h 499"/>
                  <a:gd name="T26" fmla="*/ 2147483647 w 590"/>
                  <a:gd name="T27" fmla="*/ 2147483647 h 499"/>
                  <a:gd name="T28" fmla="*/ 2147483647 w 590"/>
                  <a:gd name="T29" fmla="*/ 2147483647 h 499"/>
                  <a:gd name="T30" fmla="*/ 2147483647 w 590"/>
                  <a:gd name="T31" fmla="*/ 2147483647 h 499"/>
                  <a:gd name="T32" fmla="*/ 2147483647 w 590"/>
                  <a:gd name="T33" fmla="*/ 2147483647 h 499"/>
                  <a:gd name="T34" fmla="*/ 2147483647 w 590"/>
                  <a:gd name="T35" fmla="*/ 2147483647 h 499"/>
                  <a:gd name="T36" fmla="*/ 2147483647 w 590"/>
                  <a:gd name="T37" fmla="*/ 2147483647 h 499"/>
                  <a:gd name="T38" fmla="*/ 2147483647 w 590"/>
                  <a:gd name="T39" fmla="*/ 2147483647 h 499"/>
                  <a:gd name="T40" fmla="*/ 2147483647 w 590"/>
                  <a:gd name="T41" fmla="*/ 2147483647 h 499"/>
                  <a:gd name="T42" fmla="*/ 2147483647 w 590"/>
                  <a:gd name="T43" fmla="*/ 2147483647 h 499"/>
                  <a:gd name="T44" fmla="*/ 2147483647 w 590"/>
                  <a:gd name="T45" fmla="*/ 2147483647 h 499"/>
                  <a:gd name="T46" fmla="*/ 2147483647 w 590"/>
                  <a:gd name="T47" fmla="*/ 2147483647 h 499"/>
                  <a:gd name="T48" fmla="*/ 2147483647 w 590"/>
                  <a:gd name="T49" fmla="*/ 2147483647 h 499"/>
                  <a:gd name="T50" fmla="*/ 2147483647 w 590"/>
                  <a:gd name="T51" fmla="*/ 2147483647 h 499"/>
                  <a:gd name="T52" fmla="*/ 2147483647 w 590"/>
                  <a:gd name="T53" fmla="*/ 2147483647 h 499"/>
                  <a:gd name="T54" fmla="*/ 2147483647 w 590"/>
                  <a:gd name="T55" fmla="*/ 2147483647 h 499"/>
                  <a:gd name="T56" fmla="*/ 2147483647 w 590"/>
                  <a:gd name="T57" fmla="*/ 2147483647 h 499"/>
                  <a:gd name="T58" fmla="*/ 2147483647 w 590"/>
                  <a:gd name="T59" fmla="*/ 2147483647 h 499"/>
                  <a:gd name="T60" fmla="*/ 2147483647 w 590"/>
                  <a:gd name="T61" fmla="*/ 2147483647 h 499"/>
                  <a:gd name="T62" fmla="*/ 2147483647 w 590"/>
                  <a:gd name="T63" fmla="*/ 2147483647 h 499"/>
                  <a:gd name="T64" fmla="*/ 2147483647 w 590"/>
                  <a:gd name="T65" fmla="*/ 2147483647 h 499"/>
                  <a:gd name="T66" fmla="*/ 2147483647 w 590"/>
                  <a:gd name="T67" fmla="*/ 2147483647 h 499"/>
                  <a:gd name="T68" fmla="*/ 2147483647 w 590"/>
                  <a:gd name="T69" fmla="*/ 2147483647 h 499"/>
                  <a:gd name="T70" fmla="*/ 2147483647 w 590"/>
                  <a:gd name="T71" fmla="*/ 2147483647 h 499"/>
                  <a:gd name="T72" fmla="*/ 2147483647 w 590"/>
                  <a:gd name="T73" fmla="*/ 2147483647 h 499"/>
                  <a:gd name="T74" fmla="*/ 2147483647 w 590"/>
                  <a:gd name="T75" fmla="*/ 2147483647 h 499"/>
                  <a:gd name="T76" fmla="*/ 2147483647 w 590"/>
                  <a:gd name="T77" fmla="*/ 2147483647 h 499"/>
                  <a:gd name="T78" fmla="*/ 2147483647 w 590"/>
                  <a:gd name="T79" fmla="*/ 2147483647 h 499"/>
                  <a:gd name="T80" fmla="*/ 2147483647 w 590"/>
                  <a:gd name="T81" fmla="*/ 2147483647 h 499"/>
                  <a:gd name="T82" fmla="*/ 2147483647 w 590"/>
                  <a:gd name="T83" fmla="*/ 2147483647 h 499"/>
                  <a:gd name="T84" fmla="*/ 2147483647 w 590"/>
                  <a:gd name="T85" fmla="*/ 2147483647 h 499"/>
                  <a:gd name="T86" fmla="*/ 2147483647 w 590"/>
                  <a:gd name="T87" fmla="*/ 2147483647 h 499"/>
                  <a:gd name="T88" fmla="*/ 2147483647 w 590"/>
                  <a:gd name="T89" fmla="*/ 2147483647 h 499"/>
                  <a:gd name="T90" fmla="*/ 2147483647 w 590"/>
                  <a:gd name="T91" fmla="*/ 2147483647 h 499"/>
                  <a:gd name="T92" fmla="*/ 2147483647 w 590"/>
                  <a:gd name="T93" fmla="*/ 2147483647 h 499"/>
                  <a:gd name="T94" fmla="*/ 2147483647 w 590"/>
                  <a:gd name="T95" fmla="*/ 2147483647 h 499"/>
                  <a:gd name="T96" fmla="*/ 2147483647 w 590"/>
                  <a:gd name="T97" fmla="*/ 2147483647 h 499"/>
                  <a:gd name="T98" fmla="*/ 2147483647 w 590"/>
                  <a:gd name="T99" fmla="*/ 2147483647 h 499"/>
                  <a:gd name="T100" fmla="*/ 2147483647 w 590"/>
                  <a:gd name="T101" fmla="*/ 2147483647 h 499"/>
                  <a:gd name="T102" fmla="*/ 2147483647 w 590"/>
                  <a:gd name="T103" fmla="*/ 2147483647 h 499"/>
                  <a:gd name="T104" fmla="*/ 2147483647 w 590"/>
                  <a:gd name="T105" fmla="*/ 2147483647 h 499"/>
                  <a:gd name="T106" fmla="*/ 2147483647 w 590"/>
                  <a:gd name="T107" fmla="*/ 2147483647 h 499"/>
                  <a:gd name="T108" fmla="*/ 2147483647 w 590"/>
                  <a:gd name="T109" fmla="*/ 2147483647 h 499"/>
                  <a:gd name="T110" fmla="*/ 2147483647 w 590"/>
                  <a:gd name="T111" fmla="*/ 2147483647 h 499"/>
                  <a:gd name="T112" fmla="*/ 2147483647 w 590"/>
                  <a:gd name="T113" fmla="*/ 2147483647 h 499"/>
                  <a:gd name="T114" fmla="*/ 2147483647 w 590"/>
                  <a:gd name="T115" fmla="*/ 2147483647 h 499"/>
                  <a:gd name="T116" fmla="*/ 2147483647 w 590"/>
                  <a:gd name="T117" fmla="*/ 2147483647 h 499"/>
                  <a:gd name="T118" fmla="*/ 2147483647 w 590"/>
                  <a:gd name="T119" fmla="*/ 2147483647 h 499"/>
                  <a:gd name="T120" fmla="*/ 2147483647 w 590"/>
                  <a:gd name="T121" fmla="*/ 2147483647 h 4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590"/>
                  <a:gd name="T184" fmla="*/ 0 h 499"/>
                  <a:gd name="T185" fmla="*/ 590 w 590"/>
                  <a:gd name="T186" fmla="*/ 499 h 49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590" h="499">
                    <a:moveTo>
                      <a:pt x="424" y="413"/>
                    </a:moveTo>
                    <a:lnTo>
                      <a:pt x="424" y="408"/>
                    </a:lnTo>
                    <a:lnTo>
                      <a:pt x="418" y="408"/>
                    </a:lnTo>
                    <a:lnTo>
                      <a:pt x="418" y="403"/>
                    </a:lnTo>
                    <a:lnTo>
                      <a:pt x="418" y="398"/>
                    </a:lnTo>
                    <a:lnTo>
                      <a:pt x="413" y="398"/>
                    </a:lnTo>
                    <a:lnTo>
                      <a:pt x="413" y="393"/>
                    </a:lnTo>
                    <a:lnTo>
                      <a:pt x="408" y="393"/>
                    </a:lnTo>
                    <a:lnTo>
                      <a:pt x="408" y="388"/>
                    </a:lnTo>
                    <a:lnTo>
                      <a:pt x="408" y="383"/>
                    </a:lnTo>
                    <a:lnTo>
                      <a:pt x="403" y="383"/>
                    </a:lnTo>
                    <a:lnTo>
                      <a:pt x="408" y="383"/>
                    </a:lnTo>
                    <a:lnTo>
                      <a:pt x="408" y="378"/>
                    </a:lnTo>
                    <a:lnTo>
                      <a:pt x="408" y="373"/>
                    </a:lnTo>
                    <a:lnTo>
                      <a:pt x="403" y="373"/>
                    </a:lnTo>
                    <a:lnTo>
                      <a:pt x="403" y="368"/>
                    </a:lnTo>
                    <a:lnTo>
                      <a:pt x="408" y="363"/>
                    </a:lnTo>
                    <a:lnTo>
                      <a:pt x="408" y="358"/>
                    </a:lnTo>
                    <a:lnTo>
                      <a:pt x="403" y="358"/>
                    </a:lnTo>
                    <a:lnTo>
                      <a:pt x="403" y="363"/>
                    </a:lnTo>
                    <a:lnTo>
                      <a:pt x="398" y="368"/>
                    </a:lnTo>
                    <a:lnTo>
                      <a:pt x="398" y="373"/>
                    </a:lnTo>
                    <a:lnTo>
                      <a:pt x="398" y="378"/>
                    </a:lnTo>
                    <a:lnTo>
                      <a:pt x="393" y="378"/>
                    </a:lnTo>
                    <a:lnTo>
                      <a:pt x="393" y="383"/>
                    </a:lnTo>
                    <a:lnTo>
                      <a:pt x="393" y="388"/>
                    </a:lnTo>
                    <a:lnTo>
                      <a:pt x="398" y="393"/>
                    </a:lnTo>
                    <a:lnTo>
                      <a:pt x="403" y="398"/>
                    </a:lnTo>
                    <a:lnTo>
                      <a:pt x="408" y="398"/>
                    </a:lnTo>
                    <a:lnTo>
                      <a:pt x="408" y="403"/>
                    </a:lnTo>
                    <a:lnTo>
                      <a:pt x="408" y="408"/>
                    </a:lnTo>
                    <a:lnTo>
                      <a:pt x="408" y="413"/>
                    </a:lnTo>
                    <a:lnTo>
                      <a:pt x="408" y="418"/>
                    </a:lnTo>
                    <a:lnTo>
                      <a:pt x="413" y="418"/>
                    </a:lnTo>
                    <a:lnTo>
                      <a:pt x="413" y="424"/>
                    </a:lnTo>
                    <a:lnTo>
                      <a:pt x="408" y="424"/>
                    </a:lnTo>
                    <a:lnTo>
                      <a:pt x="408" y="429"/>
                    </a:lnTo>
                    <a:lnTo>
                      <a:pt x="403" y="429"/>
                    </a:lnTo>
                    <a:lnTo>
                      <a:pt x="398" y="434"/>
                    </a:lnTo>
                    <a:lnTo>
                      <a:pt x="398" y="439"/>
                    </a:lnTo>
                    <a:lnTo>
                      <a:pt x="393" y="439"/>
                    </a:lnTo>
                    <a:lnTo>
                      <a:pt x="393" y="434"/>
                    </a:lnTo>
                    <a:lnTo>
                      <a:pt x="388" y="434"/>
                    </a:lnTo>
                    <a:lnTo>
                      <a:pt x="383" y="434"/>
                    </a:lnTo>
                    <a:lnTo>
                      <a:pt x="378" y="434"/>
                    </a:lnTo>
                    <a:lnTo>
                      <a:pt x="373" y="434"/>
                    </a:lnTo>
                    <a:lnTo>
                      <a:pt x="363" y="434"/>
                    </a:lnTo>
                    <a:lnTo>
                      <a:pt x="358" y="439"/>
                    </a:lnTo>
                    <a:lnTo>
                      <a:pt x="353" y="444"/>
                    </a:lnTo>
                    <a:lnTo>
                      <a:pt x="353" y="454"/>
                    </a:lnTo>
                    <a:lnTo>
                      <a:pt x="348" y="449"/>
                    </a:lnTo>
                    <a:lnTo>
                      <a:pt x="343" y="449"/>
                    </a:lnTo>
                    <a:lnTo>
                      <a:pt x="338" y="449"/>
                    </a:lnTo>
                    <a:lnTo>
                      <a:pt x="333" y="449"/>
                    </a:lnTo>
                    <a:lnTo>
                      <a:pt x="333" y="454"/>
                    </a:lnTo>
                    <a:lnTo>
                      <a:pt x="328" y="454"/>
                    </a:lnTo>
                    <a:lnTo>
                      <a:pt x="333" y="449"/>
                    </a:lnTo>
                    <a:lnTo>
                      <a:pt x="338" y="439"/>
                    </a:lnTo>
                    <a:lnTo>
                      <a:pt x="338" y="434"/>
                    </a:lnTo>
                    <a:lnTo>
                      <a:pt x="338" y="429"/>
                    </a:lnTo>
                    <a:lnTo>
                      <a:pt x="343" y="429"/>
                    </a:lnTo>
                    <a:lnTo>
                      <a:pt x="338" y="424"/>
                    </a:lnTo>
                    <a:lnTo>
                      <a:pt x="338" y="418"/>
                    </a:lnTo>
                    <a:lnTo>
                      <a:pt x="343" y="413"/>
                    </a:lnTo>
                    <a:lnTo>
                      <a:pt x="338" y="408"/>
                    </a:lnTo>
                    <a:lnTo>
                      <a:pt x="343" y="408"/>
                    </a:lnTo>
                    <a:lnTo>
                      <a:pt x="343" y="403"/>
                    </a:lnTo>
                    <a:lnTo>
                      <a:pt x="343" y="398"/>
                    </a:lnTo>
                    <a:lnTo>
                      <a:pt x="348" y="393"/>
                    </a:lnTo>
                    <a:lnTo>
                      <a:pt x="343" y="393"/>
                    </a:lnTo>
                    <a:lnTo>
                      <a:pt x="343" y="388"/>
                    </a:lnTo>
                    <a:lnTo>
                      <a:pt x="338" y="388"/>
                    </a:lnTo>
                    <a:lnTo>
                      <a:pt x="343" y="388"/>
                    </a:lnTo>
                    <a:lnTo>
                      <a:pt x="343" y="393"/>
                    </a:lnTo>
                    <a:lnTo>
                      <a:pt x="343" y="398"/>
                    </a:lnTo>
                    <a:lnTo>
                      <a:pt x="338" y="403"/>
                    </a:lnTo>
                    <a:lnTo>
                      <a:pt x="333" y="408"/>
                    </a:lnTo>
                    <a:lnTo>
                      <a:pt x="333" y="413"/>
                    </a:lnTo>
                    <a:lnTo>
                      <a:pt x="338" y="413"/>
                    </a:lnTo>
                    <a:lnTo>
                      <a:pt x="333" y="418"/>
                    </a:lnTo>
                    <a:lnTo>
                      <a:pt x="338" y="418"/>
                    </a:lnTo>
                    <a:lnTo>
                      <a:pt x="333" y="424"/>
                    </a:lnTo>
                    <a:lnTo>
                      <a:pt x="333" y="418"/>
                    </a:lnTo>
                    <a:lnTo>
                      <a:pt x="328" y="418"/>
                    </a:lnTo>
                    <a:lnTo>
                      <a:pt x="323" y="418"/>
                    </a:lnTo>
                    <a:lnTo>
                      <a:pt x="318" y="418"/>
                    </a:lnTo>
                    <a:lnTo>
                      <a:pt x="318" y="408"/>
                    </a:lnTo>
                    <a:lnTo>
                      <a:pt x="313" y="403"/>
                    </a:lnTo>
                    <a:lnTo>
                      <a:pt x="313" y="408"/>
                    </a:lnTo>
                    <a:lnTo>
                      <a:pt x="313" y="403"/>
                    </a:lnTo>
                    <a:lnTo>
                      <a:pt x="313" y="408"/>
                    </a:lnTo>
                    <a:lnTo>
                      <a:pt x="318" y="408"/>
                    </a:lnTo>
                    <a:lnTo>
                      <a:pt x="318" y="413"/>
                    </a:lnTo>
                    <a:lnTo>
                      <a:pt x="318" y="418"/>
                    </a:lnTo>
                    <a:lnTo>
                      <a:pt x="323" y="418"/>
                    </a:lnTo>
                    <a:lnTo>
                      <a:pt x="328" y="418"/>
                    </a:lnTo>
                    <a:lnTo>
                      <a:pt x="328" y="424"/>
                    </a:lnTo>
                    <a:lnTo>
                      <a:pt x="333" y="424"/>
                    </a:lnTo>
                    <a:lnTo>
                      <a:pt x="333" y="429"/>
                    </a:lnTo>
                    <a:lnTo>
                      <a:pt x="333" y="434"/>
                    </a:lnTo>
                    <a:lnTo>
                      <a:pt x="333" y="439"/>
                    </a:lnTo>
                    <a:lnTo>
                      <a:pt x="328" y="444"/>
                    </a:lnTo>
                    <a:lnTo>
                      <a:pt x="328" y="449"/>
                    </a:lnTo>
                    <a:lnTo>
                      <a:pt x="328" y="454"/>
                    </a:lnTo>
                    <a:lnTo>
                      <a:pt x="323" y="454"/>
                    </a:lnTo>
                    <a:lnTo>
                      <a:pt x="318" y="454"/>
                    </a:lnTo>
                    <a:lnTo>
                      <a:pt x="318" y="459"/>
                    </a:lnTo>
                    <a:lnTo>
                      <a:pt x="318" y="464"/>
                    </a:lnTo>
                    <a:lnTo>
                      <a:pt x="313" y="464"/>
                    </a:lnTo>
                    <a:lnTo>
                      <a:pt x="308" y="464"/>
                    </a:lnTo>
                    <a:lnTo>
                      <a:pt x="303" y="464"/>
                    </a:lnTo>
                    <a:lnTo>
                      <a:pt x="298" y="469"/>
                    </a:lnTo>
                    <a:lnTo>
                      <a:pt x="292" y="464"/>
                    </a:lnTo>
                    <a:lnTo>
                      <a:pt x="282" y="464"/>
                    </a:lnTo>
                    <a:lnTo>
                      <a:pt x="282" y="454"/>
                    </a:lnTo>
                    <a:lnTo>
                      <a:pt x="277" y="449"/>
                    </a:lnTo>
                    <a:lnTo>
                      <a:pt x="272" y="444"/>
                    </a:lnTo>
                    <a:lnTo>
                      <a:pt x="267" y="434"/>
                    </a:lnTo>
                    <a:lnTo>
                      <a:pt x="272" y="429"/>
                    </a:lnTo>
                    <a:lnTo>
                      <a:pt x="267" y="424"/>
                    </a:lnTo>
                    <a:lnTo>
                      <a:pt x="262" y="418"/>
                    </a:lnTo>
                    <a:lnTo>
                      <a:pt x="262" y="413"/>
                    </a:lnTo>
                    <a:lnTo>
                      <a:pt x="257" y="413"/>
                    </a:lnTo>
                    <a:lnTo>
                      <a:pt x="252" y="408"/>
                    </a:lnTo>
                    <a:lnTo>
                      <a:pt x="247" y="403"/>
                    </a:lnTo>
                    <a:lnTo>
                      <a:pt x="237" y="403"/>
                    </a:lnTo>
                    <a:lnTo>
                      <a:pt x="232" y="393"/>
                    </a:lnTo>
                    <a:lnTo>
                      <a:pt x="232" y="388"/>
                    </a:lnTo>
                    <a:lnTo>
                      <a:pt x="232" y="383"/>
                    </a:lnTo>
                    <a:lnTo>
                      <a:pt x="267" y="368"/>
                    </a:lnTo>
                    <a:lnTo>
                      <a:pt x="262" y="358"/>
                    </a:lnTo>
                    <a:lnTo>
                      <a:pt x="267" y="353"/>
                    </a:lnTo>
                    <a:lnTo>
                      <a:pt x="272" y="348"/>
                    </a:lnTo>
                    <a:lnTo>
                      <a:pt x="257" y="318"/>
                    </a:lnTo>
                    <a:lnTo>
                      <a:pt x="247" y="323"/>
                    </a:lnTo>
                    <a:lnTo>
                      <a:pt x="237" y="328"/>
                    </a:lnTo>
                    <a:lnTo>
                      <a:pt x="232" y="333"/>
                    </a:lnTo>
                    <a:lnTo>
                      <a:pt x="227" y="323"/>
                    </a:lnTo>
                    <a:lnTo>
                      <a:pt x="237" y="323"/>
                    </a:lnTo>
                    <a:lnTo>
                      <a:pt x="227" y="313"/>
                    </a:lnTo>
                    <a:lnTo>
                      <a:pt x="237" y="313"/>
                    </a:lnTo>
                    <a:lnTo>
                      <a:pt x="232" y="298"/>
                    </a:lnTo>
                    <a:lnTo>
                      <a:pt x="217" y="303"/>
                    </a:lnTo>
                    <a:lnTo>
                      <a:pt x="222" y="308"/>
                    </a:lnTo>
                    <a:lnTo>
                      <a:pt x="202" y="318"/>
                    </a:lnTo>
                    <a:lnTo>
                      <a:pt x="202" y="308"/>
                    </a:lnTo>
                    <a:lnTo>
                      <a:pt x="197" y="308"/>
                    </a:lnTo>
                    <a:lnTo>
                      <a:pt x="182" y="313"/>
                    </a:lnTo>
                    <a:lnTo>
                      <a:pt x="177" y="303"/>
                    </a:lnTo>
                    <a:lnTo>
                      <a:pt x="172" y="303"/>
                    </a:lnTo>
                    <a:lnTo>
                      <a:pt x="172" y="298"/>
                    </a:lnTo>
                    <a:lnTo>
                      <a:pt x="177" y="298"/>
                    </a:lnTo>
                    <a:lnTo>
                      <a:pt x="177" y="292"/>
                    </a:lnTo>
                    <a:lnTo>
                      <a:pt x="182" y="292"/>
                    </a:lnTo>
                    <a:lnTo>
                      <a:pt x="177" y="287"/>
                    </a:lnTo>
                    <a:lnTo>
                      <a:pt x="177" y="292"/>
                    </a:lnTo>
                    <a:lnTo>
                      <a:pt x="172" y="287"/>
                    </a:lnTo>
                    <a:lnTo>
                      <a:pt x="172" y="282"/>
                    </a:lnTo>
                    <a:lnTo>
                      <a:pt x="172" y="272"/>
                    </a:lnTo>
                    <a:lnTo>
                      <a:pt x="161" y="277"/>
                    </a:lnTo>
                    <a:lnTo>
                      <a:pt x="156" y="272"/>
                    </a:lnTo>
                    <a:lnTo>
                      <a:pt x="161" y="272"/>
                    </a:lnTo>
                    <a:lnTo>
                      <a:pt x="156" y="257"/>
                    </a:lnTo>
                    <a:lnTo>
                      <a:pt x="161" y="252"/>
                    </a:lnTo>
                    <a:lnTo>
                      <a:pt x="156" y="247"/>
                    </a:lnTo>
                    <a:lnTo>
                      <a:pt x="151" y="247"/>
                    </a:lnTo>
                    <a:lnTo>
                      <a:pt x="151" y="242"/>
                    </a:lnTo>
                    <a:lnTo>
                      <a:pt x="146" y="247"/>
                    </a:lnTo>
                    <a:lnTo>
                      <a:pt x="146" y="242"/>
                    </a:lnTo>
                    <a:lnTo>
                      <a:pt x="141" y="247"/>
                    </a:lnTo>
                    <a:lnTo>
                      <a:pt x="136" y="242"/>
                    </a:lnTo>
                    <a:lnTo>
                      <a:pt x="136" y="237"/>
                    </a:lnTo>
                    <a:lnTo>
                      <a:pt x="141" y="237"/>
                    </a:lnTo>
                    <a:lnTo>
                      <a:pt x="136" y="232"/>
                    </a:lnTo>
                    <a:lnTo>
                      <a:pt x="136" y="227"/>
                    </a:lnTo>
                    <a:lnTo>
                      <a:pt x="136" y="222"/>
                    </a:lnTo>
                    <a:lnTo>
                      <a:pt x="131" y="222"/>
                    </a:lnTo>
                    <a:lnTo>
                      <a:pt x="121" y="232"/>
                    </a:lnTo>
                    <a:lnTo>
                      <a:pt x="126" y="232"/>
                    </a:lnTo>
                    <a:lnTo>
                      <a:pt x="121" y="242"/>
                    </a:lnTo>
                    <a:lnTo>
                      <a:pt x="116" y="242"/>
                    </a:lnTo>
                    <a:lnTo>
                      <a:pt x="116" y="237"/>
                    </a:lnTo>
                    <a:lnTo>
                      <a:pt x="116" y="232"/>
                    </a:lnTo>
                    <a:lnTo>
                      <a:pt x="106" y="237"/>
                    </a:lnTo>
                    <a:lnTo>
                      <a:pt x="96" y="242"/>
                    </a:lnTo>
                    <a:lnTo>
                      <a:pt x="96" y="237"/>
                    </a:lnTo>
                    <a:lnTo>
                      <a:pt x="81" y="247"/>
                    </a:lnTo>
                    <a:lnTo>
                      <a:pt x="81" y="242"/>
                    </a:lnTo>
                    <a:lnTo>
                      <a:pt x="71" y="247"/>
                    </a:lnTo>
                    <a:lnTo>
                      <a:pt x="56" y="217"/>
                    </a:lnTo>
                    <a:lnTo>
                      <a:pt x="61" y="212"/>
                    </a:lnTo>
                    <a:lnTo>
                      <a:pt x="61" y="207"/>
                    </a:lnTo>
                    <a:lnTo>
                      <a:pt x="66" y="207"/>
                    </a:lnTo>
                    <a:lnTo>
                      <a:pt x="61" y="202"/>
                    </a:lnTo>
                    <a:lnTo>
                      <a:pt x="56" y="202"/>
                    </a:lnTo>
                    <a:lnTo>
                      <a:pt x="40" y="207"/>
                    </a:lnTo>
                    <a:lnTo>
                      <a:pt x="25" y="172"/>
                    </a:lnTo>
                    <a:lnTo>
                      <a:pt x="15" y="167"/>
                    </a:lnTo>
                    <a:lnTo>
                      <a:pt x="15" y="161"/>
                    </a:lnTo>
                    <a:lnTo>
                      <a:pt x="10" y="151"/>
                    </a:lnTo>
                    <a:lnTo>
                      <a:pt x="5" y="141"/>
                    </a:lnTo>
                    <a:lnTo>
                      <a:pt x="0" y="141"/>
                    </a:lnTo>
                    <a:lnTo>
                      <a:pt x="0" y="136"/>
                    </a:lnTo>
                    <a:lnTo>
                      <a:pt x="5" y="136"/>
                    </a:lnTo>
                    <a:lnTo>
                      <a:pt x="10" y="131"/>
                    </a:lnTo>
                    <a:lnTo>
                      <a:pt x="15" y="126"/>
                    </a:lnTo>
                    <a:lnTo>
                      <a:pt x="20" y="126"/>
                    </a:lnTo>
                    <a:lnTo>
                      <a:pt x="25" y="121"/>
                    </a:lnTo>
                    <a:lnTo>
                      <a:pt x="20" y="116"/>
                    </a:lnTo>
                    <a:lnTo>
                      <a:pt x="15" y="121"/>
                    </a:lnTo>
                    <a:lnTo>
                      <a:pt x="15" y="116"/>
                    </a:lnTo>
                    <a:lnTo>
                      <a:pt x="15" y="111"/>
                    </a:lnTo>
                    <a:lnTo>
                      <a:pt x="20" y="106"/>
                    </a:lnTo>
                    <a:lnTo>
                      <a:pt x="25" y="106"/>
                    </a:lnTo>
                    <a:lnTo>
                      <a:pt x="30" y="106"/>
                    </a:lnTo>
                    <a:lnTo>
                      <a:pt x="35" y="106"/>
                    </a:lnTo>
                    <a:lnTo>
                      <a:pt x="35" y="101"/>
                    </a:lnTo>
                    <a:lnTo>
                      <a:pt x="40" y="101"/>
                    </a:lnTo>
                    <a:lnTo>
                      <a:pt x="46" y="101"/>
                    </a:lnTo>
                    <a:lnTo>
                      <a:pt x="46" y="96"/>
                    </a:lnTo>
                    <a:lnTo>
                      <a:pt x="56" y="96"/>
                    </a:lnTo>
                    <a:lnTo>
                      <a:pt x="61" y="96"/>
                    </a:lnTo>
                    <a:lnTo>
                      <a:pt x="66" y="96"/>
                    </a:lnTo>
                    <a:lnTo>
                      <a:pt x="71" y="91"/>
                    </a:lnTo>
                    <a:lnTo>
                      <a:pt x="71" y="86"/>
                    </a:lnTo>
                    <a:lnTo>
                      <a:pt x="76" y="86"/>
                    </a:lnTo>
                    <a:lnTo>
                      <a:pt x="81" y="81"/>
                    </a:lnTo>
                    <a:lnTo>
                      <a:pt x="91" y="76"/>
                    </a:lnTo>
                    <a:lnTo>
                      <a:pt x="96" y="86"/>
                    </a:lnTo>
                    <a:lnTo>
                      <a:pt x="101" y="86"/>
                    </a:lnTo>
                    <a:lnTo>
                      <a:pt x="101" y="81"/>
                    </a:lnTo>
                    <a:lnTo>
                      <a:pt x="106" y="81"/>
                    </a:lnTo>
                    <a:lnTo>
                      <a:pt x="106" y="86"/>
                    </a:lnTo>
                    <a:lnTo>
                      <a:pt x="111" y="81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6" y="71"/>
                    </a:lnTo>
                    <a:lnTo>
                      <a:pt x="131" y="71"/>
                    </a:lnTo>
                    <a:lnTo>
                      <a:pt x="126" y="61"/>
                    </a:lnTo>
                    <a:lnTo>
                      <a:pt x="126" y="56"/>
                    </a:lnTo>
                    <a:lnTo>
                      <a:pt x="136" y="51"/>
                    </a:lnTo>
                    <a:lnTo>
                      <a:pt x="136" y="61"/>
                    </a:lnTo>
                    <a:lnTo>
                      <a:pt x="146" y="56"/>
                    </a:lnTo>
                    <a:lnTo>
                      <a:pt x="156" y="56"/>
                    </a:lnTo>
                    <a:lnTo>
                      <a:pt x="166" y="61"/>
                    </a:lnTo>
                    <a:lnTo>
                      <a:pt x="172" y="61"/>
                    </a:lnTo>
                    <a:lnTo>
                      <a:pt x="177" y="71"/>
                    </a:lnTo>
                    <a:lnTo>
                      <a:pt x="182" y="71"/>
                    </a:lnTo>
                    <a:lnTo>
                      <a:pt x="187" y="66"/>
                    </a:lnTo>
                    <a:lnTo>
                      <a:pt x="192" y="61"/>
                    </a:lnTo>
                    <a:lnTo>
                      <a:pt x="192" y="71"/>
                    </a:lnTo>
                    <a:lnTo>
                      <a:pt x="197" y="71"/>
                    </a:lnTo>
                    <a:lnTo>
                      <a:pt x="202" y="66"/>
                    </a:lnTo>
                    <a:lnTo>
                      <a:pt x="202" y="61"/>
                    </a:lnTo>
                    <a:lnTo>
                      <a:pt x="207" y="66"/>
                    </a:lnTo>
                    <a:lnTo>
                      <a:pt x="212" y="66"/>
                    </a:lnTo>
                    <a:lnTo>
                      <a:pt x="212" y="61"/>
                    </a:lnTo>
                    <a:lnTo>
                      <a:pt x="217" y="61"/>
                    </a:lnTo>
                    <a:lnTo>
                      <a:pt x="222" y="56"/>
                    </a:lnTo>
                    <a:lnTo>
                      <a:pt x="227" y="71"/>
                    </a:lnTo>
                    <a:lnTo>
                      <a:pt x="222" y="71"/>
                    </a:lnTo>
                    <a:lnTo>
                      <a:pt x="222" y="76"/>
                    </a:lnTo>
                    <a:lnTo>
                      <a:pt x="227" y="76"/>
                    </a:lnTo>
                    <a:lnTo>
                      <a:pt x="227" y="71"/>
                    </a:lnTo>
                    <a:lnTo>
                      <a:pt x="237" y="71"/>
                    </a:lnTo>
                    <a:lnTo>
                      <a:pt x="232" y="61"/>
                    </a:lnTo>
                    <a:lnTo>
                      <a:pt x="237" y="61"/>
                    </a:lnTo>
                    <a:lnTo>
                      <a:pt x="237" y="56"/>
                    </a:lnTo>
                    <a:lnTo>
                      <a:pt x="247" y="51"/>
                    </a:lnTo>
                    <a:lnTo>
                      <a:pt x="247" y="56"/>
                    </a:lnTo>
                    <a:lnTo>
                      <a:pt x="257" y="51"/>
                    </a:lnTo>
                    <a:lnTo>
                      <a:pt x="257" y="56"/>
                    </a:lnTo>
                    <a:lnTo>
                      <a:pt x="272" y="51"/>
                    </a:lnTo>
                    <a:lnTo>
                      <a:pt x="277" y="66"/>
                    </a:lnTo>
                    <a:lnTo>
                      <a:pt x="272" y="71"/>
                    </a:lnTo>
                    <a:lnTo>
                      <a:pt x="277" y="91"/>
                    </a:lnTo>
                    <a:lnTo>
                      <a:pt x="298" y="86"/>
                    </a:lnTo>
                    <a:lnTo>
                      <a:pt x="298" y="96"/>
                    </a:lnTo>
                    <a:lnTo>
                      <a:pt x="303" y="91"/>
                    </a:lnTo>
                    <a:lnTo>
                      <a:pt x="308" y="101"/>
                    </a:lnTo>
                    <a:lnTo>
                      <a:pt x="308" y="106"/>
                    </a:lnTo>
                    <a:lnTo>
                      <a:pt x="308" y="111"/>
                    </a:lnTo>
                    <a:lnTo>
                      <a:pt x="308" y="116"/>
                    </a:lnTo>
                    <a:lnTo>
                      <a:pt x="313" y="116"/>
                    </a:lnTo>
                    <a:lnTo>
                      <a:pt x="313" y="121"/>
                    </a:lnTo>
                    <a:lnTo>
                      <a:pt x="303" y="126"/>
                    </a:lnTo>
                    <a:lnTo>
                      <a:pt x="308" y="131"/>
                    </a:lnTo>
                    <a:lnTo>
                      <a:pt x="308" y="136"/>
                    </a:lnTo>
                    <a:lnTo>
                      <a:pt x="318" y="131"/>
                    </a:lnTo>
                    <a:lnTo>
                      <a:pt x="318" y="126"/>
                    </a:lnTo>
                    <a:lnTo>
                      <a:pt x="328" y="121"/>
                    </a:lnTo>
                    <a:lnTo>
                      <a:pt x="328" y="116"/>
                    </a:lnTo>
                    <a:lnTo>
                      <a:pt x="338" y="111"/>
                    </a:lnTo>
                    <a:lnTo>
                      <a:pt x="343" y="111"/>
                    </a:lnTo>
                    <a:lnTo>
                      <a:pt x="348" y="116"/>
                    </a:lnTo>
                    <a:lnTo>
                      <a:pt x="353" y="116"/>
                    </a:lnTo>
                    <a:lnTo>
                      <a:pt x="358" y="126"/>
                    </a:lnTo>
                    <a:lnTo>
                      <a:pt x="368" y="116"/>
                    </a:lnTo>
                    <a:lnTo>
                      <a:pt x="368" y="121"/>
                    </a:lnTo>
                    <a:lnTo>
                      <a:pt x="373" y="116"/>
                    </a:lnTo>
                    <a:lnTo>
                      <a:pt x="378" y="116"/>
                    </a:lnTo>
                    <a:lnTo>
                      <a:pt x="373" y="106"/>
                    </a:lnTo>
                    <a:lnTo>
                      <a:pt x="373" y="101"/>
                    </a:lnTo>
                    <a:lnTo>
                      <a:pt x="383" y="96"/>
                    </a:lnTo>
                    <a:lnTo>
                      <a:pt x="388" y="96"/>
                    </a:lnTo>
                    <a:lnTo>
                      <a:pt x="393" y="101"/>
                    </a:lnTo>
                    <a:lnTo>
                      <a:pt x="398" y="101"/>
                    </a:lnTo>
                    <a:lnTo>
                      <a:pt x="403" y="101"/>
                    </a:lnTo>
                    <a:lnTo>
                      <a:pt x="408" y="96"/>
                    </a:lnTo>
                    <a:lnTo>
                      <a:pt x="424" y="91"/>
                    </a:lnTo>
                    <a:lnTo>
                      <a:pt x="444" y="81"/>
                    </a:lnTo>
                    <a:lnTo>
                      <a:pt x="444" y="76"/>
                    </a:lnTo>
                    <a:lnTo>
                      <a:pt x="449" y="66"/>
                    </a:lnTo>
                    <a:lnTo>
                      <a:pt x="444" y="61"/>
                    </a:lnTo>
                    <a:lnTo>
                      <a:pt x="449" y="61"/>
                    </a:lnTo>
                    <a:lnTo>
                      <a:pt x="444" y="51"/>
                    </a:lnTo>
                    <a:lnTo>
                      <a:pt x="439" y="51"/>
                    </a:lnTo>
                    <a:lnTo>
                      <a:pt x="444" y="46"/>
                    </a:lnTo>
                    <a:lnTo>
                      <a:pt x="449" y="46"/>
                    </a:lnTo>
                    <a:lnTo>
                      <a:pt x="454" y="41"/>
                    </a:lnTo>
                    <a:lnTo>
                      <a:pt x="454" y="36"/>
                    </a:lnTo>
                    <a:lnTo>
                      <a:pt x="444" y="41"/>
                    </a:lnTo>
                    <a:lnTo>
                      <a:pt x="439" y="30"/>
                    </a:lnTo>
                    <a:lnTo>
                      <a:pt x="454" y="25"/>
                    </a:lnTo>
                    <a:lnTo>
                      <a:pt x="459" y="25"/>
                    </a:lnTo>
                    <a:lnTo>
                      <a:pt x="459" y="30"/>
                    </a:lnTo>
                    <a:lnTo>
                      <a:pt x="464" y="25"/>
                    </a:lnTo>
                    <a:lnTo>
                      <a:pt x="479" y="20"/>
                    </a:lnTo>
                    <a:lnTo>
                      <a:pt x="469" y="10"/>
                    </a:lnTo>
                    <a:lnTo>
                      <a:pt x="464" y="5"/>
                    </a:lnTo>
                    <a:lnTo>
                      <a:pt x="469" y="5"/>
                    </a:lnTo>
                    <a:lnTo>
                      <a:pt x="469" y="10"/>
                    </a:lnTo>
                    <a:lnTo>
                      <a:pt x="479" y="5"/>
                    </a:lnTo>
                    <a:lnTo>
                      <a:pt x="484" y="0"/>
                    </a:lnTo>
                    <a:lnTo>
                      <a:pt x="494" y="15"/>
                    </a:lnTo>
                    <a:lnTo>
                      <a:pt x="489" y="15"/>
                    </a:lnTo>
                    <a:lnTo>
                      <a:pt x="499" y="20"/>
                    </a:lnTo>
                    <a:lnTo>
                      <a:pt x="499" y="25"/>
                    </a:lnTo>
                    <a:lnTo>
                      <a:pt x="499" y="30"/>
                    </a:lnTo>
                    <a:lnTo>
                      <a:pt x="504" y="30"/>
                    </a:lnTo>
                    <a:lnTo>
                      <a:pt x="514" y="30"/>
                    </a:lnTo>
                    <a:lnTo>
                      <a:pt x="519" y="36"/>
                    </a:lnTo>
                    <a:lnTo>
                      <a:pt x="514" y="36"/>
                    </a:lnTo>
                    <a:lnTo>
                      <a:pt x="514" y="41"/>
                    </a:lnTo>
                    <a:lnTo>
                      <a:pt x="519" y="51"/>
                    </a:lnTo>
                    <a:lnTo>
                      <a:pt x="514" y="51"/>
                    </a:lnTo>
                    <a:lnTo>
                      <a:pt x="519" y="61"/>
                    </a:lnTo>
                    <a:lnTo>
                      <a:pt x="519" y="66"/>
                    </a:lnTo>
                    <a:lnTo>
                      <a:pt x="519" y="71"/>
                    </a:lnTo>
                    <a:lnTo>
                      <a:pt x="524" y="71"/>
                    </a:lnTo>
                    <a:lnTo>
                      <a:pt x="519" y="76"/>
                    </a:lnTo>
                    <a:lnTo>
                      <a:pt x="514" y="81"/>
                    </a:lnTo>
                    <a:lnTo>
                      <a:pt x="509" y="81"/>
                    </a:lnTo>
                    <a:lnTo>
                      <a:pt x="519" y="96"/>
                    </a:lnTo>
                    <a:lnTo>
                      <a:pt x="524" y="111"/>
                    </a:lnTo>
                    <a:lnTo>
                      <a:pt x="519" y="111"/>
                    </a:lnTo>
                    <a:lnTo>
                      <a:pt x="519" y="116"/>
                    </a:lnTo>
                    <a:lnTo>
                      <a:pt x="544" y="106"/>
                    </a:lnTo>
                    <a:lnTo>
                      <a:pt x="544" y="111"/>
                    </a:lnTo>
                    <a:lnTo>
                      <a:pt x="544" y="116"/>
                    </a:lnTo>
                    <a:lnTo>
                      <a:pt x="544" y="126"/>
                    </a:lnTo>
                    <a:lnTo>
                      <a:pt x="550" y="126"/>
                    </a:lnTo>
                    <a:lnTo>
                      <a:pt x="555" y="121"/>
                    </a:lnTo>
                    <a:lnTo>
                      <a:pt x="560" y="126"/>
                    </a:lnTo>
                    <a:lnTo>
                      <a:pt x="555" y="131"/>
                    </a:lnTo>
                    <a:lnTo>
                      <a:pt x="560" y="136"/>
                    </a:lnTo>
                    <a:lnTo>
                      <a:pt x="565" y="151"/>
                    </a:lnTo>
                    <a:lnTo>
                      <a:pt x="555" y="156"/>
                    </a:lnTo>
                    <a:lnTo>
                      <a:pt x="550" y="141"/>
                    </a:lnTo>
                    <a:lnTo>
                      <a:pt x="544" y="141"/>
                    </a:lnTo>
                    <a:lnTo>
                      <a:pt x="550" y="151"/>
                    </a:lnTo>
                    <a:lnTo>
                      <a:pt x="544" y="151"/>
                    </a:lnTo>
                    <a:lnTo>
                      <a:pt x="550" y="167"/>
                    </a:lnTo>
                    <a:lnTo>
                      <a:pt x="565" y="161"/>
                    </a:lnTo>
                    <a:lnTo>
                      <a:pt x="570" y="172"/>
                    </a:lnTo>
                    <a:lnTo>
                      <a:pt x="565" y="177"/>
                    </a:lnTo>
                    <a:lnTo>
                      <a:pt x="570" y="182"/>
                    </a:lnTo>
                    <a:lnTo>
                      <a:pt x="570" y="187"/>
                    </a:lnTo>
                    <a:lnTo>
                      <a:pt x="575" y="187"/>
                    </a:lnTo>
                    <a:lnTo>
                      <a:pt x="580" y="192"/>
                    </a:lnTo>
                    <a:lnTo>
                      <a:pt x="590" y="197"/>
                    </a:lnTo>
                    <a:lnTo>
                      <a:pt x="580" y="202"/>
                    </a:lnTo>
                    <a:lnTo>
                      <a:pt x="585" y="207"/>
                    </a:lnTo>
                    <a:lnTo>
                      <a:pt x="585" y="212"/>
                    </a:lnTo>
                    <a:lnTo>
                      <a:pt x="580" y="212"/>
                    </a:lnTo>
                    <a:lnTo>
                      <a:pt x="580" y="207"/>
                    </a:lnTo>
                    <a:lnTo>
                      <a:pt x="575" y="207"/>
                    </a:lnTo>
                    <a:lnTo>
                      <a:pt x="570" y="212"/>
                    </a:lnTo>
                    <a:lnTo>
                      <a:pt x="570" y="217"/>
                    </a:lnTo>
                    <a:lnTo>
                      <a:pt x="570" y="222"/>
                    </a:lnTo>
                    <a:lnTo>
                      <a:pt x="565" y="222"/>
                    </a:lnTo>
                    <a:lnTo>
                      <a:pt x="560" y="217"/>
                    </a:lnTo>
                    <a:lnTo>
                      <a:pt x="555" y="217"/>
                    </a:lnTo>
                    <a:lnTo>
                      <a:pt x="555" y="227"/>
                    </a:lnTo>
                    <a:lnTo>
                      <a:pt x="555" y="232"/>
                    </a:lnTo>
                    <a:lnTo>
                      <a:pt x="550" y="237"/>
                    </a:lnTo>
                    <a:lnTo>
                      <a:pt x="550" y="242"/>
                    </a:lnTo>
                    <a:lnTo>
                      <a:pt x="555" y="247"/>
                    </a:lnTo>
                    <a:lnTo>
                      <a:pt x="585" y="257"/>
                    </a:lnTo>
                    <a:lnTo>
                      <a:pt x="585" y="272"/>
                    </a:lnTo>
                    <a:lnTo>
                      <a:pt x="570" y="267"/>
                    </a:lnTo>
                    <a:lnTo>
                      <a:pt x="565" y="277"/>
                    </a:lnTo>
                    <a:lnTo>
                      <a:pt x="570" y="277"/>
                    </a:lnTo>
                    <a:lnTo>
                      <a:pt x="570" y="282"/>
                    </a:lnTo>
                    <a:lnTo>
                      <a:pt x="575" y="282"/>
                    </a:lnTo>
                    <a:lnTo>
                      <a:pt x="580" y="287"/>
                    </a:lnTo>
                    <a:lnTo>
                      <a:pt x="570" y="287"/>
                    </a:lnTo>
                    <a:lnTo>
                      <a:pt x="575" y="292"/>
                    </a:lnTo>
                    <a:lnTo>
                      <a:pt x="560" y="303"/>
                    </a:lnTo>
                    <a:lnTo>
                      <a:pt x="555" y="308"/>
                    </a:lnTo>
                    <a:lnTo>
                      <a:pt x="560" y="308"/>
                    </a:lnTo>
                    <a:lnTo>
                      <a:pt x="570" y="303"/>
                    </a:lnTo>
                    <a:lnTo>
                      <a:pt x="575" y="308"/>
                    </a:lnTo>
                    <a:lnTo>
                      <a:pt x="580" y="308"/>
                    </a:lnTo>
                    <a:lnTo>
                      <a:pt x="585" y="308"/>
                    </a:lnTo>
                    <a:lnTo>
                      <a:pt x="575" y="313"/>
                    </a:lnTo>
                    <a:lnTo>
                      <a:pt x="560" y="318"/>
                    </a:lnTo>
                    <a:lnTo>
                      <a:pt x="555" y="323"/>
                    </a:lnTo>
                    <a:lnTo>
                      <a:pt x="555" y="328"/>
                    </a:lnTo>
                    <a:lnTo>
                      <a:pt x="550" y="328"/>
                    </a:lnTo>
                    <a:lnTo>
                      <a:pt x="544" y="328"/>
                    </a:lnTo>
                    <a:lnTo>
                      <a:pt x="539" y="333"/>
                    </a:lnTo>
                    <a:lnTo>
                      <a:pt x="534" y="323"/>
                    </a:lnTo>
                    <a:lnTo>
                      <a:pt x="529" y="328"/>
                    </a:lnTo>
                    <a:lnTo>
                      <a:pt x="519" y="328"/>
                    </a:lnTo>
                    <a:lnTo>
                      <a:pt x="514" y="323"/>
                    </a:lnTo>
                    <a:lnTo>
                      <a:pt x="504" y="323"/>
                    </a:lnTo>
                    <a:lnTo>
                      <a:pt x="509" y="343"/>
                    </a:lnTo>
                    <a:lnTo>
                      <a:pt x="499" y="343"/>
                    </a:lnTo>
                    <a:lnTo>
                      <a:pt x="494" y="338"/>
                    </a:lnTo>
                    <a:lnTo>
                      <a:pt x="479" y="348"/>
                    </a:lnTo>
                    <a:lnTo>
                      <a:pt x="484" y="353"/>
                    </a:lnTo>
                    <a:lnTo>
                      <a:pt x="484" y="358"/>
                    </a:lnTo>
                    <a:lnTo>
                      <a:pt x="454" y="353"/>
                    </a:lnTo>
                    <a:lnTo>
                      <a:pt x="459" y="353"/>
                    </a:lnTo>
                    <a:lnTo>
                      <a:pt x="459" y="358"/>
                    </a:lnTo>
                    <a:lnTo>
                      <a:pt x="454" y="358"/>
                    </a:lnTo>
                    <a:lnTo>
                      <a:pt x="459" y="368"/>
                    </a:lnTo>
                    <a:lnTo>
                      <a:pt x="449" y="373"/>
                    </a:lnTo>
                    <a:lnTo>
                      <a:pt x="449" y="378"/>
                    </a:lnTo>
                    <a:lnTo>
                      <a:pt x="444" y="383"/>
                    </a:lnTo>
                    <a:lnTo>
                      <a:pt x="434" y="383"/>
                    </a:lnTo>
                    <a:lnTo>
                      <a:pt x="434" y="388"/>
                    </a:lnTo>
                    <a:lnTo>
                      <a:pt x="439" y="388"/>
                    </a:lnTo>
                    <a:lnTo>
                      <a:pt x="439" y="403"/>
                    </a:lnTo>
                    <a:lnTo>
                      <a:pt x="434" y="408"/>
                    </a:lnTo>
                    <a:lnTo>
                      <a:pt x="429" y="413"/>
                    </a:lnTo>
                    <a:lnTo>
                      <a:pt x="424" y="413"/>
                    </a:lnTo>
                    <a:close/>
                    <a:moveTo>
                      <a:pt x="408" y="469"/>
                    </a:moveTo>
                    <a:lnTo>
                      <a:pt x="403" y="469"/>
                    </a:lnTo>
                    <a:lnTo>
                      <a:pt x="398" y="469"/>
                    </a:lnTo>
                    <a:lnTo>
                      <a:pt x="393" y="474"/>
                    </a:lnTo>
                    <a:lnTo>
                      <a:pt x="393" y="479"/>
                    </a:lnTo>
                    <a:lnTo>
                      <a:pt x="388" y="479"/>
                    </a:lnTo>
                    <a:lnTo>
                      <a:pt x="388" y="484"/>
                    </a:lnTo>
                    <a:lnTo>
                      <a:pt x="393" y="484"/>
                    </a:lnTo>
                    <a:lnTo>
                      <a:pt x="393" y="489"/>
                    </a:lnTo>
                    <a:lnTo>
                      <a:pt x="388" y="484"/>
                    </a:lnTo>
                    <a:lnTo>
                      <a:pt x="378" y="479"/>
                    </a:lnTo>
                    <a:lnTo>
                      <a:pt x="373" y="474"/>
                    </a:lnTo>
                    <a:lnTo>
                      <a:pt x="368" y="474"/>
                    </a:lnTo>
                    <a:lnTo>
                      <a:pt x="358" y="469"/>
                    </a:lnTo>
                    <a:lnTo>
                      <a:pt x="353" y="469"/>
                    </a:lnTo>
                    <a:lnTo>
                      <a:pt x="353" y="464"/>
                    </a:lnTo>
                    <a:lnTo>
                      <a:pt x="348" y="464"/>
                    </a:lnTo>
                    <a:lnTo>
                      <a:pt x="353" y="464"/>
                    </a:lnTo>
                    <a:lnTo>
                      <a:pt x="358" y="469"/>
                    </a:lnTo>
                    <a:lnTo>
                      <a:pt x="363" y="469"/>
                    </a:lnTo>
                    <a:lnTo>
                      <a:pt x="368" y="464"/>
                    </a:lnTo>
                    <a:lnTo>
                      <a:pt x="373" y="464"/>
                    </a:lnTo>
                    <a:lnTo>
                      <a:pt x="378" y="464"/>
                    </a:lnTo>
                    <a:lnTo>
                      <a:pt x="383" y="459"/>
                    </a:lnTo>
                    <a:lnTo>
                      <a:pt x="388" y="459"/>
                    </a:lnTo>
                    <a:lnTo>
                      <a:pt x="388" y="454"/>
                    </a:lnTo>
                    <a:lnTo>
                      <a:pt x="393" y="454"/>
                    </a:lnTo>
                    <a:lnTo>
                      <a:pt x="398" y="454"/>
                    </a:lnTo>
                    <a:lnTo>
                      <a:pt x="403" y="459"/>
                    </a:lnTo>
                    <a:lnTo>
                      <a:pt x="408" y="459"/>
                    </a:lnTo>
                    <a:lnTo>
                      <a:pt x="408" y="454"/>
                    </a:lnTo>
                    <a:lnTo>
                      <a:pt x="413" y="454"/>
                    </a:lnTo>
                    <a:lnTo>
                      <a:pt x="413" y="459"/>
                    </a:lnTo>
                    <a:lnTo>
                      <a:pt x="413" y="464"/>
                    </a:lnTo>
                    <a:lnTo>
                      <a:pt x="408" y="464"/>
                    </a:lnTo>
                    <a:lnTo>
                      <a:pt x="408" y="469"/>
                    </a:lnTo>
                    <a:close/>
                    <a:moveTo>
                      <a:pt x="403" y="494"/>
                    </a:moveTo>
                    <a:lnTo>
                      <a:pt x="398" y="489"/>
                    </a:lnTo>
                    <a:lnTo>
                      <a:pt x="403" y="489"/>
                    </a:lnTo>
                    <a:lnTo>
                      <a:pt x="403" y="494"/>
                    </a:lnTo>
                    <a:lnTo>
                      <a:pt x="408" y="494"/>
                    </a:lnTo>
                    <a:lnTo>
                      <a:pt x="408" y="499"/>
                    </a:lnTo>
                    <a:lnTo>
                      <a:pt x="403" y="499"/>
                    </a:lnTo>
                    <a:lnTo>
                      <a:pt x="403" y="494"/>
                    </a:lnTo>
                    <a:lnTo>
                      <a:pt x="403" y="499"/>
                    </a:lnTo>
                    <a:lnTo>
                      <a:pt x="403" y="494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567">
                <a:extLst>
                  <a:ext uri="{FF2B5EF4-FFF2-40B4-BE49-F238E27FC236}">
                    <a16:creationId xmlns:a16="http://schemas.microsoft.com/office/drawing/2014/main" id="{3508C579-AA2D-B04F-9AB9-E10ACC5EAE2A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2207032" y="3480274"/>
                <a:ext cx="808615" cy="1268425"/>
              </a:xfrm>
              <a:custGeom>
                <a:avLst/>
                <a:gdLst>
                  <a:gd name="T0" fmla="*/ 2147483647 w 519"/>
                  <a:gd name="T1" fmla="*/ 2147483647 h 852"/>
                  <a:gd name="T2" fmla="*/ 2147483647 w 519"/>
                  <a:gd name="T3" fmla="*/ 2147483647 h 852"/>
                  <a:gd name="T4" fmla="*/ 2147483647 w 519"/>
                  <a:gd name="T5" fmla="*/ 2147483647 h 852"/>
                  <a:gd name="T6" fmla="*/ 2147483647 w 519"/>
                  <a:gd name="T7" fmla="*/ 2147483647 h 852"/>
                  <a:gd name="T8" fmla="*/ 2147483647 w 519"/>
                  <a:gd name="T9" fmla="*/ 2147483647 h 852"/>
                  <a:gd name="T10" fmla="*/ 2147483647 w 519"/>
                  <a:gd name="T11" fmla="*/ 2147483647 h 852"/>
                  <a:gd name="T12" fmla="*/ 2147483647 w 519"/>
                  <a:gd name="T13" fmla="*/ 2147483647 h 852"/>
                  <a:gd name="T14" fmla="*/ 2147483647 w 519"/>
                  <a:gd name="T15" fmla="*/ 2147483647 h 852"/>
                  <a:gd name="T16" fmla="*/ 2147483647 w 519"/>
                  <a:gd name="T17" fmla="*/ 2147483647 h 852"/>
                  <a:gd name="T18" fmla="*/ 2147483647 w 519"/>
                  <a:gd name="T19" fmla="*/ 2147483647 h 852"/>
                  <a:gd name="T20" fmla="*/ 2147483647 w 519"/>
                  <a:gd name="T21" fmla="*/ 2147483647 h 852"/>
                  <a:gd name="T22" fmla="*/ 2147483647 w 519"/>
                  <a:gd name="T23" fmla="*/ 2147483647 h 852"/>
                  <a:gd name="T24" fmla="*/ 2147483647 w 519"/>
                  <a:gd name="T25" fmla="*/ 2147483647 h 852"/>
                  <a:gd name="T26" fmla="*/ 2147483647 w 519"/>
                  <a:gd name="T27" fmla="*/ 2147483647 h 852"/>
                  <a:gd name="T28" fmla="*/ 2147483647 w 519"/>
                  <a:gd name="T29" fmla="*/ 2147483647 h 852"/>
                  <a:gd name="T30" fmla="*/ 2147483647 w 519"/>
                  <a:gd name="T31" fmla="*/ 2147483647 h 852"/>
                  <a:gd name="T32" fmla="*/ 2147483647 w 519"/>
                  <a:gd name="T33" fmla="*/ 2147483647 h 852"/>
                  <a:gd name="T34" fmla="*/ 2147483647 w 519"/>
                  <a:gd name="T35" fmla="*/ 2147483647 h 852"/>
                  <a:gd name="T36" fmla="*/ 2147483647 w 519"/>
                  <a:gd name="T37" fmla="*/ 2147483647 h 852"/>
                  <a:gd name="T38" fmla="*/ 2147483647 w 519"/>
                  <a:gd name="T39" fmla="*/ 2147483647 h 852"/>
                  <a:gd name="T40" fmla="*/ 2147483647 w 519"/>
                  <a:gd name="T41" fmla="*/ 2147483647 h 852"/>
                  <a:gd name="T42" fmla="*/ 2147483647 w 519"/>
                  <a:gd name="T43" fmla="*/ 2147483647 h 852"/>
                  <a:gd name="T44" fmla="*/ 2147483647 w 519"/>
                  <a:gd name="T45" fmla="*/ 2147483647 h 852"/>
                  <a:gd name="T46" fmla="*/ 2147483647 w 519"/>
                  <a:gd name="T47" fmla="*/ 2147483647 h 852"/>
                  <a:gd name="T48" fmla="*/ 2147483647 w 519"/>
                  <a:gd name="T49" fmla="*/ 2147483647 h 852"/>
                  <a:gd name="T50" fmla="*/ 2147483647 w 519"/>
                  <a:gd name="T51" fmla="*/ 2147483647 h 852"/>
                  <a:gd name="T52" fmla="*/ 2147483647 w 519"/>
                  <a:gd name="T53" fmla="*/ 2147483647 h 852"/>
                  <a:gd name="T54" fmla="*/ 2147483647 w 519"/>
                  <a:gd name="T55" fmla="*/ 2147483647 h 852"/>
                  <a:gd name="T56" fmla="*/ 2147483647 w 519"/>
                  <a:gd name="T57" fmla="*/ 2147483647 h 852"/>
                  <a:gd name="T58" fmla="*/ 2147483647 w 519"/>
                  <a:gd name="T59" fmla="*/ 2147483647 h 852"/>
                  <a:gd name="T60" fmla="*/ 2147483647 w 519"/>
                  <a:gd name="T61" fmla="*/ 2147483647 h 852"/>
                  <a:gd name="T62" fmla="*/ 2147483647 w 519"/>
                  <a:gd name="T63" fmla="*/ 2147483647 h 852"/>
                  <a:gd name="T64" fmla="*/ 2147483647 w 519"/>
                  <a:gd name="T65" fmla="*/ 2147483647 h 852"/>
                  <a:gd name="T66" fmla="*/ 2147483647 w 519"/>
                  <a:gd name="T67" fmla="*/ 2147483647 h 852"/>
                  <a:gd name="T68" fmla="*/ 2147483647 w 519"/>
                  <a:gd name="T69" fmla="*/ 2147483647 h 852"/>
                  <a:gd name="T70" fmla="*/ 2147483647 w 519"/>
                  <a:gd name="T71" fmla="*/ 2147483647 h 852"/>
                  <a:gd name="T72" fmla="*/ 2147483647 w 519"/>
                  <a:gd name="T73" fmla="*/ 2147483647 h 852"/>
                  <a:gd name="T74" fmla="*/ 2147483647 w 519"/>
                  <a:gd name="T75" fmla="*/ 2147483647 h 852"/>
                  <a:gd name="T76" fmla="*/ 2147483647 w 519"/>
                  <a:gd name="T77" fmla="*/ 2147483647 h 852"/>
                  <a:gd name="T78" fmla="*/ 2147483647 w 519"/>
                  <a:gd name="T79" fmla="*/ 2147483647 h 852"/>
                  <a:gd name="T80" fmla="*/ 2147483647 w 519"/>
                  <a:gd name="T81" fmla="*/ 2147483647 h 852"/>
                  <a:gd name="T82" fmla="*/ 2147483647 w 519"/>
                  <a:gd name="T83" fmla="*/ 2147483647 h 852"/>
                  <a:gd name="T84" fmla="*/ 2147483647 w 519"/>
                  <a:gd name="T85" fmla="*/ 2147483647 h 852"/>
                  <a:gd name="T86" fmla="*/ 2147483647 w 519"/>
                  <a:gd name="T87" fmla="*/ 2147483647 h 852"/>
                  <a:gd name="T88" fmla="*/ 2147483647 w 519"/>
                  <a:gd name="T89" fmla="*/ 2147483647 h 852"/>
                  <a:gd name="T90" fmla="*/ 2147483647 w 519"/>
                  <a:gd name="T91" fmla="*/ 2147483647 h 852"/>
                  <a:gd name="T92" fmla="*/ 2147483647 w 519"/>
                  <a:gd name="T93" fmla="*/ 2147483647 h 852"/>
                  <a:gd name="T94" fmla="*/ 2147483647 w 519"/>
                  <a:gd name="T95" fmla="*/ 2147483647 h 852"/>
                  <a:gd name="T96" fmla="*/ 2147483647 w 519"/>
                  <a:gd name="T97" fmla="*/ 2147483647 h 852"/>
                  <a:gd name="T98" fmla="*/ 2147483647 w 519"/>
                  <a:gd name="T99" fmla="*/ 2147483647 h 852"/>
                  <a:gd name="T100" fmla="*/ 2147483647 w 519"/>
                  <a:gd name="T101" fmla="*/ 2147483647 h 852"/>
                  <a:gd name="T102" fmla="*/ 2147483647 w 519"/>
                  <a:gd name="T103" fmla="*/ 2147483647 h 852"/>
                  <a:gd name="T104" fmla="*/ 2147483647 w 519"/>
                  <a:gd name="T105" fmla="*/ 2147483647 h 852"/>
                  <a:gd name="T106" fmla="*/ 2147483647 w 519"/>
                  <a:gd name="T107" fmla="*/ 2147483647 h 852"/>
                  <a:gd name="T108" fmla="*/ 2147483647 w 519"/>
                  <a:gd name="T109" fmla="*/ 2147483647 h 852"/>
                  <a:gd name="T110" fmla="*/ 2147483647 w 519"/>
                  <a:gd name="T111" fmla="*/ 2147483647 h 852"/>
                  <a:gd name="T112" fmla="*/ 2147483647 w 519"/>
                  <a:gd name="T113" fmla="*/ 2147483647 h 852"/>
                  <a:gd name="T114" fmla="*/ 2147483647 w 519"/>
                  <a:gd name="T115" fmla="*/ 2147483647 h 852"/>
                  <a:gd name="T116" fmla="*/ 2147483647 w 519"/>
                  <a:gd name="T117" fmla="*/ 2147483647 h 852"/>
                  <a:gd name="T118" fmla="*/ 2147483647 w 519"/>
                  <a:gd name="T119" fmla="*/ 2147483647 h 852"/>
                  <a:gd name="T120" fmla="*/ 2147483647 w 519"/>
                  <a:gd name="T121" fmla="*/ 2147483647 h 852"/>
                  <a:gd name="T122" fmla="*/ 2147483647 w 519"/>
                  <a:gd name="T123" fmla="*/ 2147483647 h 85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19"/>
                  <a:gd name="T187" fmla="*/ 0 h 852"/>
                  <a:gd name="T188" fmla="*/ 519 w 519"/>
                  <a:gd name="T189" fmla="*/ 852 h 85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19" h="852">
                    <a:moveTo>
                      <a:pt x="0" y="91"/>
                    </a:moveTo>
                    <a:lnTo>
                      <a:pt x="5" y="86"/>
                    </a:lnTo>
                    <a:lnTo>
                      <a:pt x="15" y="86"/>
                    </a:lnTo>
                    <a:lnTo>
                      <a:pt x="10" y="81"/>
                    </a:lnTo>
                    <a:lnTo>
                      <a:pt x="15" y="76"/>
                    </a:lnTo>
                    <a:lnTo>
                      <a:pt x="10" y="66"/>
                    </a:lnTo>
                    <a:lnTo>
                      <a:pt x="15" y="66"/>
                    </a:lnTo>
                    <a:lnTo>
                      <a:pt x="20" y="66"/>
                    </a:lnTo>
                    <a:lnTo>
                      <a:pt x="31" y="71"/>
                    </a:lnTo>
                    <a:lnTo>
                      <a:pt x="31" y="61"/>
                    </a:lnTo>
                    <a:lnTo>
                      <a:pt x="25" y="61"/>
                    </a:lnTo>
                    <a:lnTo>
                      <a:pt x="31" y="56"/>
                    </a:lnTo>
                    <a:lnTo>
                      <a:pt x="25" y="56"/>
                    </a:lnTo>
                    <a:lnTo>
                      <a:pt x="25" y="50"/>
                    </a:lnTo>
                    <a:lnTo>
                      <a:pt x="31" y="50"/>
                    </a:lnTo>
                    <a:lnTo>
                      <a:pt x="46" y="56"/>
                    </a:lnTo>
                    <a:lnTo>
                      <a:pt x="46" y="61"/>
                    </a:lnTo>
                    <a:lnTo>
                      <a:pt x="51" y="61"/>
                    </a:lnTo>
                    <a:lnTo>
                      <a:pt x="51" y="56"/>
                    </a:lnTo>
                    <a:lnTo>
                      <a:pt x="56" y="56"/>
                    </a:lnTo>
                    <a:lnTo>
                      <a:pt x="61" y="61"/>
                    </a:lnTo>
                    <a:lnTo>
                      <a:pt x="61" y="56"/>
                    </a:lnTo>
                    <a:lnTo>
                      <a:pt x="66" y="56"/>
                    </a:lnTo>
                    <a:lnTo>
                      <a:pt x="71" y="61"/>
                    </a:lnTo>
                    <a:lnTo>
                      <a:pt x="61" y="66"/>
                    </a:lnTo>
                    <a:lnTo>
                      <a:pt x="66" y="66"/>
                    </a:lnTo>
                    <a:lnTo>
                      <a:pt x="71" y="61"/>
                    </a:lnTo>
                    <a:lnTo>
                      <a:pt x="71" y="66"/>
                    </a:lnTo>
                    <a:lnTo>
                      <a:pt x="76" y="71"/>
                    </a:lnTo>
                    <a:lnTo>
                      <a:pt x="76" y="66"/>
                    </a:lnTo>
                    <a:lnTo>
                      <a:pt x="81" y="66"/>
                    </a:lnTo>
                    <a:lnTo>
                      <a:pt x="86" y="66"/>
                    </a:lnTo>
                    <a:lnTo>
                      <a:pt x="91" y="66"/>
                    </a:lnTo>
                    <a:lnTo>
                      <a:pt x="91" y="61"/>
                    </a:lnTo>
                    <a:lnTo>
                      <a:pt x="96" y="56"/>
                    </a:lnTo>
                    <a:lnTo>
                      <a:pt x="106" y="50"/>
                    </a:lnTo>
                    <a:lnTo>
                      <a:pt x="106" y="56"/>
                    </a:lnTo>
                    <a:lnTo>
                      <a:pt x="111" y="56"/>
                    </a:lnTo>
                    <a:lnTo>
                      <a:pt x="121" y="56"/>
                    </a:lnTo>
                    <a:lnTo>
                      <a:pt x="121" y="50"/>
                    </a:lnTo>
                    <a:lnTo>
                      <a:pt x="126" y="50"/>
                    </a:lnTo>
                    <a:lnTo>
                      <a:pt x="126" y="45"/>
                    </a:lnTo>
                    <a:lnTo>
                      <a:pt x="131" y="45"/>
                    </a:lnTo>
                    <a:lnTo>
                      <a:pt x="131" y="40"/>
                    </a:lnTo>
                    <a:lnTo>
                      <a:pt x="136" y="40"/>
                    </a:lnTo>
                    <a:lnTo>
                      <a:pt x="136" y="45"/>
                    </a:lnTo>
                    <a:lnTo>
                      <a:pt x="141" y="45"/>
                    </a:lnTo>
                    <a:lnTo>
                      <a:pt x="141" y="35"/>
                    </a:lnTo>
                    <a:lnTo>
                      <a:pt x="136" y="30"/>
                    </a:lnTo>
                    <a:lnTo>
                      <a:pt x="136" y="25"/>
                    </a:lnTo>
                    <a:lnTo>
                      <a:pt x="131" y="25"/>
                    </a:lnTo>
                    <a:lnTo>
                      <a:pt x="136" y="20"/>
                    </a:lnTo>
                    <a:lnTo>
                      <a:pt x="141" y="20"/>
                    </a:lnTo>
                    <a:lnTo>
                      <a:pt x="151" y="15"/>
                    </a:lnTo>
                    <a:lnTo>
                      <a:pt x="157" y="15"/>
                    </a:lnTo>
                    <a:lnTo>
                      <a:pt x="167" y="10"/>
                    </a:lnTo>
                    <a:lnTo>
                      <a:pt x="172" y="10"/>
                    </a:lnTo>
                    <a:lnTo>
                      <a:pt x="177" y="15"/>
                    </a:lnTo>
                    <a:lnTo>
                      <a:pt x="177" y="10"/>
                    </a:lnTo>
                    <a:lnTo>
                      <a:pt x="177" y="0"/>
                    </a:lnTo>
                    <a:lnTo>
                      <a:pt x="187" y="0"/>
                    </a:lnTo>
                    <a:lnTo>
                      <a:pt x="192" y="0"/>
                    </a:lnTo>
                    <a:lnTo>
                      <a:pt x="192" y="10"/>
                    </a:lnTo>
                    <a:lnTo>
                      <a:pt x="197" y="10"/>
                    </a:lnTo>
                    <a:lnTo>
                      <a:pt x="202" y="10"/>
                    </a:lnTo>
                    <a:lnTo>
                      <a:pt x="202" y="15"/>
                    </a:lnTo>
                    <a:lnTo>
                      <a:pt x="207" y="15"/>
                    </a:lnTo>
                    <a:lnTo>
                      <a:pt x="212" y="15"/>
                    </a:lnTo>
                    <a:lnTo>
                      <a:pt x="217" y="15"/>
                    </a:lnTo>
                    <a:lnTo>
                      <a:pt x="222" y="10"/>
                    </a:lnTo>
                    <a:lnTo>
                      <a:pt x="227" y="10"/>
                    </a:lnTo>
                    <a:lnTo>
                      <a:pt x="232" y="10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7" y="10"/>
                    </a:lnTo>
                    <a:lnTo>
                      <a:pt x="252" y="5"/>
                    </a:lnTo>
                    <a:lnTo>
                      <a:pt x="252" y="10"/>
                    </a:lnTo>
                    <a:lnTo>
                      <a:pt x="257" y="5"/>
                    </a:lnTo>
                    <a:lnTo>
                      <a:pt x="262" y="10"/>
                    </a:lnTo>
                    <a:lnTo>
                      <a:pt x="257" y="15"/>
                    </a:lnTo>
                    <a:lnTo>
                      <a:pt x="252" y="15"/>
                    </a:lnTo>
                    <a:lnTo>
                      <a:pt x="247" y="20"/>
                    </a:lnTo>
                    <a:lnTo>
                      <a:pt x="242" y="25"/>
                    </a:lnTo>
                    <a:lnTo>
                      <a:pt x="237" y="25"/>
                    </a:lnTo>
                    <a:lnTo>
                      <a:pt x="237" y="30"/>
                    </a:lnTo>
                    <a:lnTo>
                      <a:pt x="242" y="30"/>
                    </a:lnTo>
                    <a:lnTo>
                      <a:pt x="247" y="40"/>
                    </a:lnTo>
                    <a:lnTo>
                      <a:pt x="252" y="50"/>
                    </a:lnTo>
                    <a:lnTo>
                      <a:pt x="252" y="56"/>
                    </a:lnTo>
                    <a:lnTo>
                      <a:pt x="262" y="61"/>
                    </a:lnTo>
                    <a:lnTo>
                      <a:pt x="277" y="96"/>
                    </a:lnTo>
                    <a:lnTo>
                      <a:pt x="293" y="91"/>
                    </a:lnTo>
                    <a:lnTo>
                      <a:pt x="298" y="91"/>
                    </a:lnTo>
                    <a:lnTo>
                      <a:pt x="303" y="96"/>
                    </a:lnTo>
                    <a:lnTo>
                      <a:pt x="298" y="96"/>
                    </a:lnTo>
                    <a:lnTo>
                      <a:pt x="298" y="101"/>
                    </a:lnTo>
                    <a:lnTo>
                      <a:pt x="293" y="106"/>
                    </a:lnTo>
                    <a:lnTo>
                      <a:pt x="308" y="136"/>
                    </a:lnTo>
                    <a:lnTo>
                      <a:pt x="318" y="131"/>
                    </a:lnTo>
                    <a:lnTo>
                      <a:pt x="318" y="136"/>
                    </a:lnTo>
                    <a:lnTo>
                      <a:pt x="333" y="126"/>
                    </a:lnTo>
                    <a:lnTo>
                      <a:pt x="333" y="131"/>
                    </a:lnTo>
                    <a:lnTo>
                      <a:pt x="343" y="126"/>
                    </a:lnTo>
                    <a:lnTo>
                      <a:pt x="353" y="121"/>
                    </a:lnTo>
                    <a:lnTo>
                      <a:pt x="353" y="126"/>
                    </a:lnTo>
                    <a:lnTo>
                      <a:pt x="353" y="131"/>
                    </a:lnTo>
                    <a:lnTo>
                      <a:pt x="358" y="131"/>
                    </a:lnTo>
                    <a:lnTo>
                      <a:pt x="363" y="121"/>
                    </a:lnTo>
                    <a:lnTo>
                      <a:pt x="358" y="121"/>
                    </a:lnTo>
                    <a:lnTo>
                      <a:pt x="368" y="111"/>
                    </a:lnTo>
                    <a:lnTo>
                      <a:pt x="373" y="111"/>
                    </a:lnTo>
                    <a:lnTo>
                      <a:pt x="373" y="116"/>
                    </a:lnTo>
                    <a:lnTo>
                      <a:pt x="373" y="121"/>
                    </a:lnTo>
                    <a:lnTo>
                      <a:pt x="378" y="126"/>
                    </a:lnTo>
                    <a:lnTo>
                      <a:pt x="373" y="126"/>
                    </a:lnTo>
                    <a:lnTo>
                      <a:pt x="373" y="131"/>
                    </a:lnTo>
                    <a:lnTo>
                      <a:pt x="378" y="136"/>
                    </a:lnTo>
                    <a:lnTo>
                      <a:pt x="383" y="131"/>
                    </a:lnTo>
                    <a:lnTo>
                      <a:pt x="383" y="136"/>
                    </a:lnTo>
                    <a:lnTo>
                      <a:pt x="388" y="131"/>
                    </a:lnTo>
                    <a:lnTo>
                      <a:pt x="388" y="136"/>
                    </a:lnTo>
                    <a:lnTo>
                      <a:pt x="393" y="136"/>
                    </a:lnTo>
                    <a:lnTo>
                      <a:pt x="398" y="141"/>
                    </a:lnTo>
                    <a:lnTo>
                      <a:pt x="393" y="146"/>
                    </a:lnTo>
                    <a:lnTo>
                      <a:pt x="398" y="161"/>
                    </a:lnTo>
                    <a:lnTo>
                      <a:pt x="393" y="161"/>
                    </a:lnTo>
                    <a:lnTo>
                      <a:pt x="398" y="166"/>
                    </a:lnTo>
                    <a:lnTo>
                      <a:pt x="409" y="161"/>
                    </a:lnTo>
                    <a:lnTo>
                      <a:pt x="409" y="171"/>
                    </a:lnTo>
                    <a:lnTo>
                      <a:pt x="409" y="176"/>
                    </a:lnTo>
                    <a:lnTo>
                      <a:pt x="414" y="181"/>
                    </a:lnTo>
                    <a:lnTo>
                      <a:pt x="414" y="176"/>
                    </a:lnTo>
                    <a:lnTo>
                      <a:pt x="419" y="181"/>
                    </a:lnTo>
                    <a:lnTo>
                      <a:pt x="414" y="181"/>
                    </a:lnTo>
                    <a:lnTo>
                      <a:pt x="414" y="187"/>
                    </a:lnTo>
                    <a:lnTo>
                      <a:pt x="409" y="187"/>
                    </a:lnTo>
                    <a:lnTo>
                      <a:pt x="409" y="192"/>
                    </a:lnTo>
                    <a:lnTo>
                      <a:pt x="414" y="192"/>
                    </a:lnTo>
                    <a:lnTo>
                      <a:pt x="419" y="202"/>
                    </a:lnTo>
                    <a:lnTo>
                      <a:pt x="434" y="197"/>
                    </a:lnTo>
                    <a:lnTo>
                      <a:pt x="439" y="197"/>
                    </a:lnTo>
                    <a:lnTo>
                      <a:pt x="439" y="207"/>
                    </a:lnTo>
                    <a:lnTo>
                      <a:pt x="459" y="197"/>
                    </a:lnTo>
                    <a:lnTo>
                      <a:pt x="454" y="192"/>
                    </a:lnTo>
                    <a:lnTo>
                      <a:pt x="469" y="187"/>
                    </a:lnTo>
                    <a:lnTo>
                      <a:pt x="474" y="202"/>
                    </a:lnTo>
                    <a:lnTo>
                      <a:pt x="464" y="202"/>
                    </a:lnTo>
                    <a:lnTo>
                      <a:pt x="474" y="212"/>
                    </a:lnTo>
                    <a:lnTo>
                      <a:pt x="464" y="212"/>
                    </a:lnTo>
                    <a:lnTo>
                      <a:pt x="469" y="222"/>
                    </a:lnTo>
                    <a:lnTo>
                      <a:pt x="474" y="217"/>
                    </a:lnTo>
                    <a:lnTo>
                      <a:pt x="484" y="212"/>
                    </a:lnTo>
                    <a:lnTo>
                      <a:pt x="494" y="207"/>
                    </a:lnTo>
                    <a:lnTo>
                      <a:pt x="509" y="237"/>
                    </a:lnTo>
                    <a:lnTo>
                      <a:pt x="504" y="242"/>
                    </a:lnTo>
                    <a:lnTo>
                      <a:pt x="499" y="247"/>
                    </a:lnTo>
                    <a:lnTo>
                      <a:pt x="504" y="257"/>
                    </a:lnTo>
                    <a:lnTo>
                      <a:pt x="469" y="272"/>
                    </a:lnTo>
                    <a:lnTo>
                      <a:pt x="469" y="277"/>
                    </a:lnTo>
                    <a:lnTo>
                      <a:pt x="469" y="282"/>
                    </a:lnTo>
                    <a:lnTo>
                      <a:pt x="474" y="292"/>
                    </a:lnTo>
                    <a:lnTo>
                      <a:pt x="484" y="292"/>
                    </a:lnTo>
                    <a:lnTo>
                      <a:pt x="489" y="297"/>
                    </a:lnTo>
                    <a:lnTo>
                      <a:pt x="494" y="302"/>
                    </a:lnTo>
                    <a:lnTo>
                      <a:pt x="499" y="302"/>
                    </a:lnTo>
                    <a:lnTo>
                      <a:pt x="499" y="307"/>
                    </a:lnTo>
                    <a:lnTo>
                      <a:pt x="504" y="313"/>
                    </a:lnTo>
                    <a:lnTo>
                      <a:pt x="509" y="318"/>
                    </a:lnTo>
                    <a:lnTo>
                      <a:pt x="504" y="323"/>
                    </a:lnTo>
                    <a:lnTo>
                      <a:pt x="509" y="333"/>
                    </a:lnTo>
                    <a:lnTo>
                      <a:pt x="514" y="338"/>
                    </a:lnTo>
                    <a:lnTo>
                      <a:pt x="519" y="343"/>
                    </a:lnTo>
                    <a:lnTo>
                      <a:pt x="519" y="353"/>
                    </a:lnTo>
                    <a:lnTo>
                      <a:pt x="519" y="358"/>
                    </a:lnTo>
                    <a:lnTo>
                      <a:pt x="514" y="358"/>
                    </a:lnTo>
                    <a:lnTo>
                      <a:pt x="514" y="363"/>
                    </a:lnTo>
                    <a:lnTo>
                      <a:pt x="509" y="363"/>
                    </a:lnTo>
                    <a:lnTo>
                      <a:pt x="509" y="358"/>
                    </a:lnTo>
                    <a:lnTo>
                      <a:pt x="509" y="363"/>
                    </a:lnTo>
                    <a:lnTo>
                      <a:pt x="504" y="368"/>
                    </a:lnTo>
                    <a:lnTo>
                      <a:pt x="499" y="368"/>
                    </a:lnTo>
                    <a:lnTo>
                      <a:pt x="494" y="373"/>
                    </a:lnTo>
                    <a:lnTo>
                      <a:pt x="489" y="373"/>
                    </a:lnTo>
                    <a:lnTo>
                      <a:pt x="489" y="378"/>
                    </a:lnTo>
                    <a:lnTo>
                      <a:pt x="484" y="378"/>
                    </a:lnTo>
                    <a:lnTo>
                      <a:pt x="479" y="383"/>
                    </a:lnTo>
                    <a:lnTo>
                      <a:pt x="469" y="388"/>
                    </a:lnTo>
                    <a:lnTo>
                      <a:pt x="464" y="393"/>
                    </a:lnTo>
                    <a:lnTo>
                      <a:pt x="459" y="393"/>
                    </a:lnTo>
                    <a:lnTo>
                      <a:pt x="454" y="393"/>
                    </a:lnTo>
                    <a:lnTo>
                      <a:pt x="454" y="398"/>
                    </a:lnTo>
                    <a:lnTo>
                      <a:pt x="449" y="403"/>
                    </a:lnTo>
                    <a:lnTo>
                      <a:pt x="449" y="408"/>
                    </a:lnTo>
                    <a:lnTo>
                      <a:pt x="454" y="413"/>
                    </a:lnTo>
                    <a:lnTo>
                      <a:pt x="459" y="413"/>
                    </a:lnTo>
                    <a:lnTo>
                      <a:pt x="459" y="418"/>
                    </a:lnTo>
                    <a:lnTo>
                      <a:pt x="464" y="423"/>
                    </a:lnTo>
                    <a:lnTo>
                      <a:pt x="464" y="433"/>
                    </a:lnTo>
                    <a:lnTo>
                      <a:pt x="464" y="444"/>
                    </a:lnTo>
                    <a:lnTo>
                      <a:pt x="459" y="449"/>
                    </a:lnTo>
                    <a:lnTo>
                      <a:pt x="459" y="454"/>
                    </a:lnTo>
                    <a:lnTo>
                      <a:pt x="459" y="459"/>
                    </a:lnTo>
                    <a:lnTo>
                      <a:pt x="454" y="464"/>
                    </a:lnTo>
                    <a:lnTo>
                      <a:pt x="454" y="469"/>
                    </a:lnTo>
                    <a:lnTo>
                      <a:pt x="454" y="474"/>
                    </a:lnTo>
                    <a:lnTo>
                      <a:pt x="449" y="494"/>
                    </a:lnTo>
                    <a:lnTo>
                      <a:pt x="449" y="499"/>
                    </a:lnTo>
                    <a:lnTo>
                      <a:pt x="449" y="504"/>
                    </a:lnTo>
                    <a:lnTo>
                      <a:pt x="444" y="509"/>
                    </a:lnTo>
                    <a:lnTo>
                      <a:pt x="444" y="514"/>
                    </a:lnTo>
                    <a:lnTo>
                      <a:pt x="444" y="519"/>
                    </a:lnTo>
                    <a:lnTo>
                      <a:pt x="439" y="524"/>
                    </a:lnTo>
                    <a:lnTo>
                      <a:pt x="439" y="529"/>
                    </a:lnTo>
                    <a:lnTo>
                      <a:pt x="439" y="534"/>
                    </a:lnTo>
                    <a:lnTo>
                      <a:pt x="434" y="534"/>
                    </a:lnTo>
                    <a:lnTo>
                      <a:pt x="439" y="539"/>
                    </a:lnTo>
                    <a:lnTo>
                      <a:pt x="434" y="539"/>
                    </a:lnTo>
                    <a:lnTo>
                      <a:pt x="429" y="544"/>
                    </a:lnTo>
                    <a:lnTo>
                      <a:pt x="429" y="554"/>
                    </a:lnTo>
                    <a:lnTo>
                      <a:pt x="424" y="559"/>
                    </a:lnTo>
                    <a:lnTo>
                      <a:pt x="419" y="569"/>
                    </a:lnTo>
                    <a:lnTo>
                      <a:pt x="419" y="580"/>
                    </a:lnTo>
                    <a:lnTo>
                      <a:pt x="414" y="590"/>
                    </a:lnTo>
                    <a:lnTo>
                      <a:pt x="414" y="595"/>
                    </a:lnTo>
                    <a:lnTo>
                      <a:pt x="409" y="600"/>
                    </a:lnTo>
                    <a:lnTo>
                      <a:pt x="403" y="605"/>
                    </a:lnTo>
                    <a:lnTo>
                      <a:pt x="403" y="610"/>
                    </a:lnTo>
                    <a:lnTo>
                      <a:pt x="398" y="615"/>
                    </a:lnTo>
                    <a:lnTo>
                      <a:pt x="398" y="620"/>
                    </a:lnTo>
                    <a:lnTo>
                      <a:pt x="388" y="630"/>
                    </a:lnTo>
                    <a:lnTo>
                      <a:pt x="383" y="640"/>
                    </a:lnTo>
                    <a:lnTo>
                      <a:pt x="378" y="640"/>
                    </a:lnTo>
                    <a:lnTo>
                      <a:pt x="378" y="650"/>
                    </a:lnTo>
                    <a:lnTo>
                      <a:pt x="373" y="655"/>
                    </a:lnTo>
                    <a:lnTo>
                      <a:pt x="358" y="670"/>
                    </a:lnTo>
                    <a:lnTo>
                      <a:pt x="358" y="675"/>
                    </a:lnTo>
                    <a:lnTo>
                      <a:pt x="358" y="680"/>
                    </a:lnTo>
                    <a:lnTo>
                      <a:pt x="353" y="680"/>
                    </a:lnTo>
                    <a:lnTo>
                      <a:pt x="353" y="685"/>
                    </a:lnTo>
                    <a:lnTo>
                      <a:pt x="348" y="690"/>
                    </a:lnTo>
                    <a:lnTo>
                      <a:pt x="343" y="695"/>
                    </a:lnTo>
                    <a:lnTo>
                      <a:pt x="338" y="706"/>
                    </a:lnTo>
                    <a:lnTo>
                      <a:pt x="338" y="701"/>
                    </a:lnTo>
                    <a:lnTo>
                      <a:pt x="338" y="695"/>
                    </a:lnTo>
                    <a:lnTo>
                      <a:pt x="343" y="695"/>
                    </a:lnTo>
                    <a:lnTo>
                      <a:pt x="348" y="690"/>
                    </a:lnTo>
                    <a:lnTo>
                      <a:pt x="348" y="685"/>
                    </a:lnTo>
                    <a:lnTo>
                      <a:pt x="353" y="680"/>
                    </a:lnTo>
                    <a:lnTo>
                      <a:pt x="358" y="675"/>
                    </a:lnTo>
                    <a:lnTo>
                      <a:pt x="358" y="670"/>
                    </a:lnTo>
                    <a:lnTo>
                      <a:pt x="358" y="675"/>
                    </a:lnTo>
                    <a:lnTo>
                      <a:pt x="353" y="675"/>
                    </a:lnTo>
                    <a:lnTo>
                      <a:pt x="353" y="680"/>
                    </a:lnTo>
                    <a:lnTo>
                      <a:pt x="348" y="680"/>
                    </a:lnTo>
                    <a:lnTo>
                      <a:pt x="348" y="685"/>
                    </a:lnTo>
                    <a:lnTo>
                      <a:pt x="343" y="685"/>
                    </a:lnTo>
                    <a:lnTo>
                      <a:pt x="343" y="690"/>
                    </a:lnTo>
                    <a:lnTo>
                      <a:pt x="338" y="695"/>
                    </a:lnTo>
                    <a:lnTo>
                      <a:pt x="333" y="685"/>
                    </a:lnTo>
                    <a:lnTo>
                      <a:pt x="328" y="680"/>
                    </a:lnTo>
                    <a:lnTo>
                      <a:pt x="323" y="680"/>
                    </a:lnTo>
                    <a:lnTo>
                      <a:pt x="318" y="675"/>
                    </a:lnTo>
                    <a:lnTo>
                      <a:pt x="323" y="670"/>
                    </a:lnTo>
                    <a:lnTo>
                      <a:pt x="318" y="665"/>
                    </a:lnTo>
                    <a:lnTo>
                      <a:pt x="318" y="660"/>
                    </a:lnTo>
                    <a:lnTo>
                      <a:pt x="318" y="655"/>
                    </a:lnTo>
                    <a:lnTo>
                      <a:pt x="318" y="650"/>
                    </a:lnTo>
                    <a:lnTo>
                      <a:pt x="313" y="650"/>
                    </a:lnTo>
                    <a:lnTo>
                      <a:pt x="308" y="650"/>
                    </a:lnTo>
                    <a:lnTo>
                      <a:pt x="308" y="645"/>
                    </a:lnTo>
                    <a:lnTo>
                      <a:pt x="303" y="645"/>
                    </a:lnTo>
                    <a:lnTo>
                      <a:pt x="303" y="650"/>
                    </a:lnTo>
                    <a:lnTo>
                      <a:pt x="308" y="650"/>
                    </a:lnTo>
                    <a:lnTo>
                      <a:pt x="308" y="655"/>
                    </a:lnTo>
                    <a:lnTo>
                      <a:pt x="308" y="660"/>
                    </a:lnTo>
                    <a:lnTo>
                      <a:pt x="308" y="665"/>
                    </a:lnTo>
                    <a:lnTo>
                      <a:pt x="308" y="670"/>
                    </a:lnTo>
                    <a:lnTo>
                      <a:pt x="313" y="675"/>
                    </a:lnTo>
                    <a:lnTo>
                      <a:pt x="308" y="675"/>
                    </a:lnTo>
                    <a:lnTo>
                      <a:pt x="308" y="680"/>
                    </a:lnTo>
                    <a:lnTo>
                      <a:pt x="308" y="685"/>
                    </a:lnTo>
                    <a:lnTo>
                      <a:pt x="308" y="690"/>
                    </a:lnTo>
                    <a:lnTo>
                      <a:pt x="313" y="695"/>
                    </a:lnTo>
                    <a:lnTo>
                      <a:pt x="313" y="701"/>
                    </a:lnTo>
                    <a:lnTo>
                      <a:pt x="313" y="706"/>
                    </a:lnTo>
                    <a:lnTo>
                      <a:pt x="313" y="711"/>
                    </a:lnTo>
                    <a:lnTo>
                      <a:pt x="313" y="716"/>
                    </a:lnTo>
                    <a:lnTo>
                      <a:pt x="318" y="716"/>
                    </a:lnTo>
                    <a:lnTo>
                      <a:pt x="318" y="721"/>
                    </a:lnTo>
                    <a:lnTo>
                      <a:pt x="323" y="721"/>
                    </a:lnTo>
                    <a:lnTo>
                      <a:pt x="328" y="721"/>
                    </a:lnTo>
                    <a:lnTo>
                      <a:pt x="333" y="711"/>
                    </a:lnTo>
                    <a:lnTo>
                      <a:pt x="333" y="706"/>
                    </a:lnTo>
                    <a:lnTo>
                      <a:pt x="338" y="706"/>
                    </a:lnTo>
                    <a:lnTo>
                      <a:pt x="333" y="711"/>
                    </a:lnTo>
                    <a:lnTo>
                      <a:pt x="333" y="716"/>
                    </a:lnTo>
                    <a:lnTo>
                      <a:pt x="328" y="716"/>
                    </a:lnTo>
                    <a:lnTo>
                      <a:pt x="328" y="721"/>
                    </a:lnTo>
                    <a:lnTo>
                      <a:pt x="328" y="726"/>
                    </a:lnTo>
                    <a:lnTo>
                      <a:pt x="328" y="731"/>
                    </a:lnTo>
                    <a:lnTo>
                      <a:pt x="323" y="736"/>
                    </a:lnTo>
                    <a:lnTo>
                      <a:pt x="323" y="741"/>
                    </a:lnTo>
                    <a:lnTo>
                      <a:pt x="328" y="741"/>
                    </a:lnTo>
                    <a:lnTo>
                      <a:pt x="328" y="746"/>
                    </a:lnTo>
                    <a:lnTo>
                      <a:pt x="333" y="746"/>
                    </a:lnTo>
                    <a:lnTo>
                      <a:pt x="333" y="741"/>
                    </a:lnTo>
                    <a:lnTo>
                      <a:pt x="333" y="736"/>
                    </a:lnTo>
                    <a:lnTo>
                      <a:pt x="338" y="736"/>
                    </a:lnTo>
                    <a:lnTo>
                      <a:pt x="338" y="741"/>
                    </a:lnTo>
                    <a:lnTo>
                      <a:pt x="343" y="736"/>
                    </a:lnTo>
                    <a:lnTo>
                      <a:pt x="348" y="736"/>
                    </a:lnTo>
                    <a:lnTo>
                      <a:pt x="343" y="731"/>
                    </a:lnTo>
                    <a:lnTo>
                      <a:pt x="348" y="731"/>
                    </a:lnTo>
                    <a:lnTo>
                      <a:pt x="348" y="736"/>
                    </a:lnTo>
                    <a:lnTo>
                      <a:pt x="353" y="736"/>
                    </a:lnTo>
                    <a:lnTo>
                      <a:pt x="353" y="741"/>
                    </a:lnTo>
                    <a:lnTo>
                      <a:pt x="358" y="746"/>
                    </a:lnTo>
                    <a:lnTo>
                      <a:pt x="353" y="746"/>
                    </a:lnTo>
                    <a:lnTo>
                      <a:pt x="353" y="751"/>
                    </a:lnTo>
                    <a:lnTo>
                      <a:pt x="353" y="746"/>
                    </a:lnTo>
                    <a:lnTo>
                      <a:pt x="353" y="751"/>
                    </a:lnTo>
                    <a:lnTo>
                      <a:pt x="358" y="751"/>
                    </a:lnTo>
                    <a:lnTo>
                      <a:pt x="358" y="756"/>
                    </a:lnTo>
                    <a:lnTo>
                      <a:pt x="358" y="761"/>
                    </a:lnTo>
                    <a:lnTo>
                      <a:pt x="363" y="766"/>
                    </a:lnTo>
                    <a:lnTo>
                      <a:pt x="363" y="771"/>
                    </a:lnTo>
                    <a:lnTo>
                      <a:pt x="363" y="776"/>
                    </a:lnTo>
                    <a:lnTo>
                      <a:pt x="363" y="786"/>
                    </a:lnTo>
                    <a:lnTo>
                      <a:pt x="363" y="796"/>
                    </a:lnTo>
                    <a:lnTo>
                      <a:pt x="368" y="796"/>
                    </a:lnTo>
                    <a:lnTo>
                      <a:pt x="368" y="801"/>
                    </a:lnTo>
                    <a:lnTo>
                      <a:pt x="363" y="801"/>
                    </a:lnTo>
                    <a:lnTo>
                      <a:pt x="363" y="806"/>
                    </a:lnTo>
                    <a:lnTo>
                      <a:pt x="358" y="806"/>
                    </a:lnTo>
                    <a:lnTo>
                      <a:pt x="358" y="801"/>
                    </a:lnTo>
                    <a:lnTo>
                      <a:pt x="358" y="806"/>
                    </a:lnTo>
                    <a:lnTo>
                      <a:pt x="353" y="806"/>
                    </a:lnTo>
                    <a:lnTo>
                      <a:pt x="353" y="801"/>
                    </a:lnTo>
                    <a:lnTo>
                      <a:pt x="348" y="796"/>
                    </a:lnTo>
                    <a:lnTo>
                      <a:pt x="348" y="791"/>
                    </a:lnTo>
                    <a:lnTo>
                      <a:pt x="353" y="791"/>
                    </a:lnTo>
                    <a:lnTo>
                      <a:pt x="348" y="786"/>
                    </a:lnTo>
                    <a:lnTo>
                      <a:pt x="348" y="781"/>
                    </a:lnTo>
                    <a:lnTo>
                      <a:pt x="343" y="781"/>
                    </a:lnTo>
                    <a:lnTo>
                      <a:pt x="343" y="776"/>
                    </a:lnTo>
                    <a:lnTo>
                      <a:pt x="343" y="771"/>
                    </a:lnTo>
                    <a:lnTo>
                      <a:pt x="338" y="771"/>
                    </a:lnTo>
                    <a:lnTo>
                      <a:pt x="333" y="771"/>
                    </a:lnTo>
                    <a:lnTo>
                      <a:pt x="333" y="766"/>
                    </a:lnTo>
                    <a:lnTo>
                      <a:pt x="328" y="766"/>
                    </a:lnTo>
                    <a:lnTo>
                      <a:pt x="323" y="761"/>
                    </a:lnTo>
                    <a:lnTo>
                      <a:pt x="318" y="761"/>
                    </a:lnTo>
                    <a:lnTo>
                      <a:pt x="308" y="761"/>
                    </a:lnTo>
                    <a:lnTo>
                      <a:pt x="303" y="761"/>
                    </a:lnTo>
                    <a:lnTo>
                      <a:pt x="298" y="761"/>
                    </a:lnTo>
                    <a:lnTo>
                      <a:pt x="293" y="756"/>
                    </a:lnTo>
                    <a:lnTo>
                      <a:pt x="288" y="761"/>
                    </a:lnTo>
                    <a:lnTo>
                      <a:pt x="283" y="761"/>
                    </a:lnTo>
                    <a:lnTo>
                      <a:pt x="277" y="761"/>
                    </a:lnTo>
                    <a:lnTo>
                      <a:pt x="272" y="761"/>
                    </a:lnTo>
                    <a:lnTo>
                      <a:pt x="272" y="766"/>
                    </a:lnTo>
                    <a:lnTo>
                      <a:pt x="267" y="766"/>
                    </a:lnTo>
                    <a:lnTo>
                      <a:pt x="267" y="771"/>
                    </a:lnTo>
                    <a:lnTo>
                      <a:pt x="262" y="771"/>
                    </a:lnTo>
                    <a:lnTo>
                      <a:pt x="257" y="771"/>
                    </a:lnTo>
                    <a:lnTo>
                      <a:pt x="257" y="776"/>
                    </a:lnTo>
                    <a:lnTo>
                      <a:pt x="252" y="776"/>
                    </a:lnTo>
                    <a:lnTo>
                      <a:pt x="252" y="781"/>
                    </a:lnTo>
                    <a:lnTo>
                      <a:pt x="247" y="781"/>
                    </a:lnTo>
                    <a:lnTo>
                      <a:pt x="242" y="786"/>
                    </a:lnTo>
                    <a:lnTo>
                      <a:pt x="242" y="791"/>
                    </a:lnTo>
                    <a:lnTo>
                      <a:pt x="237" y="791"/>
                    </a:lnTo>
                    <a:lnTo>
                      <a:pt x="232" y="791"/>
                    </a:lnTo>
                    <a:lnTo>
                      <a:pt x="232" y="796"/>
                    </a:lnTo>
                    <a:lnTo>
                      <a:pt x="227" y="801"/>
                    </a:lnTo>
                    <a:lnTo>
                      <a:pt x="222" y="801"/>
                    </a:lnTo>
                    <a:lnTo>
                      <a:pt x="222" y="806"/>
                    </a:lnTo>
                    <a:lnTo>
                      <a:pt x="217" y="811"/>
                    </a:lnTo>
                    <a:lnTo>
                      <a:pt x="212" y="816"/>
                    </a:lnTo>
                    <a:lnTo>
                      <a:pt x="217" y="821"/>
                    </a:lnTo>
                    <a:lnTo>
                      <a:pt x="217" y="826"/>
                    </a:lnTo>
                    <a:lnTo>
                      <a:pt x="212" y="826"/>
                    </a:lnTo>
                    <a:lnTo>
                      <a:pt x="207" y="821"/>
                    </a:lnTo>
                    <a:lnTo>
                      <a:pt x="202" y="821"/>
                    </a:lnTo>
                    <a:lnTo>
                      <a:pt x="197" y="816"/>
                    </a:lnTo>
                    <a:lnTo>
                      <a:pt x="197" y="821"/>
                    </a:lnTo>
                    <a:lnTo>
                      <a:pt x="192" y="821"/>
                    </a:lnTo>
                    <a:lnTo>
                      <a:pt x="192" y="816"/>
                    </a:lnTo>
                    <a:lnTo>
                      <a:pt x="187" y="816"/>
                    </a:lnTo>
                    <a:lnTo>
                      <a:pt x="182" y="816"/>
                    </a:lnTo>
                    <a:lnTo>
                      <a:pt x="182" y="821"/>
                    </a:lnTo>
                    <a:lnTo>
                      <a:pt x="187" y="821"/>
                    </a:lnTo>
                    <a:lnTo>
                      <a:pt x="187" y="826"/>
                    </a:lnTo>
                    <a:lnTo>
                      <a:pt x="187" y="832"/>
                    </a:lnTo>
                    <a:lnTo>
                      <a:pt x="182" y="832"/>
                    </a:lnTo>
                    <a:lnTo>
                      <a:pt x="177" y="832"/>
                    </a:lnTo>
                    <a:lnTo>
                      <a:pt x="182" y="837"/>
                    </a:lnTo>
                    <a:lnTo>
                      <a:pt x="187" y="837"/>
                    </a:lnTo>
                    <a:lnTo>
                      <a:pt x="187" y="842"/>
                    </a:lnTo>
                    <a:lnTo>
                      <a:pt x="192" y="842"/>
                    </a:lnTo>
                    <a:lnTo>
                      <a:pt x="187" y="842"/>
                    </a:lnTo>
                    <a:lnTo>
                      <a:pt x="187" y="847"/>
                    </a:lnTo>
                    <a:lnTo>
                      <a:pt x="182" y="847"/>
                    </a:lnTo>
                    <a:lnTo>
                      <a:pt x="177" y="852"/>
                    </a:lnTo>
                    <a:lnTo>
                      <a:pt x="172" y="852"/>
                    </a:lnTo>
                    <a:lnTo>
                      <a:pt x="167" y="852"/>
                    </a:lnTo>
                    <a:lnTo>
                      <a:pt x="162" y="852"/>
                    </a:lnTo>
                    <a:lnTo>
                      <a:pt x="151" y="852"/>
                    </a:lnTo>
                    <a:lnTo>
                      <a:pt x="146" y="852"/>
                    </a:lnTo>
                    <a:lnTo>
                      <a:pt x="141" y="852"/>
                    </a:lnTo>
                    <a:lnTo>
                      <a:pt x="136" y="852"/>
                    </a:lnTo>
                    <a:lnTo>
                      <a:pt x="131" y="847"/>
                    </a:lnTo>
                    <a:lnTo>
                      <a:pt x="126" y="847"/>
                    </a:lnTo>
                    <a:lnTo>
                      <a:pt x="116" y="847"/>
                    </a:lnTo>
                    <a:lnTo>
                      <a:pt x="111" y="847"/>
                    </a:lnTo>
                    <a:lnTo>
                      <a:pt x="106" y="847"/>
                    </a:lnTo>
                    <a:lnTo>
                      <a:pt x="101" y="842"/>
                    </a:lnTo>
                    <a:lnTo>
                      <a:pt x="96" y="837"/>
                    </a:lnTo>
                    <a:lnTo>
                      <a:pt x="91" y="832"/>
                    </a:lnTo>
                    <a:lnTo>
                      <a:pt x="86" y="832"/>
                    </a:lnTo>
                    <a:lnTo>
                      <a:pt x="86" y="826"/>
                    </a:lnTo>
                    <a:lnTo>
                      <a:pt x="86" y="821"/>
                    </a:lnTo>
                    <a:lnTo>
                      <a:pt x="81" y="821"/>
                    </a:lnTo>
                    <a:lnTo>
                      <a:pt x="81" y="816"/>
                    </a:lnTo>
                    <a:lnTo>
                      <a:pt x="81" y="811"/>
                    </a:lnTo>
                    <a:lnTo>
                      <a:pt x="76" y="811"/>
                    </a:lnTo>
                    <a:lnTo>
                      <a:pt x="71" y="811"/>
                    </a:lnTo>
                    <a:lnTo>
                      <a:pt x="66" y="811"/>
                    </a:lnTo>
                    <a:lnTo>
                      <a:pt x="66" y="806"/>
                    </a:lnTo>
                    <a:lnTo>
                      <a:pt x="71" y="796"/>
                    </a:lnTo>
                    <a:lnTo>
                      <a:pt x="71" y="791"/>
                    </a:lnTo>
                    <a:lnTo>
                      <a:pt x="76" y="786"/>
                    </a:lnTo>
                    <a:lnTo>
                      <a:pt x="81" y="786"/>
                    </a:lnTo>
                    <a:lnTo>
                      <a:pt x="86" y="786"/>
                    </a:lnTo>
                    <a:lnTo>
                      <a:pt x="91" y="786"/>
                    </a:lnTo>
                    <a:lnTo>
                      <a:pt x="96" y="786"/>
                    </a:lnTo>
                    <a:lnTo>
                      <a:pt x="101" y="786"/>
                    </a:lnTo>
                    <a:lnTo>
                      <a:pt x="101" y="791"/>
                    </a:lnTo>
                    <a:lnTo>
                      <a:pt x="101" y="796"/>
                    </a:lnTo>
                    <a:lnTo>
                      <a:pt x="106" y="796"/>
                    </a:lnTo>
                    <a:lnTo>
                      <a:pt x="111" y="796"/>
                    </a:lnTo>
                    <a:lnTo>
                      <a:pt x="111" y="791"/>
                    </a:lnTo>
                    <a:lnTo>
                      <a:pt x="116" y="791"/>
                    </a:lnTo>
                    <a:lnTo>
                      <a:pt x="121" y="786"/>
                    </a:lnTo>
                    <a:lnTo>
                      <a:pt x="121" y="781"/>
                    </a:lnTo>
                    <a:lnTo>
                      <a:pt x="116" y="781"/>
                    </a:lnTo>
                    <a:lnTo>
                      <a:pt x="116" y="776"/>
                    </a:lnTo>
                    <a:lnTo>
                      <a:pt x="116" y="771"/>
                    </a:lnTo>
                    <a:lnTo>
                      <a:pt x="111" y="771"/>
                    </a:lnTo>
                    <a:lnTo>
                      <a:pt x="116" y="771"/>
                    </a:lnTo>
                    <a:lnTo>
                      <a:pt x="116" y="766"/>
                    </a:lnTo>
                    <a:lnTo>
                      <a:pt x="121" y="766"/>
                    </a:lnTo>
                    <a:lnTo>
                      <a:pt x="121" y="761"/>
                    </a:lnTo>
                    <a:lnTo>
                      <a:pt x="116" y="756"/>
                    </a:lnTo>
                    <a:lnTo>
                      <a:pt x="116" y="751"/>
                    </a:lnTo>
                    <a:lnTo>
                      <a:pt x="111" y="746"/>
                    </a:lnTo>
                    <a:lnTo>
                      <a:pt x="111" y="741"/>
                    </a:lnTo>
                    <a:lnTo>
                      <a:pt x="106" y="746"/>
                    </a:lnTo>
                    <a:lnTo>
                      <a:pt x="106" y="741"/>
                    </a:lnTo>
                    <a:lnTo>
                      <a:pt x="106" y="736"/>
                    </a:lnTo>
                    <a:lnTo>
                      <a:pt x="106" y="731"/>
                    </a:lnTo>
                    <a:lnTo>
                      <a:pt x="111" y="726"/>
                    </a:lnTo>
                    <a:lnTo>
                      <a:pt x="111" y="721"/>
                    </a:lnTo>
                    <a:lnTo>
                      <a:pt x="116" y="726"/>
                    </a:lnTo>
                    <a:lnTo>
                      <a:pt x="116" y="721"/>
                    </a:lnTo>
                    <a:lnTo>
                      <a:pt x="121" y="721"/>
                    </a:lnTo>
                    <a:lnTo>
                      <a:pt x="116" y="716"/>
                    </a:lnTo>
                    <a:lnTo>
                      <a:pt x="116" y="711"/>
                    </a:lnTo>
                    <a:lnTo>
                      <a:pt x="121" y="711"/>
                    </a:lnTo>
                    <a:lnTo>
                      <a:pt x="126" y="711"/>
                    </a:lnTo>
                    <a:lnTo>
                      <a:pt x="126" y="706"/>
                    </a:lnTo>
                    <a:lnTo>
                      <a:pt x="131" y="706"/>
                    </a:lnTo>
                    <a:lnTo>
                      <a:pt x="136" y="706"/>
                    </a:lnTo>
                    <a:lnTo>
                      <a:pt x="136" y="701"/>
                    </a:lnTo>
                    <a:lnTo>
                      <a:pt x="136" y="695"/>
                    </a:lnTo>
                    <a:lnTo>
                      <a:pt x="136" y="690"/>
                    </a:lnTo>
                    <a:lnTo>
                      <a:pt x="141" y="690"/>
                    </a:lnTo>
                    <a:lnTo>
                      <a:pt x="146" y="685"/>
                    </a:lnTo>
                    <a:lnTo>
                      <a:pt x="146" y="680"/>
                    </a:lnTo>
                    <a:lnTo>
                      <a:pt x="141" y="680"/>
                    </a:lnTo>
                    <a:lnTo>
                      <a:pt x="141" y="675"/>
                    </a:lnTo>
                    <a:lnTo>
                      <a:pt x="141" y="670"/>
                    </a:lnTo>
                    <a:lnTo>
                      <a:pt x="136" y="665"/>
                    </a:lnTo>
                    <a:lnTo>
                      <a:pt x="136" y="660"/>
                    </a:lnTo>
                    <a:lnTo>
                      <a:pt x="136" y="655"/>
                    </a:lnTo>
                    <a:lnTo>
                      <a:pt x="136" y="650"/>
                    </a:lnTo>
                    <a:lnTo>
                      <a:pt x="141" y="650"/>
                    </a:lnTo>
                    <a:lnTo>
                      <a:pt x="141" y="645"/>
                    </a:lnTo>
                    <a:lnTo>
                      <a:pt x="146" y="645"/>
                    </a:lnTo>
                    <a:lnTo>
                      <a:pt x="151" y="640"/>
                    </a:lnTo>
                    <a:lnTo>
                      <a:pt x="157" y="640"/>
                    </a:lnTo>
                    <a:lnTo>
                      <a:pt x="162" y="635"/>
                    </a:lnTo>
                    <a:lnTo>
                      <a:pt x="167" y="635"/>
                    </a:lnTo>
                    <a:lnTo>
                      <a:pt x="172" y="630"/>
                    </a:lnTo>
                    <a:lnTo>
                      <a:pt x="172" y="625"/>
                    </a:lnTo>
                    <a:lnTo>
                      <a:pt x="172" y="620"/>
                    </a:lnTo>
                    <a:lnTo>
                      <a:pt x="172" y="615"/>
                    </a:lnTo>
                    <a:lnTo>
                      <a:pt x="167" y="610"/>
                    </a:lnTo>
                    <a:lnTo>
                      <a:pt x="162" y="610"/>
                    </a:lnTo>
                    <a:lnTo>
                      <a:pt x="157" y="605"/>
                    </a:lnTo>
                    <a:lnTo>
                      <a:pt x="162" y="605"/>
                    </a:lnTo>
                    <a:lnTo>
                      <a:pt x="162" y="600"/>
                    </a:lnTo>
                    <a:lnTo>
                      <a:pt x="167" y="590"/>
                    </a:lnTo>
                    <a:lnTo>
                      <a:pt x="167" y="585"/>
                    </a:lnTo>
                    <a:lnTo>
                      <a:pt x="172" y="580"/>
                    </a:lnTo>
                    <a:lnTo>
                      <a:pt x="172" y="575"/>
                    </a:lnTo>
                    <a:lnTo>
                      <a:pt x="162" y="575"/>
                    </a:lnTo>
                    <a:lnTo>
                      <a:pt x="162" y="569"/>
                    </a:lnTo>
                    <a:lnTo>
                      <a:pt x="151" y="564"/>
                    </a:lnTo>
                    <a:lnTo>
                      <a:pt x="146" y="564"/>
                    </a:lnTo>
                    <a:lnTo>
                      <a:pt x="146" y="559"/>
                    </a:lnTo>
                    <a:lnTo>
                      <a:pt x="146" y="549"/>
                    </a:lnTo>
                    <a:lnTo>
                      <a:pt x="151" y="544"/>
                    </a:lnTo>
                    <a:lnTo>
                      <a:pt x="146" y="544"/>
                    </a:lnTo>
                    <a:lnTo>
                      <a:pt x="146" y="539"/>
                    </a:lnTo>
                    <a:lnTo>
                      <a:pt x="141" y="534"/>
                    </a:lnTo>
                    <a:lnTo>
                      <a:pt x="136" y="524"/>
                    </a:lnTo>
                    <a:lnTo>
                      <a:pt x="131" y="519"/>
                    </a:lnTo>
                    <a:lnTo>
                      <a:pt x="131" y="514"/>
                    </a:lnTo>
                    <a:lnTo>
                      <a:pt x="136" y="514"/>
                    </a:lnTo>
                    <a:lnTo>
                      <a:pt x="141" y="509"/>
                    </a:lnTo>
                    <a:lnTo>
                      <a:pt x="141" y="504"/>
                    </a:lnTo>
                    <a:lnTo>
                      <a:pt x="146" y="499"/>
                    </a:lnTo>
                    <a:lnTo>
                      <a:pt x="146" y="494"/>
                    </a:lnTo>
                    <a:lnTo>
                      <a:pt x="151" y="494"/>
                    </a:lnTo>
                    <a:lnTo>
                      <a:pt x="167" y="489"/>
                    </a:lnTo>
                    <a:lnTo>
                      <a:pt x="172" y="484"/>
                    </a:lnTo>
                    <a:lnTo>
                      <a:pt x="167" y="484"/>
                    </a:lnTo>
                    <a:lnTo>
                      <a:pt x="167" y="479"/>
                    </a:lnTo>
                    <a:lnTo>
                      <a:pt x="172" y="479"/>
                    </a:lnTo>
                    <a:lnTo>
                      <a:pt x="177" y="474"/>
                    </a:lnTo>
                    <a:lnTo>
                      <a:pt x="182" y="479"/>
                    </a:lnTo>
                    <a:lnTo>
                      <a:pt x="182" y="484"/>
                    </a:lnTo>
                    <a:lnTo>
                      <a:pt x="182" y="489"/>
                    </a:lnTo>
                    <a:lnTo>
                      <a:pt x="182" y="484"/>
                    </a:lnTo>
                    <a:lnTo>
                      <a:pt x="187" y="489"/>
                    </a:lnTo>
                    <a:lnTo>
                      <a:pt x="187" y="494"/>
                    </a:lnTo>
                    <a:lnTo>
                      <a:pt x="182" y="494"/>
                    </a:lnTo>
                    <a:lnTo>
                      <a:pt x="187" y="499"/>
                    </a:lnTo>
                    <a:lnTo>
                      <a:pt x="187" y="504"/>
                    </a:lnTo>
                    <a:lnTo>
                      <a:pt x="187" y="509"/>
                    </a:lnTo>
                    <a:lnTo>
                      <a:pt x="187" y="514"/>
                    </a:lnTo>
                    <a:lnTo>
                      <a:pt x="187" y="519"/>
                    </a:lnTo>
                    <a:lnTo>
                      <a:pt x="192" y="519"/>
                    </a:lnTo>
                    <a:lnTo>
                      <a:pt x="192" y="509"/>
                    </a:lnTo>
                    <a:lnTo>
                      <a:pt x="197" y="509"/>
                    </a:lnTo>
                    <a:lnTo>
                      <a:pt x="202" y="509"/>
                    </a:lnTo>
                    <a:lnTo>
                      <a:pt x="202" y="504"/>
                    </a:lnTo>
                    <a:lnTo>
                      <a:pt x="202" y="499"/>
                    </a:lnTo>
                    <a:lnTo>
                      <a:pt x="197" y="499"/>
                    </a:lnTo>
                    <a:lnTo>
                      <a:pt x="202" y="499"/>
                    </a:lnTo>
                    <a:lnTo>
                      <a:pt x="197" y="499"/>
                    </a:lnTo>
                    <a:lnTo>
                      <a:pt x="197" y="494"/>
                    </a:lnTo>
                    <a:lnTo>
                      <a:pt x="202" y="494"/>
                    </a:lnTo>
                    <a:lnTo>
                      <a:pt x="202" y="489"/>
                    </a:lnTo>
                    <a:lnTo>
                      <a:pt x="197" y="489"/>
                    </a:lnTo>
                    <a:lnTo>
                      <a:pt x="197" y="484"/>
                    </a:lnTo>
                    <a:lnTo>
                      <a:pt x="202" y="484"/>
                    </a:lnTo>
                    <a:lnTo>
                      <a:pt x="207" y="484"/>
                    </a:lnTo>
                    <a:lnTo>
                      <a:pt x="207" y="489"/>
                    </a:lnTo>
                    <a:lnTo>
                      <a:pt x="207" y="494"/>
                    </a:lnTo>
                    <a:lnTo>
                      <a:pt x="212" y="494"/>
                    </a:lnTo>
                    <a:lnTo>
                      <a:pt x="217" y="499"/>
                    </a:lnTo>
                    <a:lnTo>
                      <a:pt x="217" y="494"/>
                    </a:lnTo>
                    <a:lnTo>
                      <a:pt x="212" y="494"/>
                    </a:lnTo>
                    <a:lnTo>
                      <a:pt x="217" y="489"/>
                    </a:lnTo>
                    <a:lnTo>
                      <a:pt x="217" y="484"/>
                    </a:lnTo>
                    <a:lnTo>
                      <a:pt x="222" y="479"/>
                    </a:lnTo>
                    <a:lnTo>
                      <a:pt x="227" y="484"/>
                    </a:lnTo>
                    <a:lnTo>
                      <a:pt x="232" y="484"/>
                    </a:lnTo>
                    <a:lnTo>
                      <a:pt x="232" y="489"/>
                    </a:lnTo>
                    <a:lnTo>
                      <a:pt x="232" y="494"/>
                    </a:lnTo>
                    <a:lnTo>
                      <a:pt x="237" y="494"/>
                    </a:lnTo>
                    <a:lnTo>
                      <a:pt x="242" y="499"/>
                    </a:lnTo>
                    <a:lnTo>
                      <a:pt x="247" y="499"/>
                    </a:lnTo>
                    <a:lnTo>
                      <a:pt x="252" y="504"/>
                    </a:lnTo>
                    <a:lnTo>
                      <a:pt x="257" y="509"/>
                    </a:lnTo>
                    <a:lnTo>
                      <a:pt x="267" y="504"/>
                    </a:lnTo>
                    <a:lnTo>
                      <a:pt x="272" y="504"/>
                    </a:lnTo>
                    <a:lnTo>
                      <a:pt x="272" y="499"/>
                    </a:lnTo>
                    <a:lnTo>
                      <a:pt x="267" y="494"/>
                    </a:lnTo>
                    <a:lnTo>
                      <a:pt x="267" y="489"/>
                    </a:lnTo>
                    <a:lnTo>
                      <a:pt x="262" y="484"/>
                    </a:lnTo>
                    <a:lnTo>
                      <a:pt x="267" y="484"/>
                    </a:lnTo>
                    <a:lnTo>
                      <a:pt x="272" y="484"/>
                    </a:lnTo>
                    <a:lnTo>
                      <a:pt x="277" y="484"/>
                    </a:lnTo>
                    <a:lnTo>
                      <a:pt x="277" y="479"/>
                    </a:lnTo>
                    <a:lnTo>
                      <a:pt x="277" y="474"/>
                    </a:lnTo>
                    <a:lnTo>
                      <a:pt x="277" y="469"/>
                    </a:lnTo>
                    <a:lnTo>
                      <a:pt x="283" y="474"/>
                    </a:lnTo>
                    <a:lnTo>
                      <a:pt x="288" y="474"/>
                    </a:lnTo>
                    <a:lnTo>
                      <a:pt x="288" y="479"/>
                    </a:lnTo>
                    <a:lnTo>
                      <a:pt x="293" y="484"/>
                    </a:lnTo>
                    <a:lnTo>
                      <a:pt x="293" y="489"/>
                    </a:lnTo>
                    <a:lnTo>
                      <a:pt x="298" y="489"/>
                    </a:lnTo>
                    <a:lnTo>
                      <a:pt x="303" y="489"/>
                    </a:lnTo>
                    <a:lnTo>
                      <a:pt x="303" y="494"/>
                    </a:lnTo>
                    <a:lnTo>
                      <a:pt x="308" y="494"/>
                    </a:lnTo>
                    <a:lnTo>
                      <a:pt x="308" y="489"/>
                    </a:lnTo>
                    <a:lnTo>
                      <a:pt x="313" y="484"/>
                    </a:lnTo>
                    <a:lnTo>
                      <a:pt x="318" y="479"/>
                    </a:lnTo>
                    <a:lnTo>
                      <a:pt x="323" y="479"/>
                    </a:lnTo>
                    <a:lnTo>
                      <a:pt x="328" y="484"/>
                    </a:lnTo>
                    <a:lnTo>
                      <a:pt x="333" y="479"/>
                    </a:lnTo>
                    <a:lnTo>
                      <a:pt x="338" y="474"/>
                    </a:lnTo>
                    <a:lnTo>
                      <a:pt x="343" y="474"/>
                    </a:lnTo>
                    <a:lnTo>
                      <a:pt x="348" y="474"/>
                    </a:lnTo>
                    <a:lnTo>
                      <a:pt x="348" y="469"/>
                    </a:lnTo>
                    <a:lnTo>
                      <a:pt x="353" y="469"/>
                    </a:lnTo>
                    <a:lnTo>
                      <a:pt x="353" y="464"/>
                    </a:lnTo>
                    <a:lnTo>
                      <a:pt x="348" y="464"/>
                    </a:lnTo>
                    <a:lnTo>
                      <a:pt x="343" y="464"/>
                    </a:lnTo>
                    <a:lnTo>
                      <a:pt x="338" y="464"/>
                    </a:lnTo>
                    <a:lnTo>
                      <a:pt x="333" y="464"/>
                    </a:lnTo>
                    <a:lnTo>
                      <a:pt x="328" y="464"/>
                    </a:lnTo>
                    <a:lnTo>
                      <a:pt x="323" y="464"/>
                    </a:lnTo>
                    <a:lnTo>
                      <a:pt x="323" y="459"/>
                    </a:lnTo>
                    <a:lnTo>
                      <a:pt x="328" y="459"/>
                    </a:lnTo>
                    <a:lnTo>
                      <a:pt x="323" y="459"/>
                    </a:lnTo>
                    <a:lnTo>
                      <a:pt x="323" y="454"/>
                    </a:lnTo>
                    <a:lnTo>
                      <a:pt x="318" y="454"/>
                    </a:lnTo>
                    <a:lnTo>
                      <a:pt x="318" y="449"/>
                    </a:lnTo>
                    <a:lnTo>
                      <a:pt x="318" y="454"/>
                    </a:lnTo>
                    <a:lnTo>
                      <a:pt x="313" y="454"/>
                    </a:lnTo>
                    <a:lnTo>
                      <a:pt x="313" y="449"/>
                    </a:lnTo>
                    <a:lnTo>
                      <a:pt x="308" y="454"/>
                    </a:lnTo>
                    <a:lnTo>
                      <a:pt x="303" y="454"/>
                    </a:lnTo>
                    <a:lnTo>
                      <a:pt x="303" y="449"/>
                    </a:lnTo>
                    <a:lnTo>
                      <a:pt x="298" y="444"/>
                    </a:lnTo>
                    <a:lnTo>
                      <a:pt x="298" y="438"/>
                    </a:lnTo>
                    <a:lnTo>
                      <a:pt x="303" y="438"/>
                    </a:lnTo>
                    <a:lnTo>
                      <a:pt x="308" y="438"/>
                    </a:lnTo>
                    <a:lnTo>
                      <a:pt x="308" y="433"/>
                    </a:lnTo>
                    <a:lnTo>
                      <a:pt x="303" y="433"/>
                    </a:lnTo>
                    <a:lnTo>
                      <a:pt x="303" y="428"/>
                    </a:lnTo>
                    <a:lnTo>
                      <a:pt x="308" y="428"/>
                    </a:lnTo>
                    <a:lnTo>
                      <a:pt x="303" y="418"/>
                    </a:lnTo>
                    <a:lnTo>
                      <a:pt x="298" y="413"/>
                    </a:lnTo>
                    <a:lnTo>
                      <a:pt x="298" y="408"/>
                    </a:lnTo>
                    <a:lnTo>
                      <a:pt x="298" y="403"/>
                    </a:lnTo>
                    <a:lnTo>
                      <a:pt x="298" y="398"/>
                    </a:lnTo>
                    <a:lnTo>
                      <a:pt x="298" y="393"/>
                    </a:lnTo>
                    <a:lnTo>
                      <a:pt x="298" y="388"/>
                    </a:lnTo>
                    <a:lnTo>
                      <a:pt x="298" y="383"/>
                    </a:lnTo>
                    <a:lnTo>
                      <a:pt x="293" y="378"/>
                    </a:lnTo>
                    <a:lnTo>
                      <a:pt x="288" y="378"/>
                    </a:lnTo>
                    <a:lnTo>
                      <a:pt x="288" y="373"/>
                    </a:lnTo>
                    <a:lnTo>
                      <a:pt x="288" y="368"/>
                    </a:lnTo>
                    <a:lnTo>
                      <a:pt x="293" y="368"/>
                    </a:lnTo>
                    <a:lnTo>
                      <a:pt x="288" y="368"/>
                    </a:lnTo>
                    <a:lnTo>
                      <a:pt x="283" y="363"/>
                    </a:lnTo>
                    <a:lnTo>
                      <a:pt x="283" y="368"/>
                    </a:lnTo>
                    <a:lnTo>
                      <a:pt x="277" y="368"/>
                    </a:lnTo>
                    <a:lnTo>
                      <a:pt x="277" y="373"/>
                    </a:lnTo>
                    <a:lnTo>
                      <a:pt x="277" y="368"/>
                    </a:lnTo>
                    <a:lnTo>
                      <a:pt x="272" y="368"/>
                    </a:lnTo>
                    <a:lnTo>
                      <a:pt x="272" y="363"/>
                    </a:lnTo>
                    <a:lnTo>
                      <a:pt x="272" y="358"/>
                    </a:lnTo>
                    <a:lnTo>
                      <a:pt x="267" y="358"/>
                    </a:lnTo>
                    <a:lnTo>
                      <a:pt x="262" y="363"/>
                    </a:lnTo>
                    <a:lnTo>
                      <a:pt x="257" y="363"/>
                    </a:lnTo>
                    <a:lnTo>
                      <a:pt x="257" y="368"/>
                    </a:lnTo>
                    <a:lnTo>
                      <a:pt x="247" y="368"/>
                    </a:lnTo>
                    <a:lnTo>
                      <a:pt x="247" y="363"/>
                    </a:lnTo>
                    <a:lnTo>
                      <a:pt x="242" y="358"/>
                    </a:lnTo>
                    <a:lnTo>
                      <a:pt x="242" y="353"/>
                    </a:lnTo>
                    <a:lnTo>
                      <a:pt x="237" y="353"/>
                    </a:lnTo>
                    <a:lnTo>
                      <a:pt x="237" y="358"/>
                    </a:lnTo>
                    <a:lnTo>
                      <a:pt x="232" y="358"/>
                    </a:lnTo>
                    <a:lnTo>
                      <a:pt x="227" y="358"/>
                    </a:lnTo>
                    <a:lnTo>
                      <a:pt x="222" y="358"/>
                    </a:lnTo>
                    <a:lnTo>
                      <a:pt x="222" y="353"/>
                    </a:lnTo>
                    <a:lnTo>
                      <a:pt x="217" y="353"/>
                    </a:lnTo>
                    <a:lnTo>
                      <a:pt x="212" y="353"/>
                    </a:lnTo>
                    <a:lnTo>
                      <a:pt x="212" y="358"/>
                    </a:lnTo>
                    <a:lnTo>
                      <a:pt x="212" y="353"/>
                    </a:lnTo>
                    <a:lnTo>
                      <a:pt x="212" y="348"/>
                    </a:lnTo>
                    <a:lnTo>
                      <a:pt x="212" y="343"/>
                    </a:lnTo>
                    <a:lnTo>
                      <a:pt x="212" y="333"/>
                    </a:lnTo>
                    <a:lnTo>
                      <a:pt x="212" y="328"/>
                    </a:lnTo>
                    <a:lnTo>
                      <a:pt x="212" y="323"/>
                    </a:lnTo>
                    <a:lnTo>
                      <a:pt x="207" y="318"/>
                    </a:lnTo>
                    <a:lnTo>
                      <a:pt x="207" y="313"/>
                    </a:lnTo>
                    <a:lnTo>
                      <a:pt x="202" y="313"/>
                    </a:lnTo>
                    <a:lnTo>
                      <a:pt x="202" y="318"/>
                    </a:lnTo>
                    <a:lnTo>
                      <a:pt x="197" y="318"/>
                    </a:lnTo>
                    <a:lnTo>
                      <a:pt x="197" y="323"/>
                    </a:lnTo>
                    <a:lnTo>
                      <a:pt x="192" y="318"/>
                    </a:lnTo>
                    <a:lnTo>
                      <a:pt x="187" y="318"/>
                    </a:lnTo>
                    <a:lnTo>
                      <a:pt x="187" y="313"/>
                    </a:lnTo>
                    <a:lnTo>
                      <a:pt x="187" y="307"/>
                    </a:lnTo>
                    <a:lnTo>
                      <a:pt x="192" y="307"/>
                    </a:lnTo>
                    <a:lnTo>
                      <a:pt x="197" y="307"/>
                    </a:lnTo>
                    <a:lnTo>
                      <a:pt x="197" y="302"/>
                    </a:lnTo>
                    <a:lnTo>
                      <a:pt x="192" y="292"/>
                    </a:lnTo>
                    <a:lnTo>
                      <a:pt x="187" y="282"/>
                    </a:lnTo>
                    <a:lnTo>
                      <a:pt x="187" y="277"/>
                    </a:lnTo>
                    <a:lnTo>
                      <a:pt x="187" y="272"/>
                    </a:lnTo>
                    <a:lnTo>
                      <a:pt x="192" y="272"/>
                    </a:lnTo>
                    <a:lnTo>
                      <a:pt x="192" y="267"/>
                    </a:lnTo>
                    <a:lnTo>
                      <a:pt x="187" y="262"/>
                    </a:lnTo>
                    <a:lnTo>
                      <a:pt x="187" y="257"/>
                    </a:lnTo>
                    <a:lnTo>
                      <a:pt x="187" y="252"/>
                    </a:lnTo>
                    <a:lnTo>
                      <a:pt x="182" y="252"/>
                    </a:lnTo>
                    <a:lnTo>
                      <a:pt x="182" y="247"/>
                    </a:lnTo>
                    <a:lnTo>
                      <a:pt x="182" y="242"/>
                    </a:lnTo>
                    <a:lnTo>
                      <a:pt x="177" y="242"/>
                    </a:lnTo>
                    <a:lnTo>
                      <a:pt x="177" y="247"/>
                    </a:lnTo>
                    <a:lnTo>
                      <a:pt x="172" y="247"/>
                    </a:lnTo>
                    <a:lnTo>
                      <a:pt x="167" y="247"/>
                    </a:lnTo>
                    <a:lnTo>
                      <a:pt x="167" y="252"/>
                    </a:lnTo>
                    <a:lnTo>
                      <a:pt x="167" y="257"/>
                    </a:lnTo>
                    <a:lnTo>
                      <a:pt x="167" y="262"/>
                    </a:lnTo>
                    <a:lnTo>
                      <a:pt x="167" y="267"/>
                    </a:lnTo>
                    <a:lnTo>
                      <a:pt x="162" y="267"/>
                    </a:lnTo>
                    <a:lnTo>
                      <a:pt x="162" y="272"/>
                    </a:lnTo>
                    <a:lnTo>
                      <a:pt x="157" y="267"/>
                    </a:lnTo>
                    <a:lnTo>
                      <a:pt x="151" y="272"/>
                    </a:lnTo>
                    <a:lnTo>
                      <a:pt x="151" y="267"/>
                    </a:lnTo>
                    <a:lnTo>
                      <a:pt x="146" y="262"/>
                    </a:lnTo>
                    <a:lnTo>
                      <a:pt x="146" y="257"/>
                    </a:lnTo>
                    <a:lnTo>
                      <a:pt x="151" y="257"/>
                    </a:lnTo>
                    <a:lnTo>
                      <a:pt x="151" y="252"/>
                    </a:lnTo>
                    <a:lnTo>
                      <a:pt x="146" y="252"/>
                    </a:lnTo>
                    <a:lnTo>
                      <a:pt x="141" y="252"/>
                    </a:lnTo>
                    <a:lnTo>
                      <a:pt x="136" y="257"/>
                    </a:lnTo>
                    <a:lnTo>
                      <a:pt x="136" y="252"/>
                    </a:lnTo>
                    <a:lnTo>
                      <a:pt x="136" y="247"/>
                    </a:lnTo>
                    <a:lnTo>
                      <a:pt x="131" y="242"/>
                    </a:lnTo>
                    <a:lnTo>
                      <a:pt x="131" y="237"/>
                    </a:lnTo>
                    <a:lnTo>
                      <a:pt x="126" y="237"/>
                    </a:lnTo>
                    <a:lnTo>
                      <a:pt x="126" y="242"/>
                    </a:lnTo>
                    <a:lnTo>
                      <a:pt x="121" y="242"/>
                    </a:lnTo>
                    <a:lnTo>
                      <a:pt x="121" y="247"/>
                    </a:lnTo>
                    <a:lnTo>
                      <a:pt x="116" y="247"/>
                    </a:lnTo>
                    <a:lnTo>
                      <a:pt x="116" y="242"/>
                    </a:lnTo>
                    <a:lnTo>
                      <a:pt x="116" y="237"/>
                    </a:lnTo>
                    <a:lnTo>
                      <a:pt x="111" y="237"/>
                    </a:lnTo>
                    <a:lnTo>
                      <a:pt x="111" y="242"/>
                    </a:lnTo>
                    <a:lnTo>
                      <a:pt x="111" y="247"/>
                    </a:lnTo>
                    <a:lnTo>
                      <a:pt x="106" y="247"/>
                    </a:lnTo>
                    <a:lnTo>
                      <a:pt x="106" y="242"/>
                    </a:lnTo>
                    <a:lnTo>
                      <a:pt x="101" y="242"/>
                    </a:lnTo>
                    <a:lnTo>
                      <a:pt x="101" y="237"/>
                    </a:lnTo>
                    <a:lnTo>
                      <a:pt x="106" y="237"/>
                    </a:lnTo>
                    <a:lnTo>
                      <a:pt x="101" y="232"/>
                    </a:lnTo>
                    <a:lnTo>
                      <a:pt x="101" y="227"/>
                    </a:lnTo>
                    <a:lnTo>
                      <a:pt x="96" y="227"/>
                    </a:lnTo>
                    <a:lnTo>
                      <a:pt x="91" y="227"/>
                    </a:lnTo>
                    <a:lnTo>
                      <a:pt x="91" y="222"/>
                    </a:lnTo>
                    <a:lnTo>
                      <a:pt x="86" y="222"/>
                    </a:lnTo>
                    <a:lnTo>
                      <a:pt x="86" y="217"/>
                    </a:lnTo>
                    <a:lnTo>
                      <a:pt x="91" y="217"/>
                    </a:lnTo>
                    <a:lnTo>
                      <a:pt x="96" y="212"/>
                    </a:lnTo>
                    <a:lnTo>
                      <a:pt x="101" y="207"/>
                    </a:lnTo>
                    <a:lnTo>
                      <a:pt x="101" y="202"/>
                    </a:lnTo>
                    <a:lnTo>
                      <a:pt x="101" y="197"/>
                    </a:lnTo>
                    <a:lnTo>
                      <a:pt x="101" y="192"/>
                    </a:lnTo>
                    <a:lnTo>
                      <a:pt x="96" y="192"/>
                    </a:lnTo>
                    <a:lnTo>
                      <a:pt x="96" y="187"/>
                    </a:lnTo>
                    <a:lnTo>
                      <a:pt x="96" y="181"/>
                    </a:lnTo>
                    <a:lnTo>
                      <a:pt x="96" y="176"/>
                    </a:lnTo>
                    <a:lnTo>
                      <a:pt x="91" y="176"/>
                    </a:lnTo>
                    <a:lnTo>
                      <a:pt x="91" y="171"/>
                    </a:lnTo>
                    <a:lnTo>
                      <a:pt x="91" y="166"/>
                    </a:lnTo>
                    <a:lnTo>
                      <a:pt x="96" y="161"/>
                    </a:lnTo>
                    <a:lnTo>
                      <a:pt x="96" y="156"/>
                    </a:lnTo>
                    <a:lnTo>
                      <a:pt x="96" y="151"/>
                    </a:lnTo>
                    <a:lnTo>
                      <a:pt x="96" y="146"/>
                    </a:lnTo>
                    <a:lnTo>
                      <a:pt x="91" y="146"/>
                    </a:lnTo>
                    <a:lnTo>
                      <a:pt x="91" y="151"/>
                    </a:lnTo>
                    <a:lnTo>
                      <a:pt x="86" y="151"/>
                    </a:lnTo>
                    <a:lnTo>
                      <a:pt x="86" y="146"/>
                    </a:lnTo>
                    <a:lnTo>
                      <a:pt x="81" y="141"/>
                    </a:lnTo>
                    <a:lnTo>
                      <a:pt x="81" y="136"/>
                    </a:lnTo>
                    <a:lnTo>
                      <a:pt x="86" y="131"/>
                    </a:lnTo>
                    <a:lnTo>
                      <a:pt x="86" y="126"/>
                    </a:lnTo>
                    <a:lnTo>
                      <a:pt x="91" y="126"/>
                    </a:lnTo>
                    <a:lnTo>
                      <a:pt x="91" y="121"/>
                    </a:lnTo>
                    <a:lnTo>
                      <a:pt x="86" y="121"/>
                    </a:lnTo>
                    <a:lnTo>
                      <a:pt x="86" y="126"/>
                    </a:lnTo>
                    <a:lnTo>
                      <a:pt x="81" y="126"/>
                    </a:lnTo>
                    <a:lnTo>
                      <a:pt x="76" y="126"/>
                    </a:lnTo>
                    <a:lnTo>
                      <a:pt x="76" y="121"/>
                    </a:lnTo>
                    <a:lnTo>
                      <a:pt x="71" y="116"/>
                    </a:lnTo>
                    <a:lnTo>
                      <a:pt x="71" y="111"/>
                    </a:lnTo>
                    <a:lnTo>
                      <a:pt x="66" y="106"/>
                    </a:lnTo>
                    <a:lnTo>
                      <a:pt x="66" y="101"/>
                    </a:lnTo>
                    <a:lnTo>
                      <a:pt x="61" y="101"/>
                    </a:lnTo>
                    <a:lnTo>
                      <a:pt x="61" y="106"/>
                    </a:lnTo>
                    <a:lnTo>
                      <a:pt x="56" y="106"/>
                    </a:lnTo>
                    <a:lnTo>
                      <a:pt x="51" y="106"/>
                    </a:lnTo>
                    <a:lnTo>
                      <a:pt x="51" y="111"/>
                    </a:lnTo>
                    <a:lnTo>
                      <a:pt x="56" y="111"/>
                    </a:lnTo>
                    <a:lnTo>
                      <a:pt x="56" y="116"/>
                    </a:lnTo>
                    <a:lnTo>
                      <a:pt x="51" y="111"/>
                    </a:lnTo>
                    <a:lnTo>
                      <a:pt x="51" y="116"/>
                    </a:lnTo>
                    <a:lnTo>
                      <a:pt x="51" y="121"/>
                    </a:lnTo>
                    <a:lnTo>
                      <a:pt x="46" y="121"/>
                    </a:lnTo>
                    <a:lnTo>
                      <a:pt x="41" y="121"/>
                    </a:lnTo>
                    <a:lnTo>
                      <a:pt x="36" y="116"/>
                    </a:lnTo>
                    <a:lnTo>
                      <a:pt x="31" y="116"/>
                    </a:lnTo>
                    <a:lnTo>
                      <a:pt x="25" y="121"/>
                    </a:lnTo>
                    <a:lnTo>
                      <a:pt x="20" y="121"/>
                    </a:lnTo>
                    <a:lnTo>
                      <a:pt x="15" y="116"/>
                    </a:lnTo>
                    <a:lnTo>
                      <a:pt x="15" y="111"/>
                    </a:lnTo>
                    <a:lnTo>
                      <a:pt x="10" y="111"/>
                    </a:lnTo>
                    <a:lnTo>
                      <a:pt x="10" y="106"/>
                    </a:lnTo>
                    <a:lnTo>
                      <a:pt x="5" y="106"/>
                    </a:lnTo>
                    <a:lnTo>
                      <a:pt x="5" y="101"/>
                    </a:lnTo>
                    <a:lnTo>
                      <a:pt x="0" y="96"/>
                    </a:lnTo>
                    <a:lnTo>
                      <a:pt x="0" y="91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577">
                <a:extLst>
                  <a:ext uri="{FF2B5EF4-FFF2-40B4-BE49-F238E27FC236}">
                    <a16:creationId xmlns:a16="http://schemas.microsoft.com/office/drawing/2014/main" id="{D13CB8D8-0BDD-E49F-BC6A-3DDEAE9F4E39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3090927" y="2434489"/>
                <a:ext cx="989213" cy="681684"/>
              </a:xfrm>
              <a:custGeom>
                <a:avLst/>
                <a:gdLst>
                  <a:gd name="T0" fmla="*/ 2147483647 w 630"/>
                  <a:gd name="T1" fmla="*/ 2147483647 h 458"/>
                  <a:gd name="T2" fmla="*/ 2147483647 w 630"/>
                  <a:gd name="T3" fmla="*/ 2147483647 h 458"/>
                  <a:gd name="T4" fmla="*/ 2147483647 w 630"/>
                  <a:gd name="T5" fmla="*/ 2147483647 h 458"/>
                  <a:gd name="T6" fmla="*/ 2147483647 w 630"/>
                  <a:gd name="T7" fmla="*/ 2147483647 h 458"/>
                  <a:gd name="T8" fmla="*/ 2147483647 w 630"/>
                  <a:gd name="T9" fmla="*/ 2147483647 h 458"/>
                  <a:gd name="T10" fmla="*/ 2147483647 w 630"/>
                  <a:gd name="T11" fmla="*/ 2147483647 h 458"/>
                  <a:gd name="T12" fmla="*/ 2147483647 w 630"/>
                  <a:gd name="T13" fmla="*/ 2147483647 h 458"/>
                  <a:gd name="T14" fmla="*/ 2147483647 w 630"/>
                  <a:gd name="T15" fmla="*/ 2147483647 h 458"/>
                  <a:gd name="T16" fmla="*/ 2147483647 w 630"/>
                  <a:gd name="T17" fmla="*/ 2147483647 h 458"/>
                  <a:gd name="T18" fmla="*/ 2147483647 w 630"/>
                  <a:gd name="T19" fmla="*/ 2147483647 h 458"/>
                  <a:gd name="T20" fmla="*/ 2147483647 w 630"/>
                  <a:gd name="T21" fmla="*/ 2147483647 h 458"/>
                  <a:gd name="T22" fmla="*/ 2147483647 w 630"/>
                  <a:gd name="T23" fmla="*/ 2147483647 h 458"/>
                  <a:gd name="T24" fmla="*/ 2147483647 w 630"/>
                  <a:gd name="T25" fmla="*/ 2147483647 h 458"/>
                  <a:gd name="T26" fmla="*/ 2147483647 w 630"/>
                  <a:gd name="T27" fmla="*/ 2147483647 h 458"/>
                  <a:gd name="T28" fmla="*/ 2147483647 w 630"/>
                  <a:gd name="T29" fmla="*/ 2147483647 h 458"/>
                  <a:gd name="T30" fmla="*/ 2147483647 w 630"/>
                  <a:gd name="T31" fmla="*/ 2147483647 h 458"/>
                  <a:gd name="T32" fmla="*/ 2147483647 w 630"/>
                  <a:gd name="T33" fmla="*/ 2147483647 h 458"/>
                  <a:gd name="T34" fmla="*/ 2147483647 w 630"/>
                  <a:gd name="T35" fmla="*/ 2147483647 h 458"/>
                  <a:gd name="T36" fmla="*/ 2147483647 w 630"/>
                  <a:gd name="T37" fmla="*/ 2147483647 h 458"/>
                  <a:gd name="T38" fmla="*/ 2147483647 w 630"/>
                  <a:gd name="T39" fmla="*/ 2147483647 h 458"/>
                  <a:gd name="T40" fmla="*/ 2147483647 w 630"/>
                  <a:gd name="T41" fmla="*/ 2147483647 h 458"/>
                  <a:gd name="T42" fmla="*/ 2147483647 w 630"/>
                  <a:gd name="T43" fmla="*/ 2147483647 h 458"/>
                  <a:gd name="T44" fmla="*/ 2147483647 w 630"/>
                  <a:gd name="T45" fmla="*/ 2147483647 h 458"/>
                  <a:gd name="T46" fmla="*/ 2147483647 w 630"/>
                  <a:gd name="T47" fmla="*/ 2147483647 h 458"/>
                  <a:gd name="T48" fmla="*/ 2147483647 w 630"/>
                  <a:gd name="T49" fmla="*/ 2147483647 h 458"/>
                  <a:gd name="T50" fmla="*/ 2147483647 w 630"/>
                  <a:gd name="T51" fmla="*/ 2147483647 h 458"/>
                  <a:gd name="T52" fmla="*/ 2147483647 w 630"/>
                  <a:gd name="T53" fmla="*/ 2147483647 h 458"/>
                  <a:gd name="T54" fmla="*/ 2147483647 w 630"/>
                  <a:gd name="T55" fmla="*/ 2147483647 h 458"/>
                  <a:gd name="T56" fmla="*/ 2147483647 w 630"/>
                  <a:gd name="T57" fmla="*/ 2147483647 h 458"/>
                  <a:gd name="T58" fmla="*/ 2147483647 w 630"/>
                  <a:gd name="T59" fmla="*/ 2147483647 h 458"/>
                  <a:gd name="T60" fmla="*/ 0 w 630"/>
                  <a:gd name="T61" fmla="*/ 2147483647 h 458"/>
                  <a:gd name="T62" fmla="*/ 2147483647 w 630"/>
                  <a:gd name="T63" fmla="*/ 2147483647 h 458"/>
                  <a:gd name="T64" fmla="*/ 2147483647 w 630"/>
                  <a:gd name="T65" fmla="*/ 2147483647 h 458"/>
                  <a:gd name="T66" fmla="*/ 2147483647 w 630"/>
                  <a:gd name="T67" fmla="*/ 2147483647 h 458"/>
                  <a:gd name="T68" fmla="*/ 2147483647 w 630"/>
                  <a:gd name="T69" fmla="*/ 2147483647 h 458"/>
                  <a:gd name="T70" fmla="*/ 2147483647 w 630"/>
                  <a:gd name="T71" fmla="*/ 2147483647 h 458"/>
                  <a:gd name="T72" fmla="*/ 2147483647 w 630"/>
                  <a:gd name="T73" fmla="*/ 2147483647 h 458"/>
                  <a:gd name="T74" fmla="*/ 2147483647 w 630"/>
                  <a:gd name="T75" fmla="*/ 2147483647 h 458"/>
                  <a:gd name="T76" fmla="*/ 2147483647 w 630"/>
                  <a:gd name="T77" fmla="*/ 2147483647 h 458"/>
                  <a:gd name="T78" fmla="*/ 2147483647 w 630"/>
                  <a:gd name="T79" fmla="*/ 2147483647 h 458"/>
                  <a:gd name="T80" fmla="*/ 2147483647 w 630"/>
                  <a:gd name="T81" fmla="*/ 2147483647 h 458"/>
                  <a:gd name="T82" fmla="*/ 2147483647 w 630"/>
                  <a:gd name="T83" fmla="*/ 2147483647 h 458"/>
                  <a:gd name="T84" fmla="*/ 2147483647 w 630"/>
                  <a:gd name="T85" fmla="*/ 2147483647 h 458"/>
                  <a:gd name="T86" fmla="*/ 2147483647 w 630"/>
                  <a:gd name="T87" fmla="*/ 0 h 458"/>
                  <a:gd name="T88" fmla="*/ 2147483647 w 630"/>
                  <a:gd name="T89" fmla="*/ 2147483647 h 458"/>
                  <a:gd name="T90" fmla="*/ 2147483647 w 630"/>
                  <a:gd name="T91" fmla="*/ 2147483647 h 458"/>
                  <a:gd name="T92" fmla="*/ 2147483647 w 630"/>
                  <a:gd name="T93" fmla="*/ 2147483647 h 458"/>
                  <a:gd name="T94" fmla="*/ 2147483647 w 630"/>
                  <a:gd name="T95" fmla="*/ 2147483647 h 458"/>
                  <a:gd name="T96" fmla="*/ 2147483647 w 630"/>
                  <a:gd name="T97" fmla="*/ 2147483647 h 458"/>
                  <a:gd name="T98" fmla="*/ 2147483647 w 630"/>
                  <a:gd name="T99" fmla="*/ 2147483647 h 458"/>
                  <a:gd name="T100" fmla="*/ 2147483647 w 630"/>
                  <a:gd name="T101" fmla="*/ 2147483647 h 458"/>
                  <a:gd name="T102" fmla="*/ 2147483647 w 630"/>
                  <a:gd name="T103" fmla="*/ 2147483647 h 458"/>
                  <a:gd name="T104" fmla="*/ 2147483647 w 630"/>
                  <a:gd name="T105" fmla="*/ 2147483647 h 458"/>
                  <a:gd name="T106" fmla="*/ 2147483647 w 630"/>
                  <a:gd name="T107" fmla="*/ 2147483647 h 458"/>
                  <a:gd name="T108" fmla="*/ 2147483647 w 630"/>
                  <a:gd name="T109" fmla="*/ 2147483647 h 458"/>
                  <a:gd name="T110" fmla="*/ 2147483647 w 630"/>
                  <a:gd name="T111" fmla="*/ 2147483647 h 458"/>
                  <a:gd name="T112" fmla="*/ 2147483647 w 630"/>
                  <a:gd name="T113" fmla="*/ 2147483647 h 458"/>
                  <a:gd name="T114" fmla="*/ 2147483647 w 630"/>
                  <a:gd name="T115" fmla="*/ 2147483647 h 458"/>
                  <a:gd name="T116" fmla="*/ 2147483647 w 630"/>
                  <a:gd name="T117" fmla="*/ 2147483647 h 4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30"/>
                  <a:gd name="T178" fmla="*/ 0 h 458"/>
                  <a:gd name="T179" fmla="*/ 630 w 630"/>
                  <a:gd name="T180" fmla="*/ 458 h 4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30" h="458">
                    <a:moveTo>
                      <a:pt x="585" y="302"/>
                    </a:moveTo>
                    <a:lnTo>
                      <a:pt x="580" y="302"/>
                    </a:lnTo>
                    <a:lnTo>
                      <a:pt x="575" y="302"/>
                    </a:lnTo>
                    <a:lnTo>
                      <a:pt x="575" y="297"/>
                    </a:lnTo>
                    <a:lnTo>
                      <a:pt x="570" y="297"/>
                    </a:lnTo>
                    <a:lnTo>
                      <a:pt x="570" y="302"/>
                    </a:lnTo>
                    <a:lnTo>
                      <a:pt x="570" y="307"/>
                    </a:lnTo>
                    <a:lnTo>
                      <a:pt x="560" y="312"/>
                    </a:lnTo>
                    <a:lnTo>
                      <a:pt x="560" y="307"/>
                    </a:lnTo>
                    <a:lnTo>
                      <a:pt x="565" y="307"/>
                    </a:lnTo>
                    <a:lnTo>
                      <a:pt x="565" y="302"/>
                    </a:lnTo>
                    <a:lnTo>
                      <a:pt x="560" y="302"/>
                    </a:lnTo>
                    <a:lnTo>
                      <a:pt x="555" y="302"/>
                    </a:lnTo>
                    <a:lnTo>
                      <a:pt x="550" y="307"/>
                    </a:lnTo>
                    <a:lnTo>
                      <a:pt x="550" y="312"/>
                    </a:lnTo>
                    <a:lnTo>
                      <a:pt x="545" y="312"/>
                    </a:lnTo>
                    <a:lnTo>
                      <a:pt x="540" y="312"/>
                    </a:lnTo>
                    <a:lnTo>
                      <a:pt x="540" y="317"/>
                    </a:lnTo>
                    <a:lnTo>
                      <a:pt x="545" y="317"/>
                    </a:lnTo>
                    <a:lnTo>
                      <a:pt x="540" y="322"/>
                    </a:lnTo>
                    <a:lnTo>
                      <a:pt x="540" y="327"/>
                    </a:lnTo>
                    <a:lnTo>
                      <a:pt x="535" y="327"/>
                    </a:lnTo>
                    <a:lnTo>
                      <a:pt x="530" y="327"/>
                    </a:lnTo>
                    <a:lnTo>
                      <a:pt x="530" y="332"/>
                    </a:lnTo>
                    <a:lnTo>
                      <a:pt x="524" y="332"/>
                    </a:lnTo>
                    <a:lnTo>
                      <a:pt x="519" y="337"/>
                    </a:lnTo>
                    <a:lnTo>
                      <a:pt x="524" y="337"/>
                    </a:lnTo>
                    <a:lnTo>
                      <a:pt x="519" y="342"/>
                    </a:lnTo>
                    <a:lnTo>
                      <a:pt x="519" y="337"/>
                    </a:lnTo>
                    <a:lnTo>
                      <a:pt x="519" y="342"/>
                    </a:lnTo>
                    <a:lnTo>
                      <a:pt x="514" y="342"/>
                    </a:lnTo>
                    <a:lnTo>
                      <a:pt x="514" y="347"/>
                    </a:lnTo>
                    <a:lnTo>
                      <a:pt x="514" y="353"/>
                    </a:lnTo>
                    <a:lnTo>
                      <a:pt x="519" y="353"/>
                    </a:lnTo>
                    <a:lnTo>
                      <a:pt x="519" y="358"/>
                    </a:lnTo>
                    <a:lnTo>
                      <a:pt x="514" y="358"/>
                    </a:lnTo>
                    <a:lnTo>
                      <a:pt x="509" y="358"/>
                    </a:lnTo>
                    <a:lnTo>
                      <a:pt x="509" y="363"/>
                    </a:lnTo>
                    <a:lnTo>
                      <a:pt x="504" y="358"/>
                    </a:lnTo>
                    <a:lnTo>
                      <a:pt x="499" y="363"/>
                    </a:lnTo>
                    <a:lnTo>
                      <a:pt x="489" y="358"/>
                    </a:lnTo>
                    <a:lnTo>
                      <a:pt x="494" y="368"/>
                    </a:lnTo>
                    <a:lnTo>
                      <a:pt x="489" y="368"/>
                    </a:lnTo>
                    <a:lnTo>
                      <a:pt x="494" y="373"/>
                    </a:lnTo>
                    <a:lnTo>
                      <a:pt x="489" y="373"/>
                    </a:lnTo>
                    <a:lnTo>
                      <a:pt x="489" y="378"/>
                    </a:lnTo>
                    <a:lnTo>
                      <a:pt x="489" y="383"/>
                    </a:lnTo>
                    <a:lnTo>
                      <a:pt x="484" y="383"/>
                    </a:lnTo>
                    <a:lnTo>
                      <a:pt x="489" y="388"/>
                    </a:lnTo>
                    <a:lnTo>
                      <a:pt x="489" y="398"/>
                    </a:lnTo>
                    <a:lnTo>
                      <a:pt x="489" y="403"/>
                    </a:lnTo>
                    <a:lnTo>
                      <a:pt x="489" y="413"/>
                    </a:lnTo>
                    <a:lnTo>
                      <a:pt x="489" y="418"/>
                    </a:lnTo>
                    <a:lnTo>
                      <a:pt x="499" y="418"/>
                    </a:lnTo>
                    <a:lnTo>
                      <a:pt x="499" y="423"/>
                    </a:lnTo>
                    <a:lnTo>
                      <a:pt x="499" y="428"/>
                    </a:lnTo>
                    <a:lnTo>
                      <a:pt x="504" y="428"/>
                    </a:lnTo>
                    <a:lnTo>
                      <a:pt x="499" y="433"/>
                    </a:lnTo>
                    <a:lnTo>
                      <a:pt x="494" y="433"/>
                    </a:lnTo>
                    <a:lnTo>
                      <a:pt x="499" y="438"/>
                    </a:lnTo>
                    <a:lnTo>
                      <a:pt x="504" y="438"/>
                    </a:lnTo>
                    <a:lnTo>
                      <a:pt x="504" y="448"/>
                    </a:lnTo>
                    <a:lnTo>
                      <a:pt x="504" y="453"/>
                    </a:lnTo>
                    <a:lnTo>
                      <a:pt x="504" y="458"/>
                    </a:lnTo>
                    <a:lnTo>
                      <a:pt x="499" y="453"/>
                    </a:lnTo>
                    <a:lnTo>
                      <a:pt x="494" y="453"/>
                    </a:lnTo>
                    <a:lnTo>
                      <a:pt x="489" y="453"/>
                    </a:lnTo>
                    <a:lnTo>
                      <a:pt x="479" y="448"/>
                    </a:lnTo>
                    <a:lnTo>
                      <a:pt x="474" y="453"/>
                    </a:lnTo>
                    <a:lnTo>
                      <a:pt x="469" y="448"/>
                    </a:lnTo>
                    <a:lnTo>
                      <a:pt x="464" y="443"/>
                    </a:lnTo>
                    <a:lnTo>
                      <a:pt x="459" y="443"/>
                    </a:lnTo>
                    <a:lnTo>
                      <a:pt x="454" y="443"/>
                    </a:lnTo>
                    <a:lnTo>
                      <a:pt x="454" y="438"/>
                    </a:lnTo>
                    <a:lnTo>
                      <a:pt x="444" y="438"/>
                    </a:lnTo>
                    <a:lnTo>
                      <a:pt x="439" y="438"/>
                    </a:lnTo>
                    <a:lnTo>
                      <a:pt x="429" y="433"/>
                    </a:lnTo>
                    <a:lnTo>
                      <a:pt x="424" y="433"/>
                    </a:lnTo>
                    <a:lnTo>
                      <a:pt x="419" y="433"/>
                    </a:lnTo>
                    <a:lnTo>
                      <a:pt x="414" y="433"/>
                    </a:lnTo>
                    <a:lnTo>
                      <a:pt x="409" y="428"/>
                    </a:lnTo>
                    <a:lnTo>
                      <a:pt x="404" y="428"/>
                    </a:lnTo>
                    <a:lnTo>
                      <a:pt x="398" y="428"/>
                    </a:lnTo>
                    <a:lnTo>
                      <a:pt x="388" y="433"/>
                    </a:lnTo>
                    <a:lnTo>
                      <a:pt x="383" y="433"/>
                    </a:lnTo>
                    <a:lnTo>
                      <a:pt x="383" y="428"/>
                    </a:lnTo>
                    <a:lnTo>
                      <a:pt x="378" y="428"/>
                    </a:lnTo>
                    <a:lnTo>
                      <a:pt x="373" y="428"/>
                    </a:lnTo>
                    <a:lnTo>
                      <a:pt x="373" y="433"/>
                    </a:lnTo>
                    <a:lnTo>
                      <a:pt x="368" y="438"/>
                    </a:lnTo>
                    <a:lnTo>
                      <a:pt x="373" y="438"/>
                    </a:lnTo>
                    <a:lnTo>
                      <a:pt x="368" y="448"/>
                    </a:lnTo>
                    <a:lnTo>
                      <a:pt x="363" y="443"/>
                    </a:lnTo>
                    <a:lnTo>
                      <a:pt x="363" y="448"/>
                    </a:lnTo>
                    <a:lnTo>
                      <a:pt x="358" y="448"/>
                    </a:lnTo>
                    <a:lnTo>
                      <a:pt x="353" y="448"/>
                    </a:lnTo>
                    <a:lnTo>
                      <a:pt x="348" y="453"/>
                    </a:lnTo>
                    <a:lnTo>
                      <a:pt x="348" y="448"/>
                    </a:lnTo>
                    <a:lnTo>
                      <a:pt x="343" y="443"/>
                    </a:lnTo>
                    <a:lnTo>
                      <a:pt x="338" y="443"/>
                    </a:lnTo>
                    <a:lnTo>
                      <a:pt x="333" y="448"/>
                    </a:lnTo>
                    <a:lnTo>
                      <a:pt x="333" y="453"/>
                    </a:lnTo>
                    <a:lnTo>
                      <a:pt x="323" y="453"/>
                    </a:lnTo>
                    <a:lnTo>
                      <a:pt x="318" y="453"/>
                    </a:lnTo>
                    <a:lnTo>
                      <a:pt x="318" y="448"/>
                    </a:lnTo>
                    <a:lnTo>
                      <a:pt x="308" y="438"/>
                    </a:lnTo>
                    <a:lnTo>
                      <a:pt x="313" y="438"/>
                    </a:lnTo>
                    <a:lnTo>
                      <a:pt x="313" y="433"/>
                    </a:lnTo>
                    <a:lnTo>
                      <a:pt x="308" y="428"/>
                    </a:lnTo>
                    <a:lnTo>
                      <a:pt x="308" y="423"/>
                    </a:lnTo>
                    <a:lnTo>
                      <a:pt x="308" y="418"/>
                    </a:lnTo>
                    <a:lnTo>
                      <a:pt x="303" y="423"/>
                    </a:lnTo>
                    <a:lnTo>
                      <a:pt x="298" y="423"/>
                    </a:lnTo>
                    <a:lnTo>
                      <a:pt x="298" y="418"/>
                    </a:lnTo>
                    <a:lnTo>
                      <a:pt x="298" y="413"/>
                    </a:lnTo>
                    <a:lnTo>
                      <a:pt x="293" y="408"/>
                    </a:lnTo>
                    <a:lnTo>
                      <a:pt x="283" y="408"/>
                    </a:lnTo>
                    <a:lnTo>
                      <a:pt x="293" y="428"/>
                    </a:lnTo>
                    <a:lnTo>
                      <a:pt x="288" y="428"/>
                    </a:lnTo>
                    <a:lnTo>
                      <a:pt x="288" y="423"/>
                    </a:lnTo>
                    <a:lnTo>
                      <a:pt x="283" y="423"/>
                    </a:lnTo>
                    <a:lnTo>
                      <a:pt x="278" y="423"/>
                    </a:lnTo>
                    <a:lnTo>
                      <a:pt x="278" y="418"/>
                    </a:lnTo>
                    <a:lnTo>
                      <a:pt x="272" y="413"/>
                    </a:lnTo>
                    <a:lnTo>
                      <a:pt x="272" y="408"/>
                    </a:lnTo>
                    <a:lnTo>
                      <a:pt x="262" y="408"/>
                    </a:lnTo>
                    <a:lnTo>
                      <a:pt x="257" y="408"/>
                    </a:lnTo>
                    <a:lnTo>
                      <a:pt x="252" y="408"/>
                    </a:lnTo>
                    <a:lnTo>
                      <a:pt x="242" y="408"/>
                    </a:lnTo>
                    <a:lnTo>
                      <a:pt x="237" y="403"/>
                    </a:lnTo>
                    <a:lnTo>
                      <a:pt x="237" y="398"/>
                    </a:lnTo>
                    <a:lnTo>
                      <a:pt x="232" y="398"/>
                    </a:lnTo>
                    <a:lnTo>
                      <a:pt x="232" y="403"/>
                    </a:lnTo>
                    <a:lnTo>
                      <a:pt x="227" y="403"/>
                    </a:lnTo>
                    <a:lnTo>
                      <a:pt x="222" y="403"/>
                    </a:lnTo>
                    <a:lnTo>
                      <a:pt x="217" y="403"/>
                    </a:lnTo>
                    <a:lnTo>
                      <a:pt x="207" y="408"/>
                    </a:lnTo>
                    <a:lnTo>
                      <a:pt x="202" y="413"/>
                    </a:lnTo>
                    <a:lnTo>
                      <a:pt x="197" y="413"/>
                    </a:lnTo>
                    <a:lnTo>
                      <a:pt x="192" y="408"/>
                    </a:lnTo>
                    <a:lnTo>
                      <a:pt x="187" y="408"/>
                    </a:lnTo>
                    <a:lnTo>
                      <a:pt x="187" y="413"/>
                    </a:lnTo>
                    <a:lnTo>
                      <a:pt x="182" y="413"/>
                    </a:lnTo>
                    <a:lnTo>
                      <a:pt x="172" y="418"/>
                    </a:lnTo>
                    <a:lnTo>
                      <a:pt x="167" y="413"/>
                    </a:lnTo>
                    <a:lnTo>
                      <a:pt x="162" y="413"/>
                    </a:lnTo>
                    <a:lnTo>
                      <a:pt x="157" y="408"/>
                    </a:lnTo>
                    <a:lnTo>
                      <a:pt x="152" y="408"/>
                    </a:lnTo>
                    <a:lnTo>
                      <a:pt x="141" y="408"/>
                    </a:lnTo>
                    <a:lnTo>
                      <a:pt x="141" y="403"/>
                    </a:lnTo>
                    <a:lnTo>
                      <a:pt x="141" y="393"/>
                    </a:lnTo>
                    <a:lnTo>
                      <a:pt x="141" y="388"/>
                    </a:lnTo>
                    <a:lnTo>
                      <a:pt x="146" y="383"/>
                    </a:lnTo>
                    <a:lnTo>
                      <a:pt x="152" y="383"/>
                    </a:lnTo>
                    <a:lnTo>
                      <a:pt x="157" y="383"/>
                    </a:lnTo>
                    <a:lnTo>
                      <a:pt x="162" y="383"/>
                    </a:lnTo>
                    <a:lnTo>
                      <a:pt x="167" y="383"/>
                    </a:lnTo>
                    <a:lnTo>
                      <a:pt x="172" y="383"/>
                    </a:lnTo>
                    <a:lnTo>
                      <a:pt x="177" y="383"/>
                    </a:lnTo>
                    <a:lnTo>
                      <a:pt x="182" y="383"/>
                    </a:lnTo>
                    <a:lnTo>
                      <a:pt x="187" y="383"/>
                    </a:lnTo>
                    <a:lnTo>
                      <a:pt x="187" y="378"/>
                    </a:lnTo>
                    <a:lnTo>
                      <a:pt x="182" y="373"/>
                    </a:lnTo>
                    <a:lnTo>
                      <a:pt x="177" y="378"/>
                    </a:lnTo>
                    <a:lnTo>
                      <a:pt x="177" y="373"/>
                    </a:lnTo>
                    <a:lnTo>
                      <a:pt x="172" y="373"/>
                    </a:lnTo>
                    <a:lnTo>
                      <a:pt x="172" y="368"/>
                    </a:lnTo>
                    <a:lnTo>
                      <a:pt x="167" y="368"/>
                    </a:lnTo>
                    <a:lnTo>
                      <a:pt x="167" y="363"/>
                    </a:lnTo>
                    <a:lnTo>
                      <a:pt x="167" y="358"/>
                    </a:lnTo>
                    <a:lnTo>
                      <a:pt x="167" y="353"/>
                    </a:lnTo>
                    <a:lnTo>
                      <a:pt x="172" y="347"/>
                    </a:lnTo>
                    <a:lnTo>
                      <a:pt x="172" y="342"/>
                    </a:lnTo>
                    <a:lnTo>
                      <a:pt x="177" y="337"/>
                    </a:lnTo>
                    <a:lnTo>
                      <a:pt x="177" y="332"/>
                    </a:lnTo>
                    <a:lnTo>
                      <a:pt x="172" y="332"/>
                    </a:lnTo>
                    <a:lnTo>
                      <a:pt x="172" y="327"/>
                    </a:lnTo>
                    <a:lnTo>
                      <a:pt x="172" y="322"/>
                    </a:lnTo>
                    <a:lnTo>
                      <a:pt x="167" y="322"/>
                    </a:lnTo>
                    <a:lnTo>
                      <a:pt x="167" y="317"/>
                    </a:lnTo>
                    <a:lnTo>
                      <a:pt x="162" y="317"/>
                    </a:lnTo>
                    <a:lnTo>
                      <a:pt x="162" y="312"/>
                    </a:lnTo>
                    <a:lnTo>
                      <a:pt x="162" y="307"/>
                    </a:lnTo>
                    <a:lnTo>
                      <a:pt x="152" y="307"/>
                    </a:lnTo>
                    <a:lnTo>
                      <a:pt x="141" y="302"/>
                    </a:lnTo>
                    <a:lnTo>
                      <a:pt x="131" y="302"/>
                    </a:lnTo>
                    <a:lnTo>
                      <a:pt x="126" y="287"/>
                    </a:lnTo>
                    <a:lnTo>
                      <a:pt x="121" y="287"/>
                    </a:lnTo>
                    <a:lnTo>
                      <a:pt x="116" y="287"/>
                    </a:lnTo>
                    <a:lnTo>
                      <a:pt x="111" y="282"/>
                    </a:lnTo>
                    <a:lnTo>
                      <a:pt x="101" y="282"/>
                    </a:lnTo>
                    <a:lnTo>
                      <a:pt x="96" y="277"/>
                    </a:lnTo>
                    <a:lnTo>
                      <a:pt x="86" y="272"/>
                    </a:lnTo>
                    <a:lnTo>
                      <a:pt x="81" y="267"/>
                    </a:lnTo>
                    <a:lnTo>
                      <a:pt x="86" y="267"/>
                    </a:lnTo>
                    <a:lnTo>
                      <a:pt x="91" y="262"/>
                    </a:lnTo>
                    <a:lnTo>
                      <a:pt x="86" y="257"/>
                    </a:lnTo>
                    <a:lnTo>
                      <a:pt x="86" y="242"/>
                    </a:lnTo>
                    <a:lnTo>
                      <a:pt x="76" y="242"/>
                    </a:lnTo>
                    <a:lnTo>
                      <a:pt x="71" y="232"/>
                    </a:lnTo>
                    <a:lnTo>
                      <a:pt x="66" y="227"/>
                    </a:lnTo>
                    <a:lnTo>
                      <a:pt x="61" y="222"/>
                    </a:lnTo>
                    <a:lnTo>
                      <a:pt x="61" y="227"/>
                    </a:lnTo>
                    <a:lnTo>
                      <a:pt x="56" y="227"/>
                    </a:lnTo>
                    <a:lnTo>
                      <a:pt x="46" y="222"/>
                    </a:lnTo>
                    <a:lnTo>
                      <a:pt x="46" y="216"/>
                    </a:lnTo>
                    <a:lnTo>
                      <a:pt x="41" y="216"/>
                    </a:lnTo>
                    <a:lnTo>
                      <a:pt x="46" y="211"/>
                    </a:lnTo>
                    <a:lnTo>
                      <a:pt x="51" y="206"/>
                    </a:lnTo>
                    <a:lnTo>
                      <a:pt x="46" y="201"/>
                    </a:lnTo>
                    <a:lnTo>
                      <a:pt x="20" y="201"/>
                    </a:lnTo>
                    <a:lnTo>
                      <a:pt x="10" y="196"/>
                    </a:lnTo>
                    <a:lnTo>
                      <a:pt x="15" y="191"/>
                    </a:lnTo>
                    <a:lnTo>
                      <a:pt x="10" y="191"/>
                    </a:lnTo>
                    <a:lnTo>
                      <a:pt x="5" y="186"/>
                    </a:lnTo>
                    <a:lnTo>
                      <a:pt x="5" y="181"/>
                    </a:lnTo>
                    <a:lnTo>
                      <a:pt x="0" y="181"/>
                    </a:lnTo>
                    <a:lnTo>
                      <a:pt x="0" y="176"/>
                    </a:lnTo>
                    <a:lnTo>
                      <a:pt x="5" y="176"/>
                    </a:lnTo>
                    <a:lnTo>
                      <a:pt x="5" y="171"/>
                    </a:lnTo>
                    <a:lnTo>
                      <a:pt x="5" y="166"/>
                    </a:lnTo>
                    <a:lnTo>
                      <a:pt x="10" y="161"/>
                    </a:lnTo>
                    <a:lnTo>
                      <a:pt x="5" y="161"/>
                    </a:lnTo>
                    <a:lnTo>
                      <a:pt x="15" y="151"/>
                    </a:lnTo>
                    <a:lnTo>
                      <a:pt x="20" y="156"/>
                    </a:lnTo>
                    <a:lnTo>
                      <a:pt x="26" y="156"/>
                    </a:lnTo>
                    <a:lnTo>
                      <a:pt x="26" y="151"/>
                    </a:lnTo>
                    <a:lnTo>
                      <a:pt x="20" y="151"/>
                    </a:lnTo>
                    <a:lnTo>
                      <a:pt x="20" y="146"/>
                    </a:lnTo>
                    <a:lnTo>
                      <a:pt x="26" y="146"/>
                    </a:lnTo>
                    <a:lnTo>
                      <a:pt x="31" y="136"/>
                    </a:lnTo>
                    <a:lnTo>
                      <a:pt x="31" y="131"/>
                    </a:lnTo>
                    <a:lnTo>
                      <a:pt x="36" y="126"/>
                    </a:lnTo>
                    <a:lnTo>
                      <a:pt x="41" y="131"/>
                    </a:lnTo>
                    <a:lnTo>
                      <a:pt x="56" y="126"/>
                    </a:lnTo>
                    <a:lnTo>
                      <a:pt x="61" y="126"/>
                    </a:lnTo>
                    <a:lnTo>
                      <a:pt x="61" y="131"/>
                    </a:lnTo>
                    <a:lnTo>
                      <a:pt x="61" y="136"/>
                    </a:lnTo>
                    <a:lnTo>
                      <a:pt x="66" y="136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31"/>
                    </a:lnTo>
                    <a:lnTo>
                      <a:pt x="86" y="131"/>
                    </a:lnTo>
                    <a:lnTo>
                      <a:pt x="86" y="126"/>
                    </a:lnTo>
                    <a:lnTo>
                      <a:pt x="91" y="126"/>
                    </a:lnTo>
                    <a:lnTo>
                      <a:pt x="96" y="126"/>
                    </a:lnTo>
                    <a:lnTo>
                      <a:pt x="106" y="121"/>
                    </a:lnTo>
                    <a:lnTo>
                      <a:pt x="111" y="126"/>
                    </a:lnTo>
                    <a:lnTo>
                      <a:pt x="111" y="121"/>
                    </a:lnTo>
                    <a:lnTo>
                      <a:pt x="111" y="116"/>
                    </a:lnTo>
                    <a:lnTo>
                      <a:pt x="116" y="116"/>
                    </a:lnTo>
                    <a:lnTo>
                      <a:pt x="121" y="116"/>
                    </a:lnTo>
                    <a:lnTo>
                      <a:pt x="126" y="101"/>
                    </a:lnTo>
                    <a:lnTo>
                      <a:pt x="126" y="96"/>
                    </a:lnTo>
                    <a:lnTo>
                      <a:pt x="131" y="96"/>
                    </a:lnTo>
                    <a:lnTo>
                      <a:pt x="131" y="90"/>
                    </a:lnTo>
                    <a:lnTo>
                      <a:pt x="131" y="85"/>
                    </a:lnTo>
                    <a:lnTo>
                      <a:pt x="131" y="80"/>
                    </a:lnTo>
                    <a:lnTo>
                      <a:pt x="141" y="80"/>
                    </a:lnTo>
                    <a:lnTo>
                      <a:pt x="141" y="75"/>
                    </a:lnTo>
                    <a:lnTo>
                      <a:pt x="141" y="70"/>
                    </a:lnTo>
                    <a:lnTo>
                      <a:pt x="141" y="65"/>
                    </a:lnTo>
                    <a:lnTo>
                      <a:pt x="152" y="65"/>
                    </a:lnTo>
                    <a:lnTo>
                      <a:pt x="157" y="65"/>
                    </a:lnTo>
                    <a:lnTo>
                      <a:pt x="157" y="60"/>
                    </a:lnTo>
                    <a:lnTo>
                      <a:pt x="162" y="55"/>
                    </a:lnTo>
                    <a:lnTo>
                      <a:pt x="167" y="60"/>
                    </a:lnTo>
                    <a:lnTo>
                      <a:pt x="172" y="60"/>
                    </a:lnTo>
                    <a:lnTo>
                      <a:pt x="172" y="55"/>
                    </a:lnTo>
                    <a:lnTo>
                      <a:pt x="172" y="50"/>
                    </a:lnTo>
                    <a:lnTo>
                      <a:pt x="177" y="45"/>
                    </a:lnTo>
                    <a:lnTo>
                      <a:pt x="177" y="50"/>
                    </a:lnTo>
                    <a:lnTo>
                      <a:pt x="182" y="50"/>
                    </a:lnTo>
                    <a:lnTo>
                      <a:pt x="192" y="50"/>
                    </a:lnTo>
                    <a:lnTo>
                      <a:pt x="197" y="55"/>
                    </a:lnTo>
                    <a:lnTo>
                      <a:pt x="202" y="55"/>
                    </a:lnTo>
                    <a:lnTo>
                      <a:pt x="207" y="55"/>
                    </a:lnTo>
                    <a:lnTo>
                      <a:pt x="207" y="50"/>
                    </a:lnTo>
                    <a:lnTo>
                      <a:pt x="212" y="50"/>
                    </a:lnTo>
                    <a:lnTo>
                      <a:pt x="217" y="45"/>
                    </a:lnTo>
                    <a:lnTo>
                      <a:pt x="222" y="50"/>
                    </a:lnTo>
                    <a:lnTo>
                      <a:pt x="222" y="45"/>
                    </a:lnTo>
                    <a:lnTo>
                      <a:pt x="227" y="45"/>
                    </a:lnTo>
                    <a:lnTo>
                      <a:pt x="232" y="40"/>
                    </a:lnTo>
                    <a:lnTo>
                      <a:pt x="237" y="45"/>
                    </a:lnTo>
                    <a:lnTo>
                      <a:pt x="252" y="45"/>
                    </a:lnTo>
                    <a:lnTo>
                      <a:pt x="257" y="45"/>
                    </a:lnTo>
                    <a:lnTo>
                      <a:pt x="267" y="40"/>
                    </a:lnTo>
                    <a:lnTo>
                      <a:pt x="267" y="35"/>
                    </a:lnTo>
                    <a:lnTo>
                      <a:pt x="267" y="30"/>
                    </a:lnTo>
                    <a:lnTo>
                      <a:pt x="272" y="30"/>
                    </a:lnTo>
                    <a:lnTo>
                      <a:pt x="272" y="25"/>
                    </a:lnTo>
                    <a:lnTo>
                      <a:pt x="267" y="25"/>
                    </a:lnTo>
                    <a:lnTo>
                      <a:pt x="267" y="20"/>
                    </a:lnTo>
                    <a:lnTo>
                      <a:pt x="272" y="20"/>
                    </a:lnTo>
                    <a:lnTo>
                      <a:pt x="278" y="15"/>
                    </a:lnTo>
                    <a:lnTo>
                      <a:pt x="278" y="20"/>
                    </a:lnTo>
                    <a:lnTo>
                      <a:pt x="283" y="20"/>
                    </a:lnTo>
                    <a:lnTo>
                      <a:pt x="288" y="10"/>
                    </a:lnTo>
                    <a:lnTo>
                      <a:pt x="308" y="15"/>
                    </a:lnTo>
                    <a:lnTo>
                      <a:pt x="308" y="10"/>
                    </a:lnTo>
                    <a:lnTo>
                      <a:pt x="313" y="10"/>
                    </a:lnTo>
                    <a:lnTo>
                      <a:pt x="308" y="15"/>
                    </a:lnTo>
                    <a:lnTo>
                      <a:pt x="313" y="15"/>
                    </a:lnTo>
                    <a:lnTo>
                      <a:pt x="318" y="10"/>
                    </a:lnTo>
                    <a:lnTo>
                      <a:pt x="323" y="5"/>
                    </a:lnTo>
                    <a:lnTo>
                      <a:pt x="323" y="0"/>
                    </a:lnTo>
                    <a:lnTo>
                      <a:pt x="328" y="0"/>
                    </a:lnTo>
                    <a:lnTo>
                      <a:pt x="333" y="0"/>
                    </a:lnTo>
                    <a:lnTo>
                      <a:pt x="338" y="5"/>
                    </a:lnTo>
                    <a:lnTo>
                      <a:pt x="338" y="10"/>
                    </a:lnTo>
                    <a:lnTo>
                      <a:pt x="343" y="20"/>
                    </a:lnTo>
                    <a:lnTo>
                      <a:pt x="348" y="20"/>
                    </a:lnTo>
                    <a:lnTo>
                      <a:pt x="368" y="30"/>
                    </a:lnTo>
                    <a:lnTo>
                      <a:pt x="368" y="25"/>
                    </a:lnTo>
                    <a:lnTo>
                      <a:pt x="373" y="30"/>
                    </a:lnTo>
                    <a:lnTo>
                      <a:pt x="368" y="35"/>
                    </a:lnTo>
                    <a:lnTo>
                      <a:pt x="373" y="35"/>
                    </a:lnTo>
                    <a:lnTo>
                      <a:pt x="378" y="40"/>
                    </a:lnTo>
                    <a:lnTo>
                      <a:pt x="388" y="45"/>
                    </a:lnTo>
                    <a:lnTo>
                      <a:pt x="393" y="45"/>
                    </a:lnTo>
                    <a:lnTo>
                      <a:pt x="398" y="45"/>
                    </a:lnTo>
                    <a:lnTo>
                      <a:pt x="404" y="45"/>
                    </a:lnTo>
                    <a:lnTo>
                      <a:pt x="404" y="50"/>
                    </a:lnTo>
                    <a:lnTo>
                      <a:pt x="409" y="55"/>
                    </a:lnTo>
                    <a:lnTo>
                      <a:pt x="404" y="50"/>
                    </a:lnTo>
                    <a:lnTo>
                      <a:pt x="409" y="50"/>
                    </a:lnTo>
                    <a:lnTo>
                      <a:pt x="409" y="55"/>
                    </a:lnTo>
                    <a:lnTo>
                      <a:pt x="414" y="55"/>
                    </a:lnTo>
                    <a:lnTo>
                      <a:pt x="414" y="50"/>
                    </a:lnTo>
                    <a:lnTo>
                      <a:pt x="419" y="55"/>
                    </a:lnTo>
                    <a:lnTo>
                      <a:pt x="414" y="60"/>
                    </a:lnTo>
                    <a:lnTo>
                      <a:pt x="409" y="70"/>
                    </a:lnTo>
                    <a:lnTo>
                      <a:pt x="414" y="70"/>
                    </a:lnTo>
                    <a:lnTo>
                      <a:pt x="419" y="80"/>
                    </a:lnTo>
                    <a:lnTo>
                      <a:pt x="424" y="80"/>
                    </a:lnTo>
                    <a:lnTo>
                      <a:pt x="429" y="75"/>
                    </a:lnTo>
                    <a:lnTo>
                      <a:pt x="429" y="80"/>
                    </a:lnTo>
                    <a:lnTo>
                      <a:pt x="439" y="80"/>
                    </a:lnTo>
                    <a:lnTo>
                      <a:pt x="439" y="75"/>
                    </a:lnTo>
                    <a:lnTo>
                      <a:pt x="439" y="70"/>
                    </a:lnTo>
                    <a:lnTo>
                      <a:pt x="444" y="75"/>
                    </a:lnTo>
                    <a:lnTo>
                      <a:pt x="444" y="80"/>
                    </a:lnTo>
                    <a:lnTo>
                      <a:pt x="449" y="80"/>
                    </a:lnTo>
                    <a:lnTo>
                      <a:pt x="444" y="70"/>
                    </a:lnTo>
                    <a:lnTo>
                      <a:pt x="444" y="65"/>
                    </a:lnTo>
                    <a:lnTo>
                      <a:pt x="449" y="60"/>
                    </a:lnTo>
                    <a:lnTo>
                      <a:pt x="449" y="65"/>
                    </a:lnTo>
                    <a:lnTo>
                      <a:pt x="454" y="65"/>
                    </a:lnTo>
                    <a:lnTo>
                      <a:pt x="454" y="60"/>
                    </a:lnTo>
                    <a:lnTo>
                      <a:pt x="464" y="55"/>
                    </a:lnTo>
                    <a:lnTo>
                      <a:pt x="464" y="60"/>
                    </a:lnTo>
                    <a:lnTo>
                      <a:pt x="464" y="55"/>
                    </a:lnTo>
                    <a:lnTo>
                      <a:pt x="469" y="50"/>
                    </a:lnTo>
                    <a:lnTo>
                      <a:pt x="469" y="55"/>
                    </a:lnTo>
                    <a:lnTo>
                      <a:pt x="484" y="55"/>
                    </a:lnTo>
                    <a:lnTo>
                      <a:pt x="484" y="60"/>
                    </a:lnTo>
                    <a:lnTo>
                      <a:pt x="484" y="65"/>
                    </a:lnTo>
                    <a:lnTo>
                      <a:pt x="489" y="70"/>
                    </a:lnTo>
                    <a:lnTo>
                      <a:pt x="484" y="101"/>
                    </a:lnTo>
                    <a:lnTo>
                      <a:pt x="489" y="106"/>
                    </a:lnTo>
                    <a:lnTo>
                      <a:pt x="489" y="111"/>
                    </a:lnTo>
                    <a:lnTo>
                      <a:pt x="494" y="111"/>
                    </a:lnTo>
                    <a:lnTo>
                      <a:pt x="499" y="111"/>
                    </a:lnTo>
                    <a:lnTo>
                      <a:pt x="504" y="121"/>
                    </a:lnTo>
                    <a:lnTo>
                      <a:pt x="509" y="121"/>
                    </a:lnTo>
                    <a:lnTo>
                      <a:pt x="514" y="116"/>
                    </a:lnTo>
                    <a:lnTo>
                      <a:pt x="519" y="121"/>
                    </a:lnTo>
                    <a:lnTo>
                      <a:pt x="524" y="116"/>
                    </a:lnTo>
                    <a:lnTo>
                      <a:pt x="524" y="111"/>
                    </a:lnTo>
                    <a:lnTo>
                      <a:pt x="524" y="121"/>
                    </a:lnTo>
                    <a:lnTo>
                      <a:pt x="530" y="121"/>
                    </a:lnTo>
                    <a:lnTo>
                      <a:pt x="535" y="121"/>
                    </a:lnTo>
                    <a:lnTo>
                      <a:pt x="540" y="121"/>
                    </a:lnTo>
                    <a:lnTo>
                      <a:pt x="540" y="116"/>
                    </a:lnTo>
                    <a:lnTo>
                      <a:pt x="545" y="116"/>
                    </a:lnTo>
                    <a:lnTo>
                      <a:pt x="555" y="121"/>
                    </a:lnTo>
                    <a:lnTo>
                      <a:pt x="560" y="126"/>
                    </a:lnTo>
                    <a:lnTo>
                      <a:pt x="555" y="126"/>
                    </a:lnTo>
                    <a:lnTo>
                      <a:pt x="555" y="131"/>
                    </a:lnTo>
                    <a:lnTo>
                      <a:pt x="560" y="136"/>
                    </a:lnTo>
                    <a:lnTo>
                      <a:pt x="565" y="141"/>
                    </a:lnTo>
                    <a:lnTo>
                      <a:pt x="570" y="141"/>
                    </a:lnTo>
                    <a:lnTo>
                      <a:pt x="575" y="151"/>
                    </a:lnTo>
                    <a:lnTo>
                      <a:pt x="580" y="151"/>
                    </a:lnTo>
                    <a:lnTo>
                      <a:pt x="590" y="151"/>
                    </a:lnTo>
                    <a:lnTo>
                      <a:pt x="590" y="156"/>
                    </a:lnTo>
                    <a:lnTo>
                      <a:pt x="600" y="151"/>
                    </a:lnTo>
                    <a:lnTo>
                      <a:pt x="600" y="146"/>
                    </a:lnTo>
                    <a:lnTo>
                      <a:pt x="605" y="146"/>
                    </a:lnTo>
                    <a:lnTo>
                      <a:pt x="610" y="146"/>
                    </a:lnTo>
                    <a:lnTo>
                      <a:pt x="605" y="151"/>
                    </a:lnTo>
                    <a:lnTo>
                      <a:pt x="625" y="171"/>
                    </a:lnTo>
                    <a:lnTo>
                      <a:pt x="620" y="171"/>
                    </a:lnTo>
                    <a:lnTo>
                      <a:pt x="615" y="176"/>
                    </a:lnTo>
                    <a:lnTo>
                      <a:pt x="620" y="176"/>
                    </a:lnTo>
                    <a:lnTo>
                      <a:pt x="620" y="181"/>
                    </a:lnTo>
                    <a:lnTo>
                      <a:pt x="625" y="181"/>
                    </a:lnTo>
                    <a:lnTo>
                      <a:pt x="630" y="181"/>
                    </a:lnTo>
                    <a:lnTo>
                      <a:pt x="630" y="191"/>
                    </a:lnTo>
                    <a:lnTo>
                      <a:pt x="605" y="196"/>
                    </a:lnTo>
                    <a:lnTo>
                      <a:pt x="605" y="206"/>
                    </a:lnTo>
                    <a:lnTo>
                      <a:pt x="615" y="211"/>
                    </a:lnTo>
                    <a:lnTo>
                      <a:pt x="615" y="216"/>
                    </a:lnTo>
                    <a:lnTo>
                      <a:pt x="625" y="222"/>
                    </a:lnTo>
                    <a:lnTo>
                      <a:pt x="620" y="237"/>
                    </a:lnTo>
                    <a:lnTo>
                      <a:pt x="615" y="247"/>
                    </a:lnTo>
                    <a:lnTo>
                      <a:pt x="615" y="252"/>
                    </a:lnTo>
                    <a:lnTo>
                      <a:pt x="610" y="257"/>
                    </a:lnTo>
                    <a:lnTo>
                      <a:pt x="605" y="257"/>
                    </a:lnTo>
                    <a:lnTo>
                      <a:pt x="585" y="262"/>
                    </a:lnTo>
                    <a:lnTo>
                      <a:pt x="580" y="257"/>
                    </a:lnTo>
                    <a:lnTo>
                      <a:pt x="575" y="257"/>
                    </a:lnTo>
                    <a:lnTo>
                      <a:pt x="570" y="257"/>
                    </a:lnTo>
                    <a:lnTo>
                      <a:pt x="575" y="262"/>
                    </a:lnTo>
                    <a:lnTo>
                      <a:pt x="575" y="267"/>
                    </a:lnTo>
                    <a:lnTo>
                      <a:pt x="570" y="267"/>
                    </a:lnTo>
                    <a:lnTo>
                      <a:pt x="570" y="282"/>
                    </a:lnTo>
                    <a:lnTo>
                      <a:pt x="585" y="302"/>
                    </a:lnTo>
                    <a:close/>
                  </a:path>
                </a:pathLst>
              </a:custGeom>
              <a:solidFill>
                <a:srgbClr val="E1974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583">
                <a:extLst>
                  <a:ext uri="{FF2B5EF4-FFF2-40B4-BE49-F238E27FC236}">
                    <a16:creationId xmlns:a16="http://schemas.microsoft.com/office/drawing/2014/main" id="{3E5FF80F-9D1B-BE89-107B-5A958D31F821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1283282" y="2038420"/>
                <a:ext cx="575585" cy="803299"/>
              </a:xfrm>
              <a:custGeom>
                <a:avLst/>
                <a:gdLst>
                  <a:gd name="T0" fmla="*/ 2147483647 w 368"/>
                  <a:gd name="T1" fmla="*/ 2147483647 h 539"/>
                  <a:gd name="T2" fmla="*/ 2147483647 w 368"/>
                  <a:gd name="T3" fmla="*/ 2147483647 h 539"/>
                  <a:gd name="T4" fmla="*/ 2147483647 w 368"/>
                  <a:gd name="T5" fmla="*/ 2147483647 h 539"/>
                  <a:gd name="T6" fmla="*/ 2147483647 w 368"/>
                  <a:gd name="T7" fmla="*/ 2147483647 h 539"/>
                  <a:gd name="T8" fmla="*/ 2147483647 w 368"/>
                  <a:gd name="T9" fmla="*/ 2147483647 h 539"/>
                  <a:gd name="T10" fmla="*/ 2147483647 w 368"/>
                  <a:gd name="T11" fmla="*/ 2147483647 h 539"/>
                  <a:gd name="T12" fmla="*/ 2147483647 w 368"/>
                  <a:gd name="T13" fmla="*/ 2147483647 h 539"/>
                  <a:gd name="T14" fmla="*/ 2147483647 w 368"/>
                  <a:gd name="T15" fmla="*/ 2147483647 h 539"/>
                  <a:gd name="T16" fmla="*/ 2147483647 w 368"/>
                  <a:gd name="T17" fmla="*/ 2147483647 h 539"/>
                  <a:gd name="T18" fmla="*/ 2147483647 w 368"/>
                  <a:gd name="T19" fmla="*/ 2147483647 h 539"/>
                  <a:gd name="T20" fmla="*/ 2147483647 w 368"/>
                  <a:gd name="T21" fmla="*/ 2147483647 h 539"/>
                  <a:gd name="T22" fmla="*/ 2147483647 w 368"/>
                  <a:gd name="T23" fmla="*/ 2147483647 h 539"/>
                  <a:gd name="T24" fmla="*/ 2147483647 w 368"/>
                  <a:gd name="T25" fmla="*/ 2147483647 h 539"/>
                  <a:gd name="T26" fmla="*/ 2147483647 w 368"/>
                  <a:gd name="T27" fmla="*/ 2147483647 h 539"/>
                  <a:gd name="T28" fmla="*/ 2147483647 w 368"/>
                  <a:gd name="T29" fmla="*/ 2147483647 h 539"/>
                  <a:gd name="T30" fmla="*/ 2147483647 w 368"/>
                  <a:gd name="T31" fmla="*/ 2147483647 h 539"/>
                  <a:gd name="T32" fmla="*/ 2147483647 w 368"/>
                  <a:gd name="T33" fmla="*/ 2147483647 h 539"/>
                  <a:gd name="T34" fmla="*/ 0 w 368"/>
                  <a:gd name="T35" fmla="*/ 2147483647 h 539"/>
                  <a:gd name="T36" fmla="*/ 2147483647 w 368"/>
                  <a:gd name="T37" fmla="*/ 2147483647 h 539"/>
                  <a:gd name="T38" fmla="*/ 2147483647 w 368"/>
                  <a:gd name="T39" fmla="*/ 2147483647 h 539"/>
                  <a:gd name="T40" fmla="*/ 2147483647 w 368"/>
                  <a:gd name="T41" fmla="*/ 2147483647 h 539"/>
                  <a:gd name="T42" fmla="*/ 2147483647 w 368"/>
                  <a:gd name="T43" fmla="*/ 2147483647 h 539"/>
                  <a:gd name="T44" fmla="*/ 2147483647 w 368"/>
                  <a:gd name="T45" fmla="*/ 2147483647 h 539"/>
                  <a:gd name="T46" fmla="*/ 2147483647 w 368"/>
                  <a:gd name="T47" fmla="*/ 2147483647 h 539"/>
                  <a:gd name="T48" fmla="*/ 2147483647 w 368"/>
                  <a:gd name="T49" fmla="*/ 2147483647 h 539"/>
                  <a:gd name="T50" fmla="*/ 2147483647 w 368"/>
                  <a:gd name="T51" fmla="*/ 2147483647 h 539"/>
                  <a:gd name="T52" fmla="*/ 2147483647 w 368"/>
                  <a:gd name="T53" fmla="*/ 2147483647 h 539"/>
                  <a:gd name="T54" fmla="*/ 2147483647 w 368"/>
                  <a:gd name="T55" fmla="*/ 2147483647 h 539"/>
                  <a:gd name="T56" fmla="*/ 2147483647 w 368"/>
                  <a:gd name="T57" fmla="*/ 2147483647 h 539"/>
                  <a:gd name="T58" fmla="*/ 2147483647 w 368"/>
                  <a:gd name="T59" fmla="*/ 2147483647 h 539"/>
                  <a:gd name="T60" fmla="*/ 2147483647 w 368"/>
                  <a:gd name="T61" fmla="*/ 2147483647 h 539"/>
                  <a:gd name="T62" fmla="*/ 2147483647 w 368"/>
                  <a:gd name="T63" fmla="*/ 2147483647 h 539"/>
                  <a:gd name="T64" fmla="*/ 2147483647 w 368"/>
                  <a:gd name="T65" fmla="*/ 2147483647 h 539"/>
                  <a:gd name="T66" fmla="*/ 2147483647 w 368"/>
                  <a:gd name="T67" fmla="*/ 2147483647 h 539"/>
                  <a:gd name="T68" fmla="*/ 2147483647 w 368"/>
                  <a:gd name="T69" fmla="*/ 2147483647 h 539"/>
                  <a:gd name="T70" fmla="*/ 2147483647 w 368"/>
                  <a:gd name="T71" fmla="*/ 2147483647 h 539"/>
                  <a:gd name="T72" fmla="*/ 2147483647 w 368"/>
                  <a:gd name="T73" fmla="*/ 2147483647 h 539"/>
                  <a:gd name="T74" fmla="*/ 2147483647 w 368"/>
                  <a:gd name="T75" fmla="*/ 2147483647 h 539"/>
                  <a:gd name="T76" fmla="*/ 2147483647 w 368"/>
                  <a:gd name="T77" fmla="*/ 2147483647 h 539"/>
                  <a:gd name="T78" fmla="*/ 2147483647 w 368"/>
                  <a:gd name="T79" fmla="*/ 2147483647 h 539"/>
                  <a:gd name="T80" fmla="*/ 2147483647 w 368"/>
                  <a:gd name="T81" fmla="*/ 2147483647 h 539"/>
                  <a:gd name="T82" fmla="*/ 2147483647 w 368"/>
                  <a:gd name="T83" fmla="*/ 2147483647 h 539"/>
                  <a:gd name="T84" fmla="*/ 2147483647 w 368"/>
                  <a:gd name="T85" fmla="*/ 2147483647 h 539"/>
                  <a:gd name="T86" fmla="*/ 2147483647 w 368"/>
                  <a:gd name="T87" fmla="*/ 2147483647 h 539"/>
                  <a:gd name="T88" fmla="*/ 2147483647 w 368"/>
                  <a:gd name="T89" fmla="*/ 2147483647 h 539"/>
                  <a:gd name="T90" fmla="*/ 2147483647 w 368"/>
                  <a:gd name="T91" fmla="*/ 2147483647 h 539"/>
                  <a:gd name="T92" fmla="*/ 2147483647 w 368"/>
                  <a:gd name="T93" fmla="*/ 2147483647 h 539"/>
                  <a:gd name="T94" fmla="*/ 2147483647 w 368"/>
                  <a:gd name="T95" fmla="*/ 2147483647 h 539"/>
                  <a:gd name="T96" fmla="*/ 2147483647 w 368"/>
                  <a:gd name="T97" fmla="*/ 2147483647 h 539"/>
                  <a:gd name="T98" fmla="*/ 2147483647 w 368"/>
                  <a:gd name="T99" fmla="*/ 2147483647 h 539"/>
                  <a:gd name="T100" fmla="*/ 2147483647 w 368"/>
                  <a:gd name="T101" fmla="*/ 2147483647 h 539"/>
                  <a:gd name="T102" fmla="*/ 2147483647 w 368"/>
                  <a:gd name="T103" fmla="*/ 2147483647 h 539"/>
                  <a:gd name="T104" fmla="*/ 2147483647 w 368"/>
                  <a:gd name="T105" fmla="*/ 2147483647 h 539"/>
                  <a:gd name="T106" fmla="*/ 2147483647 w 368"/>
                  <a:gd name="T107" fmla="*/ 2147483647 h 539"/>
                  <a:gd name="T108" fmla="*/ 2147483647 w 368"/>
                  <a:gd name="T109" fmla="*/ 2147483647 h 539"/>
                  <a:gd name="T110" fmla="*/ 2147483647 w 368"/>
                  <a:gd name="T111" fmla="*/ 2147483647 h 539"/>
                  <a:gd name="T112" fmla="*/ 2147483647 w 368"/>
                  <a:gd name="T113" fmla="*/ 2147483647 h 539"/>
                  <a:gd name="T114" fmla="*/ 2147483647 w 368"/>
                  <a:gd name="T115" fmla="*/ 2147483647 h 539"/>
                  <a:gd name="T116" fmla="*/ 2147483647 w 368"/>
                  <a:gd name="T117" fmla="*/ 2147483647 h 539"/>
                  <a:gd name="T118" fmla="*/ 2147483647 w 368"/>
                  <a:gd name="T119" fmla="*/ 2147483647 h 539"/>
                  <a:gd name="T120" fmla="*/ 2147483647 w 368"/>
                  <a:gd name="T121" fmla="*/ 2147483647 h 539"/>
                  <a:gd name="T122" fmla="*/ 2147483647 w 368"/>
                  <a:gd name="T123" fmla="*/ 2147483647 h 53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68"/>
                  <a:gd name="T187" fmla="*/ 0 h 539"/>
                  <a:gd name="T188" fmla="*/ 368 w 368"/>
                  <a:gd name="T189" fmla="*/ 539 h 53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68" h="539">
                    <a:moveTo>
                      <a:pt x="348" y="322"/>
                    </a:moveTo>
                    <a:lnTo>
                      <a:pt x="338" y="327"/>
                    </a:lnTo>
                    <a:lnTo>
                      <a:pt x="338" y="317"/>
                    </a:lnTo>
                    <a:lnTo>
                      <a:pt x="333" y="322"/>
                    </a:lnTo>
                    <a:lnTo>
                      <a:pt x="328" y="317"/>
                    </a:lnTo>
                    <a:lnTo>
                      <a:pt x="328" y="322"/>
                    </a:lnTo>
                    <a:lnTo>
                      <a:pt x="323" y="327"/>
                    </a:lnTo>
                    <a:lnTo>
                      <a:pt x="328" y="332"/>
                    </a:lnTo>
                    <a:lnTo>
                      <a:pt x="318" y="332"/>
                    </a:lnTo>
                    <a:lnTo>
                      <a:pt x="318" y="337"/>
                    </a:lnTo>
                    <a:lnTo>
                      <a:pt x="312" y="343"/>
                    </a:lnTo>
                    <a:lnTo>
                      <a:pt x="307" y="343"/>
                    </a:lnTo>
                    <a:lnTo>
                      <a:pt x="302" y="343"/>
                    </a:lnTo>
                    <a:lnTo>
                      <a:pt x="297" y="337"/>
                    </a:lnTo>
                    <a:lnTo>
                      <a:pt x="297" y="343"/>
                    </a:lnTo>
                    <a:lnTo>
                      <a:pt x="297" y="348"/>
                    </a:lnTo>
                    <a:lnTo>
                      <a:pt x="297" y="353"/>
                    </a:lnTo>
                    <a:lnTo>
                      <a:pt x="292" y="353"/>
                    </a:lnTo>
                    <a:lnTo>
                      <a:pt x="287" y="348"/>
                    </a:lnTo>
                    <a:lnTo>
                      <a:pt x="287" y="353"/>
                    </a:lnTo>
                    <a:lnTo>
                      <a:pt x="282" y="358"/>
                    </a:lnTo>
                    <a:lnTo>
                      <a:pt x="282" y="363"/>
                    </a:lnTo>
                    <a:lnTo>
                      <a:pt x="282" y="368"/>
                    </a:lnTo>
                    <a:lnTo>
                      <a:pt x="277" y="363"/>
                    </a:lnTo>
                    <a:lnTo>
                      <a:pt x="277" y="368"/>
                    </a:lnTo>
                    <a:lnTo>
                      <a:pt x="277" y="373"/>
                    </a:lnTo>
                    <a:lnTo>
                      <a:pt x="272" y="378"/>
                    </a:lnTo>
                    <a:lnTo>
                      <a:pt x="272" y="393"/>
                    </a:lnTo>
                    <a:lnTo>
                      <a:pt x="267" y="393"/>
                    </a:lnTo>
                    <a:lnTo>
                      <a:pt x="267" y="398"/>
                    </a:lnTo>
                    <a:lnTo>
                      <a:pt x="262" y="398"/>
                    </a:lnTo>
                    <a:lnTo>
                      <a:pt x="262" y="403"/>
                    </a:lnTo>
                    <a:lnTo>
                      <a:pt x="257" y="403"/>
                    </a:lnTo>
                    <a:lnTo>
                      <a:pt x="257" y="408"/>
                    </a:lnTo>
                    <a:lnTo>
                      <a:pt x="257" y="413"/>
                    </a:lnTo>
                    <a:lnTo>
                      <a:pt x="252" y="418"/>
                    </a:lnTo>
                    <a:lnTo>
                      <a:pt x="247" y="423"/>
                    </a:lnTo>
                    <a:lnTo>
                      <a:pt x="252" y="428"/>
                    </a:lnTo>
                    <a:lnTo>
                      <a:pt x="247" y="428"/>
                    </a:lnTo>
                    <a:lnTo>
                      <a:pt x="242" y="428"/>
                    </a:lnTo>
                    <a:lnTo>
                      <a:pt x="237" y="433"/>
                    </a:lnTo>
                    <a:lnTo>
                      <a:pt x="232" y="433"/>
                    </a:lnTo>
                    <a:lnTo>
                      <a:pt x="227" y="433"/>
                    </a:lnTo>
                    <a:lnTo>
                      <a:pt x="227" y="438"/>
                    </a:lnTo>
                    <a:lnTo>
                      <a:pt x="222" y="443"/>
                    </a:lnTo>
                    <a:lnTo>
                      <a:pt x="222" y="448"/>
                    </a:lnTo>
                    <a:lnTo>
                      <a:pt x="222" y="453"/>
                    </a:lnTo>
                    <a:lnTo>
                      <a:pt x="217" y="458"/>
                    </a:lnTo>
                    <a:lnTo>
                      <a:pt x="212" y="458"/>
                    </a:lnTo>
                    <a:lnTo>
                      <a:pt x="212" y="463"/>
                    </a:lnTo>
                    <a:lnTo>
                      <a:pt x="207" y="463"/>
                    </a:lnTo>
                    <a:lnTo>
                      <a:pt x="202" y="458"/>
                    </a:lnTo>
                    <a:lnTo>
                      <a:pt x="202" y="453"/>
                    </a:lnTo>
                    <a:lnTo>
                      <a:pt x="197" y="448"/>
                    </a:lnTo>
                    <a:lnTo>
                      <a:pt x="202" y="448"/>
                    </a:lnTo>
                    <a:lnTo>
                      <a:pt x="207" y="448"/>
                    </a:lnTo>
                    <a:lnTo>
                      <a:pt x="202" y="438"/>
                    </a:lnTo>
                    <a:lnTo>
                      <a:pt x="197" y="438"/>
                    </a:lnTo>
                    <a:lnTo>
                      <a:pt x="197" y="448"/>
                    </a:lnTo>
                    <a:lnTo>
                      <a:pt x="192" y="453"/>
                    </a:lnTo>
                    <a:lnTo>
                      <a:pt x="181" y="448"/>
                    </a:lnTo>
                    <a:lnTo>
                      <a:pt x="171" y="448"/>
                    </a:lnTo>
                    <a:lnTo>
                      <a:pt x="171" y="458"/>
                    </a:lnTo>
                    <a:lnTo>
                      <a:pt x="166" y="453"/>
                    </a:lnTo>
                    <a:lnTo>
                      <a:pt x="161" y="453"/>
                    </a:lnTo>
                    <a:lnTo>
                      <a:pt x="156" y="448"/>
                    </a:lnTo>
                    <a:lnTo>
                      <a:pt x="151" y="453"/>
                    </a:lnTo>
                    <a:lnTo>
                      <a:pt x="151" y="458"/>
                    </a:lnTo>
                    <a:lnTo>
                      <a:pt x="146" y="463"/>
                    </a:lnTo>
                    <a:lnTo>
                      <a:pt x="146" y="474"/>
                    </a:lnTo>
                    <a:lnTo>
                      <a:pt x="141" y="474"/>
                    </a:lnTo>
                    <a:lnTo>
                      <a:pt x="136" y="479"/>
                    </a:lnTo>
                    <a:lnTo>
                      <a:pt x="131" y="479"/>
                    </a:lnTo>
                    <a:lnTo>
                      <a:pt x="126" y="479"/>
                    </a:lnTo>
                    <a:lnTo>
                      <a:pt x="121" y="484"/>
                    </a:lnTo>
                    <a:lnTo>
                      <a:pt x="116" y="484"/>
                    </a:lnTo>
                    <a:lnTo>
                      <a:pt x="106" y="494"/>
                    </a:lnTo>
                    <a:lnTo>
                      <a:pt x="101" y="489"/>
                    </a:lnTo>
                    <a:lnTo>
                      <a:pt x="96" y="494"/>
                    </a:lnTo>
                    <a:lnTo>
                      <a:pt x="91" y="499"/>
                    </a:lnTo>
                    <a:lnTo>
                      <a:pt x="86" y="494"/>
                    </a:lnTo>
                    <a:lnTo>
                      <a:pt x="81" y="494"/>
                    </a:lnTo>
                    <a:lnTo>
                      <a:pt x="81" y="499"/>
                    </a:lnTo>
                    <a:lnTo>
                      <a:pt x="81" y="504"/>
                    </a:lnTo>
                    <a:lnTo>
                      <a:pt x="86" y="509"/>
                    </a:lnTo>
                    <a:lnTo>
                      <a:pt x="91" y="509"/>
                    </a:lnTo>
                    <a:lnTo>
                      <a:pt x="86" y="514"/>
                    </a:lnTo>
                    <a:lnTo>
                      <a:pt x="81" y="519"/>
                    </a:lnTo>
                    <a:lnTo>
                      <a:pt x="76" y="529"/>
                    </a:lnTo>
                    <a:lnTo>
                      <a:pt x="71" y="529"/>
                    </a:lnTo>
                    <a:lnTo>
                      <a:pt x="71" y="534"/>
                    </a:lnTo>
                    <a:lnTo>
                      <a:pt x="71" y="539"/>
                    </a:lnTo>
                    <a:lnTo>
                      <a:pt x="35" y="514"/>
                    </a:lnTo>
                    <a:lnTo>
                      <a:pt x="35" y="504"/>
                    </a:lnTo>
                    <a:lnTo>
                      <a:pt x="35" y="499"/>
                    </a:lnTo>
                    <a:lnTo>
                      <a:pt x="35" y="494"/>
                    </a:lnTo>
                    <a:lnTo>
                      <a:pt x="30" y="489"/>
                    </a:lnTo>
                    <a:lnTo>
                      <a:pt x="25" y="489"/>
                    </a:lnTo>
                    <a:lnTo>
                      <a:pt x="30" y="484"/>
                    </a:lnTo>
                    <a:lnTo>
                      <a:pt x="35" y="484"/>
                    </a:lnTo>
                    <a:lnTo>
                      <a:pt x="30" y="474"/>
                    </a:lnTo>
                    <a:lnTo>
                      <a:pt x="25" y="474"/>
                    </a:lnTo>
                    <a:lnTo>
                      <a:pt x="20" y="474"/>
                    </a:lnTo>
                    <a:lnTo>
                      <a:pt x="15" y="474"/>
                    </a:lnTo>
                    <a:lnTo>
                      <a:pt x="10" y="468"/>
                    </a:lnTo>
                    <a:lnTo>
                      <a:pt x="15" y="463"/>
                    </a:lnTo>
                    <a:lnTo>
                      <a:pt x="20" y="463"/>
                    </a:lnTo>
                    <a:lnTo>
                      <a:pt x="15" y="458"/>
                    </a:lnTo>
                    <a:lnTo>
                      <a:pt x="20" y="453"/>
                    </a:lnTo>
                    <a:lnTo>
                      <a:pt x="15" y="448"/>
                    </a:lnTo>
                    <a:lnTo>
                      <a:pt x="20" y="448"/>
                    </a:lnTo>
                    <a:lnTo>
                      <a:pt x="25" y="448"/>
                    </a:lnTo>
                    <a:lnTo>
                      <a:pt x="25" y="443"/>
                    </a:lnTo>
                    <a:lnTo>
                      <a:pt x="20" y="443"/>
                    </a:lnTo>
                    <a:lnTo>
                      <a:pt x="15" y="443"/>
                    </a:lnTo>
                    <a:lnTo>
                      <a:pt x="15" y="438"/>
                    </a:lnTo>
                    <a:lnTo>
                      <a:pt x="15" y="433"/>
                    </a:lnTo>
                    <a:lnTo>
                      <a:pt x="10" y="433"/>
                    </a:lnTo>
                    <a:lnTo>
                      <a:pt x="10" y="428"/>
                    </a:lnTo>
                    <a:lnTo>
                      <a:pt x="5" y="428"/>
                    </a:lnTo>
                    <a:lnTo>
                      <a:pt x="0" y="428"/>
                    </a:lnTo>
                    <a:lnTo>
                      <a:pt x="5" y="423"/>
                    </a:lnTo>
                    <a:lnTo>
                      <a:pt x="10" y="423"/>
                    </a:lnTo>
                    <a:lnTo>
                      <a:pt x="10" y="418"/>
                    </a:lnTo>
                    <a:lnTo>
                      <a:pt x="5" y="413"/>
                    </a:lnTo>
                    <a:lnTo>
                      <a:pt x="0" y="408"/>
                    </a:lnTo>
                    <a:lnTo>
                      <a:pt x="5" y="403"/>
                    </a:lnTo>
                    <a:lnTo>
                      <a:pt x="10" y="403"/>
                    </a:lnTo>
                    <a:lnTo>
                      <a:pt x="15" y="403"/>
                    </a:lnTo>
                    <a:lnTo>
                      <a:pt x="15" y="408"/>
                    </a:lnTo>
                    <a:lnTo>
                      <a:pt x="20" y="403"/>
                    </a:lnTo>
                    <a:lnTo>
                      <a:pt x="25" y="403"/>
                    </a:lnTo>
                    <a:lnTo>
                      <a:pt x="30" y="398"/>
                    </a:lnTo>
                    <a:lnTo>
                      <a:pt x="30" y="393"/>
                    </a:lnTo>
                    <a:lnTo>
                      <a:pt x="30" y="383"/>
                    </a:lnTo>
                    <a:lnTo>
                      <a:pt x="25" y="383"/>
                    </a:lnTo>
                    <a:lnTo>
                      <a:pt x="25" y="378"/>
                    </a:lnTo>
                    <a:lnTo>
                      <a:pt x="30" y="378"/>
                    </a:lnTo>
                    <a:lnTo>
                      <a:pt x="35" y="383"/>
                    </a:lnTo>
                    <a:lnTo>
                      <a:pt x="40" y="378"/>
                    </a:lnTo>
                    <a:lnTo>
                      <a:pt x="40" y="383"/>
                    </a:lnTo>
                    <a:lnTo>
                      <a:pt x="40" y="378"/>
                    </a:lnTo>
                    <a:lnTo>
                      <a:pt x="45" y="378"/>
                    </a:lnTo>
                    <a:lnTo>
                      <a:pt x="40" y="373"/>
                    </a:lnTo>
                    <a:lnTo>
                      <a:pt x="35" y="373"/>
                    </a:lnTo>
                    <a:lnTo>
                      <a:pt x="35" y="368"/>
                    </a:lnTo>
                    <a:lnTo>
                      <a:pt x="35" y="373"/>
                    </a:lnTo>
                    <a:lnTo>
                      <a:pt x="35" y="368"/>
                    </a:lnTo>
                    <a:lnTo>
                      <a:pt x="40" y="363"/>
                    </a:lnTo>
                    <a:lnTo>
                      <a:pt x="50" y="363"/>
                    </a:lnTo>
                    <a:lnTo>
                      <a:pt x="50" y="358"/>
                    </a:lnTo>
                    <a:lnTo>
                      <a:pt x="55" y="358"/>
                    </a:lnTo>
                    <a:lnTo>
                      <a:pt x="60" y="353"/>
                    </a:lnTo>
                    <a:lnTo>
                      <a:pt x="66" y="353"/>
                    </a:lnTo>
                    <a:lnTo>
                      <a:pt x="71" y="348"/>
                    </a:lnTo>
                    <a:lnTo>
                      <a:pt x="71" y="343"/>
                    </a:lnTo>
                    <a:lnTo>
                      <a:pt x="76" y="343"/>
                    </a:lnTo>
                    <a:lnTo>
                      <a:pt x="81" y="343"/>
                    </a:lnTo>
                    <a:lnTo>
                      <a:pt x="86" y="337"/>
                    </a:lnTo>
                    <a:lnTo>
                      <a:pt x="91" y="343"/>
                    </a:lnTo>
                    <a:lnTo>
                      <a:pt x="96" y="348"/>
                    </a:lnTo>
                    <a:lnTo>
                      <a:pt x="91" y="353"/>
                    </a:lnTo>
                    <a:lnTo>
                      <a:pt x="101" y="353"/>
                    </a:lnTo>
                    <a:lnTo>
                      <a:pt x="101" y="348"/>
                    </a:lnTo>
                    <a:lnTo>
                      <a:pt x="111" y="358"/>
                    </a:lnTo>
                    <a:lnTo>
                      <a:pt x="116" y="363"/>
                    </a:lnTo>
                    <a:lnTo>
                      <a:pt x="121" y="358"/>
                    </a:lnTo>
                    <a:lnTo>
                      <a:pt x="116" y="353"/>
                    </a:lnTo>
                    <a:lnTo>
                      <a:pt x="116" y="348"/>
                    </a:lnTo>
                    <a:lnTo>
                      <a:pt x="116" y="343"/>
                    </a:lnTo>
                    <a:lnTo>
                      <a:pt x="116" y="332"/>
                    </a:lnTo>
                    <a:lnTo>
                      <a:pt x="116" y="327"/>
                    </a:lnTo>
                    <a:lnTo>
                      <a:pt x="116" y="322"/>
                    </a:lnTo>
                    <a:lnTo>
                      <a:pt x="116" y="317"/>
                    </a:lnTo>
                    <a:lnTo>
                      <a:pt x="116" y="312"/>
                    </a:lnTo>
                    <a:lnTo>
                      <a:pt x="116" y="307"/>
                    </a:lnTo>
                    <a:lnTo>
                      <a:pt x="116" y="302"/>
                    </a:lnTo>
                    <a:lnTo>
                      <a:pt x="121" y="297"/>
                    </a:lnTo>
                    <a:lnTo>
                      <a:pt x="126" y="297"/>
                    </a:lnTo>
                    <a:lnTo>
                      <a:pt x="131" y="297"/>
                    </a:lnTo>
                    <a:lnTo>
                      <a:pt x="136" y="297"/>
                    </a:lnTo>
                    <a:lnTo>
                      <a:pt x="136" y="292"/>
                    </a:lnTo>
                    <a:lnTo>
                      <a:pt x="131" y="287"/>
                    </a:lnTo>
                    <a:lnTo>
                      <a:pt x="126" y="287"/>
                    </a:lnTo>
                    <a:lnTo>
                      <a:pt x="126" y="282"/>
                    </a:lnTo>
                    <a:lnTo>
                      <a:pt x="126" y="272"/>
                    </a:lnTo>
                    <a:lnTo>
                      <a:pt x="121" y="267"/>
                    </a:lnTo>
                    <a:lnTo>
                      <a:pt x="126" y="262"/>
                    </a:lnTo>
                    <a:lnTo>
                      <a:pt x="131" y="257"/>
                    </a:lnTo>
                    <a:lnTo>
                      <a:pt x="136" y="257"/>
                    </a:lnTo>
                    <a:lnTo>
                      <a:pt x="136" y="252"/>
                    </a:lnTo>
                    <a:lnTo>
                      <a:pt x="136" y="247"/>
                    </a:lnTo>
                    <a:lnTo>
                      <a:pt x="136" y="237"/>
                    </a:lnTo>
                    <a:lnTo>
                      <a:pt x="121" y="232"/>
                    </a:lnTo>
                    <a:lnTo>
                      <a:pt x="106" y="237"/>
                    </a:lnTo>
                    <a:lnTo>
                      <a:pt x="106" y="232"/>
                    </a:lnTo>
                    <a:lnTo>
                      <a:pt x="101" y="227"/>
                    </a:lnTo>
                    <a:lnTo>
                      <a:pt x="106" y="222"/>
                    </a:lnTo>
                    <a:lnTo>
                      <a:pt x="111" y="222"/>
                    </a:lnTo>
                    <a:lnTo>
                      <a:pt x="111" y="217"/>
                    </a:lnTo>
                    <a:lnTo>
                      <a:pt x="116" y="217"/>
                    </a:lnTo>
                    <a:lnTo>
                      <a:pt x="116" y="222"/>
                    </a:lnTo>
                    <a:lnTo>
                      <a:pt x="121" y="222"/>
                    </a:lnTo>
                    <a:lnTo>
                      <a:pt x="121" y="217"/>
                    </a:lnTo>
                    <a:lnTo>
                      <a:pt x="126" y="212"/>
                    </a:lnTo>
                    <a:lnTo>
                      <a:pt x="126" y="206"/>
                    </a:lnTo>
                    <a:lnTo>
                      <a:pt x="116" y="201"/>
                    </a:lnTo>
                    <a:lnTo>
                      <a:pt x="111" y="196"/>
                    </a:lnTo>
                    <a:lnTo>
                      <a:pt x="106" y="191"/>
                    </a:lnTo>
                    <a:lnTo>
                      <a:pt x="106" y="196"/>
                    </a:lnTo>
                    <a:lnTo>
                      <a:pt x="101" y="196"/>
                    </a:lnTo>
                    <a:lnTo>
                      <a:pt x="101" y="191"/>
                    </a:lnTo>
                    <a:lnTo>
                      <a:pt x="96" y="186"/>
                    </a:lnTo>
                    <a:lnTo>
                      <a:pt x="96" y="181"/>
                    </a:lnTo>
                    <a:lnTo>
                      <a:pt x="91" y="181"/>
                    </a:lnTo>
                    <a:lnTo>
                      <a:pt x="86" y="181"/>
                    </a:lnTo>
                    <a:lnTo>
                      <a:pt x="86" y="176"/>
                    </a:lnTo>
                    <a:lnTo>
                      <a:pt x="81" y="181"/>
                    </a:lnTo>
                    <a:lnTo>
                      <a:pt x="81" y="176"/>
                    </a:lnTo>
                    <a:lnTo>
                      <a:pt x="76" y="176"/>
                    </a:lnTo>
                    <a:lnTo>
                      <a:pt x="76" y="171"/>
                    </a:lnTo>
                    <a:lnTo>
                      <a:pt x="71" y="171"/>
                    </a:lnTo>
                    <a:lnTo>
                      <a:pt x="71" y="166"/>
                    </a:lnTo>
                    <a:lnTo>
                      <a:pt x="71" y="161"/>
                    </a:lnTo>
                    <a:lnTo>
                      <a:pt x="66" y="161"/>
                    </a:lnTo>
                    <a:lnTo>
                      <a:pt x="66" y="166"/>
                    </a:lnTo>
                    <a:lnTo>
                      <a:pt x="60" y="161"/>
                    </a:lnTo>
                    <a:lnTo>
                      <a:pt x="55" y="156"/>
                    </a:lnTo>
                    <a:lnTo>
                      <a:pt x="50" y="161"/>
                    </a:lnTo>
                    <a:lnTo>
                      <a:pt x="55" y="161"/>
                    </a:lnTo>
                    <a:lnTo>
                      <a:pt x="55" y="166"/>
                    </a:lnTo>
                    <a:lnTo>
                      <a:pt x="50" y="166"/>
                    </a:lnTo>
                    <a:lnTo>
                      <a:pt x="45" y="161"/>
                    </a:lnTo>
                    <a:lnTo>
                      <a:pt x="40" y="156"/>
                    </a:lnTo>
                    <a:lnTo>
                      <a:pt x="35" y="156"/>
                    </a:lnTo>
                    <a:lnTo>
                      <a:pt x="35" y="151"/>
                    </a:lnTo>
                    <a:lnTo>
                      <a:pt x="35" y="141"/>
                    </a:lnTo>
                    <a:lnTo>
                      <a:pt x="30" y="141"/>
                    </a:lnTo>
                    <a:lnTo>
                      <a:pt x="25" y="141"/>
                    </a:lnTo>
                    <a:lnTo>
                      <a:pt x="25" y="136"/>
                    </a:lnTo>
                    <a:lnTo>
                      <a:pt x="15" y="141"/>
                    </a:lnTo>
                    <a:lnTo>
                      <a:pt x="15" y="136"/>
                    </a:lnTo>
                    <a:lnTo>
                      <a:pt x="25" y="131"/>
                    </a:lnTo>
                    <a:lnTo>
                      <a:pt x="25" y="126"/>
                    </a:lnTo>
                    <a:lnTo>
                      <a:pt x="20" y="131"/>
                    </a:lnTo>
                    <a:lnTo>
                      <a:pt x="20" y="121"/>
                    </a:lnTo>
                    <a:lnTo>
                      <a:pt x="20" y="116"/>
                    </a:lnTo>
                    <a:lnTo>
                      <a:pt x="20" y="111"/>
                    </a:lnTo>
                    <a:lnTo>
                      <a:pt x="15" y="111"/>
                    </a:lnTo>
                    <a:lnTo>
                      <a:pt x="10" y="111"/>
                    </a:lnTo>
                    <a:lnTo>
                      <a:pt x="10" y="106"/>
                    </a:lnTo>
                    <a:lnTo>
                      <a:pt x="5" y="106"/>
                    </a:lnTo>
                    <a:lnTo>
                      <a:pt x="5" y="101"/>
                    </a:lnTo>
                    <a:lnTo>
                      <a:pt x="10" y="101"/>
                    </a:lnTo>
                    <a:lnTo>
                      <a:pt x="15" y="106"/>
                    </a:lnTo>
                    <a:lnTo>
                      <a:pt x="15" y="101"/>
                    </a:lnTo>
                    <a:lnTo>
                      <a:pt x="20" y="101"/>
                    </a:lnTo>
                    <a:lnTo>
                      <a:pt x="20" y="96"/>
                    </a:lnTo>
                    <a:lnTo>
                      <a:pt x="20" y="91"/>
                    </a:lnTo>
                    <a:lnTo>
                      <a:pt x="20" y="86"/>
                    </a:lnTo>
                    <a:lnTo>
                      <a:pt x="25" y="75"/>
                    </a:lnTo>
                    <a:lnTo>
                      <a:pt x="20" y="75"/>
                    </a:lnTo>
                    <a:lnTo>
                      <a:pt x="20" y="70"/>
                    </a:lnTo>
                    <a:lnTo>
                      <a:pt x="25" y="65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5"/>
                    </a:lnTo>
                    <a:lnTo>
                      <a:pt x="15" y="60"/>
                    </a:lnTo>
                    <a:lnTo>
                      <a:pt x="15" y="55"/>
                    </a:lnTo>
                    <a:lnTo>
                      <a:pt x="15" y="50"/>
                    </a:lnTo>
                    <a:lnTo>
                      <a:pt x="15" y="45"/>
                    </a:lnTo>
                    <a:lnTo>
                      <a:pt x="15" y="35"/>
                    </a:lnTo>
                    <a:lnTo>
                      <a:pt x="20" y="30"/>
                    </a:lnTo>
                    <a:lnTo>
                      <a:pt x="20" y="25"/>
                    </a:lnTo>
                    <a:lnTo>
                      <a:pt x="10" y="25"/>
                    </a:lnTo>
                    <a:lnTo>
                      <a:pt x="5" y="30"/>
                    </a:lnTo>
                    <a:lnTo>
                      <a:pt x="0" y="30"/>
                    </a:lnTo>
                    <a:lnTo>
                      <a:pt x="0" y="25"/>
                    </a:lnTo>
                    <a:lnTo>
                      <a:pt x="10" y="25"/>
                    </a:lnTo>
                    <a:lnTo>
                      <a:pt x="15" y="25"/>
                    </a:lnTo>
                    <a:lnTo>
                      <a:pt x="20" y="20"/>
                    </a:lnTo>
                    <a:lnTo>
                      <a:pt x="25" y="20"/>
                    </a:lnTo>
                    <a:lnTo>
                      <a:pt x="30" y="15"/>
                    </a:lnTo>
                    <a:lnTo>
                      <a:pt x="30" y="10"/>
                    </a:lnTo>
                    <a:lnTo>
                      <a:pt x="35" y="10"/>
                    </a:lnTo>
                    <a:lnTo>
                      <a:pt x="35" y="15"/>
                    </a:lnTo>
                    <a:lnTo>
                      <a:pt x="40" y="10"/>
                    </a:lnTo>
                    <a:lnTo>
                      <a:pt x="45" y="15"/>
                    </a:lnTo>
                    <a:lnTo>
                      <a:pt x="50" y="15"/>
                    </a:lnTo>
                    <a:lnTo>
                      <a:pt x="50" y="10"/>
                    </a:lnTo>
                    <a:lnTo>
                      <a:pt x="55" y="10"/>
                    </a:lnTo>
                    <a:lnTo>
                      <a:pt x="60" y="10"/>
                    </a:lnTo>
                    <a:lnTo>
                      <a:pt x="66" y="10"/>
                    </a:lnTo>
                    <a:lnTo>
                      <a:pt x="66" y="5"/>
                    </a:lnTo>
                    <a:lnTo>
                      <a:pt x="71" y="5"/>
                    </a:lnTo>
                    <a:lnTo>
                      <a:pt x="71" y="10"/>
                    </a:lnTo>
                    <a:lnTo>
                      <a:pt x="76" y="5"/>
                    </a:lnTo>
                    <a:lnTo>
                      <a:pt x="81" y="5"/>
                    </a:lnTo>
                    <a:lnTo>
                      <a:pt x="86" y="5"/>
                    </a:lnTo>
                    <a:lnTo>
                      <a:pt x="86" y="10"/>
                    </a:lnTo>
                    <a:lnTo>
                      <a:pt x="91" y="10"/>
                    </a:lnTo>
                    <a:lnTo>
                      <a:pt x="96" y="10"/>
                    </a:lnTo>
                    <a:lnTo>
                      <a:pt x="101" y="15"/>
                    </a:lnTo>
                    <a:lnTo>
                      <a:pt x="106" y="15"/>
                    </a:lnTo>
                    <a:lnTo>
                      <a:pt x="111" y="15"/>
                    </a:lnTo>
                    <a:lnTo>
                      <a:pt x="116" y="15"/>
                    </a:lnTo>
                    <a:lnTo>
                      <a:pt x="116" y="10"/>
                    </a:lnTo>
                    <a:lnTo>
                      <a:pt x="121" y="10"/>
                    </a:lnTo>
                    <a:lnTo>
                      <a:pt x="121" y="15"/>
                    </a:lnTo>
                    <a:lnTo>
                      <a:pt x="126" y="15"/>
                    </a:lnTo>
                    <a:lnTo>
                      <a:pt x="131" y="10"/>
                    </a:lnTo>
                    <a:lnTo>
                      <a:pt x="136" y="10"/>
                    </a:lnTo>
                    <a:lnTo>
                      <a:pt x="146" y="15"/>
                    </a:lnTo>
                    <a:lnTo>
                      <a:pt x="151" y="20"/>
                    </a:lnTo>
                    <a:lnTo>
                      <a:pt x="156" y="20"/>
                    </a:lnTo>
                    <a:lnTo>
                      <a:pt x="161" y="20"/>
                    </a:lnTo>
                    <a:lnTo>
                      <a:pt x="171" y="10"/>
                    </a:lnTo>
                    <a:lnTo>
                      <a:pt x="181" y="10"/>
                    </a:lnTo>
                    <a:lnTo>
                      <a:pt x="186" y="10"/>
                    </a:lnTo>
                    <a:lnTo>
                      <a:pt x="197" y="15"/>
                    </a:lnTo>
                    <a:lnTo>
                      <a:pt x="202" y="15"/>
                    </a:lnTo>
                    <a:lnTo>
                      <a:pt x="207" y="15"/>
                    </a:lnTo>
                    <a:lnTo>
                      <a:pt x="207" y="10"/>
                    </a:lnTo>
                    <a:lnTo>
                      <a:pt x="212" y="15"/>
                    </a:lnTo>
                    <a:lnTo>
                      <a:pt x="222" y="20"/>
                    </a:lnTo>
                    <a:lnTo>
                      <a:pt x="227" y="20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37" y="5"/>
                    </a:lnTo>
                    <a:lnTo>
                      <a:pt x="242" y="5"/>
                    </a:lnTo>
                    <a:lnTo>
                      <a:pt x="247" y="5"/>
                    </a:lnTo>
                    <a:lnTo>
                      <a:pt x="252" y="5"/>
                    </a:lnTo>
                    <a:lnTo>
                      <a:pt x="257" y="5"/>
                    </a:lnTo>
                    <a:lnTo>
                      <a:pt x="262" y="0"/>
                    </a:lnTo>
                    <a:lnTo>
                      <a:pt x="267" y="0"/>
                    </a:lnTo>
                    <a:lnTo>
                      <a:pt x="272" y="5"/>
                    </a:lnTo>
                    <a:lnTo>
                      <a:pt x="272" y="15"/>
                    </a:lnTo>
                    <a:lnTo>
                      <a:pt x="272" y="20"/>
                    </a:lnTo>
                    <a:lnTo>
                      <a:pt x="277" y="25"/>
                    </a:lnTo>
                    <a:lnTo>
                      <a:pt x="277" y="30"/>
                    </a:lnTo>
                    <a:lnTo>
                      <a:pt x="282" y="30"/>
                    </a:lnTo>
                    <a:lnTo>
                      <a:pt x="282" y="25"/>
                    </a:lnTo>
                    <a:lnTo>
                      <a:pt x="287" y="25"/>
                    </a:lnTo>
                    <a:lnTo>
                      <a:pt x="287" y="30"/>
                    </a:lnTo>
                    <a:lnTo>
                      <a:pt x="287" y="35"/>
                    </a:lnTo>
                    <a:lnTo>
                      <a:pt x="287" y="40"/>
                    </a:lnTo>
                    <a:lnTo>
                      <a:pt x="287" y="45"/>
                    </a:lnTo>
                    <a:lnTo>
                      <a:pt x="292" y="45"/>
                    </a:lnTo>
                    <a:lnTo>
                      <a:pt x="292" y="40"/>
                    </a:lnTo>
                    <a:lnTo>
                      <a:pt x="302" y="35"/>
                    </a:lnTo>
                    <a:lnTo>
                      <a:pt x="307" y="35"/>
                    </a:lnTo>
                    <a:lnTo>
                      <a:pt x="312" y="35"/>
                    </a:lnTo>
                    <a:lnTo>
                      <a:pt x="318" y="30"/>
                    </a:lnTo>
                    <a:lnTo>
                      <a:pt x="323" y="30"/>
                    </a:lnTo>
                    <a:lnTo>
                      <a:pt x="323" y="35"/>
                    </a:lnTo>
                    <a:lnTo>
                      <a:pt x="328" y="30"/>
                    </a:lnTo>
                    <a:lnTo>
                      <a:pt x="333" y="30"/>
                    </a:lnTo>
                    <a:lnTo>
                      <a:pt x="333" y="25"/>
                    </a:lnTo>
                    <a:lnTo>
                      <a:pt x="328" y="20"/>
                    </a:lnTo>
                    <a:lnTo>
                      <a:pt x="333" y="20"/>
                    </a:lnTo>
                    <a:lnTo>
                      <a:pt x="333" y="25"/>
                    </a:lnTo>
                    <a:lnTo>
                      <a:pt x="338" y="25"/>
                    </a:lnTo>
                    <a:lnTo>
                      <a:pt x="338" y="20"/>
                    </a:lnTo>
                    <a:lnTo>
                      <a:pt x="343" y="25"/>
                    </a:lnTo>
                    <a:lnTo>
                      <a:pt x="348" y="25"/>
                    </a:lnTo>
                    <a:lnTo>
                      <a:pt x="353" y="25"/>
                    </a:lnTo>
                    <a:lnTo>
                      <a:pt x="353" y="20"/>
                    </a:lnTo>
                    <a:lnTo>
                      <a:pt x="358" y="25"/>
                    </a:lnTo>
                    <a:lnTo>
                      <a:pt x="363" y="25"/>
                    </a:lnTo>
                    <a:lnTo>
                      <a:pt x="363" y="20"/>
                    </a:lnTo>
                    <a:lnTo>
                      <a:pt x="368" y="20"/>
                    </a:lnTo>
                    <a:lnTo>
                      <a:pt x="368" y="25"/>
                    </a:lnTo>
                    <a:lnTo>
                      <a:pt x="368" y="30"/>
                    </a:lnTo>
                    <a:lnTo>
                      <a:pt x="368" y="35"/>
                    </a:lnTo>
                    <a:lnTo>
                      <a:pt x="363" y="45"/>
                    </a:lnTo>
                    <a:lnTo>
                      <a:pt x="363" y="50"/>
                    </a:lnTo>
                    <a:lnTo>
                      <a:pt x="363" y="55"/>
                    </a:lnTo>
                    <a:lnTo>
                      <a:pt x="368" y="55"/>
                    </a:lnTo>
                    <a:lnTo>
                      <a:pt x="363" y="60"/>
                    </a:lnTo>
                    <a:lnTo>
                      <a:pt x="358" y="65"/>
                    </a:lnTo>
                    <a:lnTo>
                      <a:pt x="353" y="65"/>
                    </a:lnTo>
                    <a:lnTo>
                      <a:pt x="358" y="75"/>
                    </a:lnTo>
                    <a:lnTo>
                      <a:pt x="363" y="80"/>
                    </a:lnTo>
                    <a:lnTo>
                      <a:pt x="363" y="86"/>
                    </a:lnTo>
                    <a:lnTo>
                      <a:pt x="358" y="86"/>
                    </a:lnTo>
                    <a:lnTo>
                      <a:pt x="353" y="80"/>
                    </a:lnTo>
                    <a:lnTo>
                      <a:pt x="348" y="80"/>
                    </a:lnTo>
                    <a:lnTo>
                      <a:pt x="348" y="75"/>
                    </a:lnTo>
                    <a:lnTo>
                      <a:pt x="343" y="75"/>
                    </a:lnTo>
                    <a:lnTo>
                      <a:pt x="343" y="80"/>
                    </a:lnTo>
                    <a:lnTo>
                      <a:pt x="343" y="86"/>
                    </a:lnTo>
                    <a:lnTo>
                      <a:pt x="343" y="91"/>
                    </a:lnTo>
                    <a:lnTo>
                      <a:pt x="343" y="96"/>
                    </a:lnTo>
                    <a:lnTo>
                      <a:pt x="348" y="96"/>
                    </a:lnTo>
                    <a:lnTo>
                      <a:pt x="353" y="101"/>
                    </a:lnTo>
                    <a:lnTo>
                      <a:pt x="353" y="106"/>
                    </a:lnTo>
                    <a:lnTo>
                      <a:pt x="348" y="111"/>
                    </a:lnTo>
                    <a:lnTo>
                      <a:pt x="348" y="116"/>
                    </a:lnTo>
                    <a:lnTo>
                      <a:pt x="343" y="116"/>
                    </a:lnTo>
                    <a:lnTo>
                      <a:pt x="343" y="121"/>
                    </a:lnTo>
                    <a:lnTo>
                      <a:pt x="348" y="126"/>
                    </a:lnTo>
                    <a:lnTo>
                      <a:pt x="343" y="126"/>
                    </a:lnTo>
                    <a:lnTo>
                      <a:pt x="348" y="131"/>
                    </a:lnTo>
                    <a:lnTo>
                      <a:pt x="348" y="141"/>
                    </a:lnTo>
                    <a:lnTo>
                      <a:pt x="343" y="146"/>
                    </a:lnTo>
                    <a:lnTo>
                      <a:pt x="343" y="156"/>
                    </a:lnTo>
                    <a:lnTo>
                      <a:pt x="343" y="161"/>
                    </a:lnTo>
                    <a:lnTo>
                      <a:pt x="338" y="161"/>
                    </a:lnTo>
                    <a:lnTo>
                      <a:pt x="343" y="176"/>
                    </a:lnTo>
                    <a:lnTo>
                      <a:pt x="338" y="176"/>
                    </a:lnTo>
                    <a:lnTo>
                      <a:pt x="338" y="181"/>
                    </a:lnTo>
                    <a:lnTo>
                      <a:pt x="338" y="191"/>
                    </a:lnTo>
                    <a:lnTo>
                      <a:pt x="333" y="191"/>
                    </a:lnTo>
                    <a:lnTo>
                      <a:pt x="333" y="196"/>
                    </a:lnTo>
                    <a:lnTo>
                      <a:pt x="318" y="201"/>
                    </a:lnTo>
                    <a:lnTo>
                      <a:pt x="323" y="201"/>
                    </a:lnTo>
                    <a:lnTo>
                      <a:pt x="323" y="206"/>
                    </a:lnTo>
                    <a:lnTo>
                      <a:pt x="328" y="217"/>
                    </a:lnTo>
                    <a:lnTo>
                      <a:pt x="328" y="222"/>
                    </a:lnTo>
                    <a:lnTo>
                      <a:pt x="333" y="232"/>
                    </a:lnTo>
                    <a:lnTo>
                      <a:pt x="338" y="237"/>
                    </a:lnTo>
                    <a:lnTo>
                      <a:pt x="338" y="252"/>
                    </a:lnTo>
                    <a:lnTo>
                      <a:pt x="343" y="262"/>
                    </a:lnTo>
                    <a:lnTo>
                      <a:pt x="348" y="267"/>
                    </a:lnTo>
                    <a:lnTo>
                      <a:pt x="348" y="272"/>
                    </a:lnTo>
                    <a:lnTo>
                      <a:pt x="353" y="277"/>
                    </a:lnTo>
                    <a:lnTo>
                      <a:pt x="353" y="282"/>
                    </a:lnTo>
                    <a:lnTo>
                      <a:pt x="348" y="292"/>
                    </a:lnTo>
                    <a:lnTo>
                      <a:pt x="343" y="297"/>
                    </a:lnTo>
                    <a:lnTo>
                      <a:pt x="348" y="302"/>
                    </a:lnTo>
                    <a:lnTo>
                      <a:pt x="343" y="307"/>
                    </a:lnTo>
                    <a:lnTo>
                      <a:pt x="348" y="307"/>
                    </a:lnTo>
                    <a:lnTo>
                      <a:pt x="348" y="312"/>
                    </a:lnTo>
                    <a:lnTo>
                      <a:pt x="353" y="317"/>
                    </a:lnTo>
                    <a:lnTo>
                      <a:pt x="348" y="322"/>
                    </a:lnTo>
                    <a:close/>
                  </a:path>
                </a:pathLst>
              </a:custGeom>
              <a:solidFill>
                <a:srgbClr val="84BB5B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589">
                <a:extLst>
                  <a:ext uri="{FF2B5EF4-FFF2-40B4-BE49-F238E27FC236}">
                    <a16:creationId xmlns:a16="http://schemas.microsoft.com/office/drawing/2014/main" id="{59EED00D-836A-EDAF-970D-C5EA2CDD12DC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3271725" y="1777203"/>
                <a:ext cx="855221" cy="786231"/>
              </a:xfrm>
              <a:custGeom>
                <a:avLst/>
                <a:gdLst>
                  <a:gd name="T0" fmla="*/ 2147483647 w 549"/>
                  <a:gd name="T1" fmla="*/ 2147483647 h 529"/>
                  <a:gd name="T2" fmla="*/ 2147483647 w 549"/>
                  <a:gd name="T3" fmla="*/ 2147483647 h 529"/>
                  <a:gd name="T4" fmla="*/ 2147483647 w 549"/>
                  <a:gd name="T5" fmla="*/ 2147483647 h 529"/>
                  <a:gd name="T6" fmla="*/ 2147483647 w 549"/>
                  <a:gd name="T7" fmla="*/ 2147483647 h 529"/>
                  <a:gd name="T8" fmla="*/ 2147483647 w 549"/>
                  <a:gd name="T9" fmla="*/ 2147483647 h 529"/>
                  <a:gd name="T10" fmla="*/ 2147483647 w 549"/>
                  <a:gd name="T11" fmla="*/ 2147483647 h 529"/>
                  <a:gd name="T12" fmla="*/ 2147483647 w 549"/>
                  <a:gd name="T13" fmla="*/ 2147483647 h 529"/>
                  <a:gd name="T14" fmla="*/ 2147483647 w 549"/>
                  <a:gd name="T15" fmla="*/ 2147483647 h 529"/>
                  <a:gd name="T16" fmla="*/ 2147483647 w 549"/>
                  <a:gd name="T17" fmla="*/ 2147483647 h 529"/>
                  <a:gd name="T18" fmla="*/ 2147483647 w 549"/>
                  <a:gd name="T19" fmla="*/ 2147483647 h 529"/>
                  <a:gd name="T20" fmla="*/ 2147483647 w 549"/>
                  <a:gd name="T21" fmla="*/ 2147483647 h 529"/>
                  <a:gd name="T22" fmla="*/ 2147483647 w 549"/>
                  <a:gd name="T23" fmla="*/ 2147483647 h 529"/>
                  <a:gd name="T24" fmla="*/ 2147483647 w 549"/>
                  <a:gd name="T25" fmla="*/ 2147483647 h 529"/>
                  <a:gd name="T26" fmla="*/ 2147483647 w 549"/>
                  <a:gd name="T27" fmla="*/ 2147483647 h 529"/>
                  <a:gd name="T28" fmla="*/ 2147483647 w 549"/>
                  <a:gd name="T29" fmla="*/ 2147483647 h 529"/>
                  <a:gd name="T30" fmla="*/ 2147483647 w 549"/>
                  <a:gd name="T31" fmla="*/ 2147483647 h 529"/>
                  <a:gd name="T32" fmla="*/ 2114628235 w 549"/>
                  <a:gd name="T33" fmla="*/ 2147483647 h 529"/>
                  <a:gd name="T34" fmla="*/ 2018510419 w 549"/>
                  <a:gd name="T35" fmla="*/ 2147483647 h 529"/>
                  <a:gd name="T36" fmla="*/ 2114628235 w 549"/>
                  <a:gd name="T37" fmla="*/ 2147483647 h 529"/>
                  <a:gd name="T38" fmla="*/ 1826266572 w 549"/>
                  <a:gd name="T39" fmla="*/ 2147483647 h 529"/>
                  <a:gd name="T40" fmla="*/ 1537915862 w 549"/>
                  <a:gd name="T41" fmla="*/ 2147483647 h 529"/>
                  <a:gd name="T42" fmla="*/ 1153436041 w 549"/>
                  <a:gd name="T43" fmla="*/ 2147483647 h 529"/>
                  <a:gd name="T44" fmla="*/ 768957931 w 549"/>
                  <a:gd name="T45" fmla="*/ 2147483647 h 529"/>
                  <a:gd name="T46" fmla="*/ 865075062 w 549"/>
                  <a:gd name="T47" fmla="*/ 2147483647 h 529"/>
                  <a:gd name="T48" fmla="*/ 672840628 w 549"/>
                  <a:gd name="T49" fmla="*/ 2147483647 h 529"/>
                  <a:gd name="T50" fmla="*/ 576713571 w 549"/>
                  <a:gd name="T51" fmla="*/ 2147483647 h 529"/>
                  <a:gd name="T52" fmla="*/ 768957931 w 549"/>
                  <a:gd name="T53" fmla="*/ 2147483647 h 529"/>
                  <a:gd name="T54" fmla="*/ 768957931 w 549"/>
                  <a:gd name="T55" fmla="*/ 2147483647 h 529"/>
                  <a:gd name="T56" fmla="*/ 768957931 w 549"/>
                  <a:gd name="T57" fmla="*/ 2147483647 h 529"/>
                  <a:gd name="T58" fmla="*/ 480596097 w 549"/>
                  <a:gd name="T59" fmla="*/ 2147483647 h 529"/>
                  <a:gd name="T60" fmla="*/ 96117431 w 549"/>
                  <a:gd name="T61" fmla="*/ 2147483647 h 529"/>
                  <a:gd name="T62" fmla="*/ 96117431 w 549"/>
                  <a:gd name="T63" fmla="*/ 2147483647 h 529"/>
                  <a:gd name="T64" fmla="*/ 384478965 w 549"/>
                  <a:gd name="T65" fmla="*/ 2147483647 h 529"/>
                  <a:gd name="T66" fmla="*/ 576713571 w 549"/>
                  <a:gd name="T67" fmla="*/ 2147483647 h 529"/>
                  <a:gd name="T68" fmla="*/ 576713571 w 549"/>
                  <a:gd name="T69" fmla="*/ 2147483647 h 529"/>
                  <a:gd name="T70" fmla="*/ 384478965 w 549"/>
                  <a:gd name="T71" fmla="*/ 2147483647 h 529"/>
                  <a:gd name="T72" fmla="*/ 0 w 549"/>
                  <a:gd name="T73" fmla="*/ 1695488554 h 529"/>
                  <a:gd name="T74" fmla="*/ 96117431 w 549"/>
                  <a:gd name="T75" fmla="*/ 1053259706 h 529"/>
                  <a:gd name="T76" fmla="*/ 384478965 w 549"/>
                  <a:gd name="T77" fmla="*/ 667918723 h 529"/>
                  <a:gd name="T78" fmla="*/ 865075062 w 549"/>
                  <a:gd name="T79" fmla="*/ 385339913 h 529"/>
                  <a:gd name="T80" fmla="*/ 1441788462 w 549"/>
                  <a:gd name="T81" fmla="*/ 256889382 h 529"/>
                  <a:gd name="T82" fmla="*/ 2018510419 w 549"/>
                  <a:gd name="T83" fmla="*/ 667918723 h 529"/>
                  <a:gd name="T84" fmla="*/ 2147483647 w 549"/>
                  <a:gd name="T85" fmla="*/ 1053259706 h 529"/>
                  <a:gd name="T86" fmla="*/ 2147483647 w 549"/>
                  <a:gd name="T87" fmla="*/ 2080827219 h 529"/>
                  <a:gd name="T88" fmla="*/ 2147483647 w 549"/>
                  <a:gd name="T89" fmla="*/ 2147483647 h 529"/>
                  <a:gd name="T90" fmla="*/ 2147483647 w 549"/>
                  <a:gd name="T91" fmla="*/ 2147483647 h 529"/>
                  <a:gd name="T92" fmla="*/ 2147483647 w 549"/>
                  <a:gd name="T93" fmla="*/ 2147483647 h 529"/>
                  <a:gd name="T94" fmla="*/ 2147483647 w 549"/>
                  <a:gd name="T95" fmla="*/ 2147483647 h 529"/>
                  <a:gd name="T96" fmla="*/ 2147483647 w 549"/>
                  <a:gd name="T97" fmla="*/ 2147483647 h 529"/>
                  <a:gd name="T98" fmla="*/ 2147483647 w 549"/>
                  <a:gd name="T99" fmla="*/ 2147483647 h 529"/>
                  <a:gd name="T100" fmla="*/ 2147483647 w 549"/>
                  <a:gd name="T101" fmla="*/ 2147483647 h 529"/>
                  <a:gd name="T102" fmla="*/ 2147483647 w 549"/>
                  <a:gd name="T103" fmla="*/ 2147483647 h 529"/>
                  <a:gd name="T104" fmla="*/ 2147483647 w 549"/>
                  <a:gd name="T105" fmla="*/ 2147483647 h 529"/>
                  <a:gd name="T106" fmla="*/ 2147483647 w 549"/>
                  <a:gd name="T107" fmla="*/ 2147483647 h 529"/>
                  <a:gd name="T108" fmla="*/ 2147483647 w 549"/>
                  <a:gd name="T109" fmla="*/ 2147483647 h 529"/>
                  <a:gd name="T110" fmla="*/ 2147483647 w 549"/>
                  <a:gd name="T111" fmla="*/ 2147483647 h 529"/>
                  <a:gd name="T112" fmla="*/ 2147483647 w 549"/>
                  <a:gd name="T113" fmla="*/ 2147483647 h 529"/>
                  <a:gd name="T114" fmla="*/ 2147483647 w 549"/>
                  <a:gd name="T115" fmla="*/ 2147483647 h 529"/>
                  <a:gd name="T116" fmla="*/ 2147483647 w 549"/>
                  <a:gd name="T117" fmla="*/ 2147483647 h 529"/>
                  <a:gd name="T118" fmla="*/ 2147483647 w 549"/>
                  <a:gd name="T119" fmla="*/ 2147483647 h 529"/>
                  <a:gd name="T120" fmla="*/ 2147483647 w 549"/>
                  <a:gd name="T121" fmla="*/ 2147483647 h 529"/>
                  <a:gd name="T122" fmla="*/ 2147483647 w 549"/>
                  <a:gd name="T123" fmla="*/ 2147483647 h 52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49"/>
                  <a:gd name="T187" fmla="*/ 0 h 529"/>
                  <a:gd name="T188" fmla="*/ 549 w 549"/>
                  <a:gd name="T189" fmla="*/ 529 h 52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49" h="529">
                    <a:moveTo>
                      <a:pt x="544" y="403"/>
                    </a:moveTo>
                    <a:lnTo>
                      <a:pt x="544" y="408"/>
                    </a:lnTo>
                    <a:lnTo>
                      <a:pt x="549" y="408"/>
                    </a:lnTo>
                    <a:lnTo>
                      <a:pt x="549" y="414"/>
                    </a:lnTo>
                    <a:lnTo>
                      <a:pt x="544" y="419"/>
                    </a:lnTo>
                    <a:lnTo>
                      <a:pt x="539" y="419"/>
                    </a:lnTo>
                    <a:lnTo>
                      <a:pt x="534" y="419"/>
                    </a:lnTo>
                    <a:lnTo>
                      <a:pt x="534" y="424"/>
                    </a:lnTo>
                    <a:lnTo>
                      <a:pt x="529" y="424"/>
                    </a:lnTo>
                    <a:lnTo>
                      <a:pt x="524" y="429"/>
                    </a:lnTo>
                    <a:lnTo>
                      <a:pt x="529" y="429"/>
                    </a:lnTo>
                    <a:lnTo>
                      <a:pt x="524" y="434"/>
                    </a:lnTo>
                    <a:lnTo>
                      <a:pt x="514" y="429"/>
                    </a:lnTo>
                    <a:lnTo>
                      <a:pt x="509" y="429"/>
                    </a:lnTo>
                    <a:lnTo>
                      <a:pt x="509" y="434"/>
                    </a:lnTo>
                    <a:lnTo>
                      <a:pt x="504" y="434"/>
                    </a:lnTo>
                    <a:lnTo>
                      <a:pt x="504" y="439"/>
                    </a:lnTo>
                    <a:lnTo>
                      <a:pt x="494" y="439"/>
                    </a:lnTo>
                    <a:lnTo>
                      <a:pt x="488" y="444"/>
                    </a:lnTo>
                    <a:lnTo>
                      <a:pt x="494" y="449"/>
                    </a:lnTo>
                    <a:lnTo>
                      <a:pt x="494" y="454"/>
                    </a:lnTo>
                    <a:lnTo>
                      <a:pt x="488" y="454"/>
                    </a:lnTo>
                    <a:lnTo>
                      <a:pt x="488" y="459"/>
                    </a:lnTo>
                    <a:lnTo>
                      <a:pt x="494" y="464"/>
                    </a:lnTo>
                    <a:lnTo>
                      <a:pt x="488" y="464"/>
                    </a:lnTo>
                    <a:lnTo>
                      <a:pt x="483" y="469"/>
                    </a:lnTo>
                    <a:lnTo>
                      <a:pt x="478" y="464"/>
                    </a:lnTo>
                    <a:lnTo>
                      <a:pt x="478" y="469"/>
                    </a:lnTo>
                    <a:lnTo>
                      <a:pt x="473" y="469"/>
                    </a:lnTo>
                    <a:lnTo>
                      <a:pt x="468" y="479"/>
                    </a:lnTo>
                    <a:lnTo>
                      <a:pt x="463" y="479"/>
                    </a:lnTo>
                    <a:lnTo>
                      <a:pt x="463" y="484"/>
                    </a:lnTo>
                    <a:lnTo>
                      <a:pt x="458" y="494"/>
                    </a:lnTo>
                    <a:lnTo>
                      <a:pt x="453" y="494"/>
                    </a:lnTo>
                    <a:lnTo>
                      <a:pt x="453" y="489"/>
                    </a:lnTo>
                    <a:lnTo>
                      <a:pt x="443" y="494"/>
                    </a:lnTo>
                    <a:lnTo>
                      <a:pt x="448" y="499"/>
                    </a:lnTo>
                    <a:lnTo>
                      <a:pt x="448" y="504"/>
                    </a:lnTo>
                    <a:lnTo>
                      <a:pt x="433" y="504"/>
                    </a:lnTo>
                    <a:lnTo>
                      <a:pt x="433" y="499"/>
                    </a:lnTo>
                    <a:lnTo>
                      <a:pt x="428" y="504"/>
                    </a:lnTo>
                    <a:lnTo>
                      <a:pt x="428" y="509"/>
                    </a:lnTo>
                    <a:lnTo>
                      <a:pt x="428" y="504"/>
                    </a:lnTo>
                    <a:lnTo>
                      <a:pt x="418" y="509"/>
                    </a:lnTo>
                    <a:lnTo>
                      <a:pt x="418" y="514"/>
                    </a:lnTo>
                    <a:lnTo>
                      <a:pt x="413" y="514"/>
                    </a:lnTo>
                    <a:lnTo>
                      <a:pt x="413" y="509"/>
                    </a:lnTo>
                    <a:lnTo>
                      <a:pt x="408" y="514"/>
                    </a:lnTo>
                    <a:lnTo>
                      <a:pt x="408" y="519"/>
                    </a:lnTo>
                    <a:lnTo>
                      <a:pt x="413" y="529"/>
                    </a:lnTo>
                    <a:lnTo>
                      <a:pt x="408" y="529"/>
                    </a:lnTo>
                    <a:lnTo>
                      <a:pt x="408" y="524"/>
                    </a:lnTo>
                    <a:lnTo>
                      <a:pt x="403" y="519"/>
                    </a:lnTo>
                    <a:lnTo>
                      <a:pt x="403" y="524"/>
                    </a:lnTo>
                    <a:lnTo>
                      <a:pt x="403" y="529"/>
                    </a:lnTo>
                    <a:lnTo>
                      <a:pt x="393" y="529"/>
                    </a:lnTo>
                    <a:lnTo>
                      <a:pt x="393" y="524"/>
                    </a:lnTo>
                    <a:lnTo>
                      <a:pt x="388" y="529"/>
                    </a:lnTo>
                    <a:lnTo>
                      <a:pt x="383" y="529"/>
                    </a:lnTo>
                    <a:lnTo>
                      <a:pt x="378" y="519"/>
                    </a:lnTo>
                    <a:lnTo>
                      <a:pt x="373" y="519"/>
                    </a:lnTo>
                    <a:lnTo>
                      <a:pt x="378" y="509"/>
                    </a:lnTo>
                    <a:lnTo>
                      <a:pt x="383" y="504"/>
                    </a:lnTo>
                    <a:lnTo>
                      <a:pt x="378" y="499"/>
                    </a:lnTo>
                    <a:lnTo>
                      <a:pt x="378" y="504"/>
                    </a:lnTo>
                    <a:lnTo>
                      <a:pt x="373" y="504"/>
                    </a:lnTo>
                    <a:lnTo>
                      <a:pt x="373" y="499"/>
                    </a:lnTo>
                    <a:lnTo>
                      <a:pt x="368" y="499"/>
                    </a:lnTo>
                    <a:lnTo>
                      <a:pt x="373" y="504"/>
                    </a:lnTo>
                    <a:lnTo>
                      <a:pt x="368" y="499"/>
                    </a:lnTo>
                    <a:lnTo>
                      <a:pt x="368" y="494"/>
                    </a:lnTo>
                    <a:lnTo>
                      <a:pt x="362" y="494"/>
                    </a:lnTo>
                    <a:lnTo>
                      <a:pt x="357" y="494"/>
                    </a:lnTo>
                    <a:lnTo>
                      <a:pt x="352" y="494"/>
                    </a:lnTo>
                    <a:lnTo>
                      <a:pt x="342" y="489"/>
                    </a:lnTo>
                    <a:lnTo>
                      <a:pt x="337" y="484"/>
                    </a:lnTo>
                    <a:lnTo>
                      <a:pt x="332" y="484"/>
                    </a:lnTo>
                    <a:lnTo>
                      <a:pt x="337" y="479"/>
                    </a:lnTo>
                    <a:lnTo>
                      <a:pt x="332" y="474"/>
                    </a:lnTo>
                    <a:lnTo>
                      <a:pt x="332" y="479"/>
                    </a:lnTo>
                    <a:lnTo>
                      <a:pt x="312" y="469"/>
                    </a:lnTo>
                    <a:lnTo>
                      <a:pt x="307" y="469"/>
                    </a:lnTo>
                    <a:lnTo>
                      <a:pt x="302" y="459"/>
                    </a:lnTo>
                    <a:lnTo>
                      <a:pt x="302" y="454"/>
                    </a:lnTo>
                    <a:lnTo>
                      <a:pt x="297" y="449"/>
                    </a:lnTo>
                    <a:lnTo>
                      <a:pt x="292" y="449"/>
                    </a:lnTo>
                    <a:lnTo>
                      <a:pt x="287" y="449"/>
                    </a:lnTo>
                    <a:lnTo>
                      <a:pt x="287" y="454"/>
                    </a:lnTo>
                    <a:lnTo>
                      <a:pt x="282" y="459"/>
                    </a:lnTo>
                    <a:lnTo>
                      <a:pt x="277" y="464"/>
                    </a:lnTo>
                    <a:lnTo>
                      <a:pt x="272" y="464"/>
                    </a:lnTo>
                    <a:lnTo>
                      <a:pt x="277" y="459"/>
                    </a:lnTo>
                    <a:lnTo>
                      <a:pt x="272" y="459"/>
                    </a:lnTo>
                    <a:lnTo>
                      <a:pt x="272" y="464"/>
                    </a:lnTo>
                    <a:lnTo>
                      <a:pt x="252" y="459"/>
                    </a:lnTo>
                    <a:lnTo>
                      <a:pt x="247" y="469"/>
                    </a:lnTo>
                    <a:lnTo>
                      <a:pt x="242" y="469"/>
                    </a:lnTo>
                    <a:lnTo>
                      <a:pt x="242" y="464"/>
                    </a:lnTo>
                    <a:lnTo>
                      <a:pt x="236" y="469"/>
                    </a:lnTo>
                    <a:lnTo>
                      <a:pt x="231" y="469"/>
                    </a:lnTo>
                    <a:lnTo>
                      <a:pt x="231" y="474"/>
                    </a:lnTo>
                    <a:lnTo>
                      <a:pt x="236" y="474"/>
                    </a:lnTo>
                    <a:lnTo>
                      <a:pt x="236" y="479"/>
                    </a:lnTo>
                    <a:lnTo>
                      <a:pt x="231" y="479"/>
                    </a:lnTo>
                    <a:lnTo>
                      <a:pt x="231" y="484"/>
                    </a:lnTo>
                    <a:lnTo>
                      <a:pt x="231" y="489"/>
                    </a:lnTo>
                    <a:lnTo>
                      <a:pt x="221" y="494"/>
                    </a:lnTo>
                    <a:lnTo>
                      <a:pt x="216" y="494"/>
                    </a:lnTo>
                    <a:lnTo>
                      <a:pt x="201" y="494"/>
                    </a:lnTo>
                    <a:lnTo>
                      <a:pt x="196" y="489"/>
                    </a:lnTo>
                    <a:lnTo>
                      <a:pt x="191" y="494"/>
                    </a:lnTo>
                    <a:lnTo>
                      <a:pt x="186" y="494"/>
                    </a:lnTo>
                    <a:lnTo>
                      <a:pt x="186" y="499"/>
                    </a:lnTo>
                    <a:lnTo>
                      <a:pt x="181" y="494"/>
                    </a:lnTo>
                    <a:lnTo>
                      <a:pt x="176" y="499"/>
                    </a:lnTo>
                    <a:lnTo>
                      <a:pt x="171" y="499"/>
                    </a:lnTo>
                    <a:lnTo>
                      <a:pt x="171" y="504"/>
                    </a:lnTo>
                    <a:lnTo>
                      <a:pt x="166" y="504"/>
                    </a:lnTo>
                    <a:lnTo>
                      <a:pt x="161" y="504"/>
                    </a:lnTo>
                    <a:lnTo>
                      <a:pt x="156" y="499"/>
                    </a:lnTo>
                    <a:lnTo>
                      <a:pt x="146" y="499"/>
                    </a:lnTo>
                    <a:lnTo>
                      <a:pt x="141" y="499"/>
                    </a:lnTo>
                    <a:lnTo>
                      <a:pt x="141" y="494"/>
                    </a:lnTo>
                    <a:lnTo>
                      <a:pt x="136" y="499"/>
                    </a:lnTo>
                    <a:lnTo>
                      <a:pt x="136" y="504"/>
                    </a:lnTo>
                    <a:lnTo>
                      <a:pt x="136" y="509"/>
                    </a:lnTo>
                    <a:lnTo>
                      <a:pt x="131" y="509"/>
                    </a:lnTo>
                    <a:lnTo>
                      <a:pt x="126" y="504"/>
                    </a:lnTo>
                    <a:lnTo>
                      <a:pt x="121" y="509"/>
                    </a:lnTo>
                    <a:lnTo>
                      <a:pt x="121" y="514"/>
                    </a:lnTo>
                    <a:lnTo>
                      <a:pt x="116" y="514"/>
                    </a:lnTo>
                    <a:lnTo>
                      <a:pt x="105" y="514"/>
                    </a:lnTo>
                    <a:lnTo>
                      <a:pt x="105" y="509"/>
                    </a:lnTo>
                    <a:lnTo>
                      <a:pt x="100" y="509"/>
                    </a:lnTo>
                    <a:lnTo>
                      <a:pt x="105" y="504"/>
                    </a:lnTo>
                    <a:lnTo>
                      <a:pt x="110" y="499"/>
                    </a:lnTo>
                    <a:lnTo>
                      <a:pt x="105" y="494"/>
                    </a:lnTo>
                    <a:lnTo>
                      <a:pt x="110" y="494"/>
                    </a:lnTo>
                    <a:lnTo>
                      <a:pt x="110" y="489"/>
                    </a:lnTo>
                    <a:lnTo>
                      <a:pt x="105" y="489"/>
                    </a:lnTo>
                    <a:lnTo>
                      <a:pt x="105" y="479"/>
                    </a:lnTo>
                    <a:lnTo>
                      <a:pt x="100" y="479"/>
                    </a:lnTo>
                    <a:lnTo>
                      <a:pt x="105" y="474"/>
                    </a:lnTo>
                    <a:lnTo>
                      <a:pt x="105" y="469"/>
                    </a:lnTo>
                    <a:lnTo>
                      <a:pt x="105" y="464"/>
                    </a:lnTo>
                    <a:lnTo>
                      <a:pt x="100" y="459"/>
                    </a:lnTo>
                    <a:lnTo>
                      <a:pt x="105" y="459"/>
                    </a:lnTo>
                    <a:lnTo>
                      <a:pt x="110" y="454"/>
                    </a:lnTo>
                    <a:lnTo>
                      <a:pt x="116" y="454"/>
                    </a:lnTo>
                    <a:lnTo>
                      <a:pt x="121" y="449"/>
                    </a:lnTo>
                    <a:lnTo>
                      <a:pt x="116" y="449"/>
                    </a:lnTo>
                    <a:lnTo>
                      <a:pt x="110" y="444"/>
                    </a:lnTo>
                    <a:lnTo>
                      <a:pt x="105" y="449"/>
                    </a:lnTo>
                    <a:lnTo>
                      <a:pt x="95" y="434"/>
                    </a:lnTo>
                    <a:lnTo>
                      <a:pt x="100" y="434"/>
                    </a:lnTo>
                    <a:lnTo>
                      <a:pt x="95" y="434"/>
                    </a:lnTo>
                    <a:lnTo>
                      <a:pt x="95" y="429"/>
                    </a:lnTo>
                    <a:lnTo>
                      <a:pt x="95" y="424"/>
                    </a:lnTo>
                    <a:lnTo>
                      <a:pt x="90" y="419"/>
                    </a:lnTo>
                    <a:lnTo>
                      <a:pt x="95" y="419"/>
                    </a:lnTo>
                    <a:lnTo>
                      <a:pt x="90" y="414"/>
                    </a:lnTo>
                    <a:lnTo>
                      <a:pt x="95" y="408"/>
                    </a:lnTo>
                    <a:lnTo>
                      <a:pt x="95" y="414"/>
                    </a:lnTo>
                    <a:lnTo>
                      <a:pt x="95" y="408"/>
                    </a:lnTo>
                    <a:lnTo>
                      <a:pt x="95" y="403"/>
                    </a:lnTo>
                    <a:lnTo>
                      <a:pt x="90" y="393"/>
                    </a:lnTo>
                    <a:lnTo>
                      <a:pt x="85" y="398"/>
                    </a:lnTo>
                    <a:lnTo>
                      <a:pt x="80" y="398"/>
                    </a:lnTo>
                    <a:lnTo>
                      <a:pt x="80" y="393"/>
                    </a:lnTo>
                    <a:lnTo>
                      <a:pt x="75" y="388"/>
                    </a:lnTo>
                    <a:lnTo>
                      <a:pt x="70" y="388"/>
                    </a:lnTo>
                    <a:lnTo>
                      <a:pt x="65" y="393"/>
                    </a:lnTo>
                    <a:lnTo>
                      <a:pt x="70" y="393"/>
                    </a:lnTo>
                    <a:lnTo>
                      <a:pt x="60" y="393"/>
                    </a:lnTo>
                    <a:lnTo>
                      <a:pt x="65" y="388"/>
                    </a:lnTo>
                    <a:lnTo>
                      <a:pt x="60" y="388"/>
                    </a:lnTo>
                    <a:lnTo>
                      <a:pt x="65" y="383"/>
                    </a:lnTo>
                    <a:lnTo>
                      <a:pt x="65" y="378"/>
                    </a:lnTo>
                    <a:lnTo>
                      <a:pt x="60" y="378"/>
                    </a:lnTo>
                    <a:lnTo>
                      <a:pt x="60" y="373"/>
                    </a:lnTo>
                    <a:lnTo>
                      <a:pt x="55" y="373"/>
                    </a:lnTo>
                    <a:lnTo>
                      <a:pt x="50" y="368"/>
                    </a:lnTo>
                    <a:lnTo>
                      <a:pt x="45" y="373"/>
                    </a:lnTo>
                    <a:lnTo>
                      <a:pt x="40" y="373"/>
                    </a:lnTo>
                    <a:lnTo>
                      <a:pt x="40" y="358"/>
                    </a:lnTo>
                    <a:lnTo>
                      <a:pt x="35" y="353"/>
                    </a:lnTo>
                    <a:lnTo>
                      <a:pt x="35" y="348"/>
                    </a:lnTo>
                    <a:lnTo>
                      <a:pt x="35" y="343"/>
                    </a:lnTo>
                    <a:lnTo>
                      <a:pt x="40" y="343"/>
                    </a:lnTo>
                    <a:lnTo>
                      <a:pt x="45" y="338"/>
                    </a:lnTo>
                    <a:lnTo>
                      <a:pt x="40" y="333"/>
                    </a:lnTo>
                    <a:lnTo>
                      <a:pt x="45" y="323"/>
                    </a:lnTo>
                    <a:lnTo>
                      <a:pt x="40" y="323"/>
                    </a:lnTo>
                    <a:lnTo>
                      <a:pt x="40" y="318"/>
                    </a:lnTo>
                    <a:lnTo>
                      <a:pt x="35" y="318"/>
                    </a:lnTo>
                    <a:lnTo>
                      <a:pt x="35" y="313"/>
                    </a:lnTo>
                    <a:lnTo>
                      <a:pt x="40" y="313"/>
                    </a:lnTo>
                    <a:lnTo>
                      <a:pt x="40" y="308"/>
                    </a:lnTo>
                    <a:lnTo>
                      <a:pt x="40" y="303"/>
                    </a:lnTo>
                    <a:lnTo>
                      <a:pt x="35" y="303"/>
                    </a:lnTo>
                    <a:lnTo>
                      <a:pt x="30" y="308"/>
                    </a:lnTo>
                    <a:lnTo>
                      <a:pt x="30" y="303"/>
                    </a:lnTo>
                    <a:lnTo>
                      <a:pt x="30" y="298"/>
                    </a:lnTo>
                    <a:lnTo>
                      <a:pt x="25" y="298"/>
                    </a:lnTo>
                    <a:lnTo>
                      <a:pt x="25" y="293"/>
                    </a:lnTo>
                    <a:lnTo>
                      <a:pt x="25" y="288"/>
                    </a:lnTo>
                    <a:lnTo>
                      <a:pt x="25" y="283"/>
                    </a:lnTo>
                    <a:lnTo>
                      <a:pt x="30" y="288"/>
                    </a:lnTo>
                    <a:lnTo>
                      <a:pt x="30" y="293"/>
                    </a:lnTo>
                    <a:lnTo>
                      <a:pt x="35" y="298"/>
                    </a:lnTo>
                    <a:lnTo>
                      <a:pt x="40" y="293"/>
                    </a:lnTo>
                    <a:lnTo>
                      <a:pt x="40" y="298"/>
                    </a:lnTo>
                    <a:lnTo>
                      <a:pt x="45" y="293"/>
                    </a:lnTo>
                    <a:lnTo>
                      <a:pt x="40" y="293"/>
                    </a:lnTo>
                    <a:lnTo>
                      <a:pt x="35" y="293"/>
                    </a:lnTo>
                    <a:lnTo>
                      <a:pt x="40" y="288"/>
                    </a:lnTo>
                    <a:lnTo>
                      <a:pt x="45" y="288"/>
                    </a:lnTo>
                    <a:lnTo>
                      <a:pt x="40" y="283"/>
                    </a:lnTo>
                    <a:lnTo>
                      <a:pt x="35" y="277"/>
                    </a:lnTo>
                    <a:lnTo>
                      <a:pt x="35" y="272"/>
                    </a:lnTo>
                    <a:lnTo>
                      <a:pt x="35" y="267"/>
                    </a:lnTo>
                    <a:lnTo>
                      <a:pt x="35" y="262"/>
                    </a:lnTo>
                    <a:lnTo>
                      <a:pt x="35" y="257"/>
                    </a:lnTo>
                    <a:lnTo>
                      <a:pt x="40" y="262"/>
                    </a:lnTo>
                    <a:lnTo>
                      <a:pt x="40" y="257"/>
                    </a:lnTo>
                    <a:lnTo>
                      <a:pt x="40" y="247"/>
                    </a:lnTo>
                    <a:lnTo>
                      <a:pt x="35" y="242"/>
                    </a:lnTo>
                    <a:lnTo>
                      <a:pt x="30" y="242"/>
                    </a:lnTo>
                    <a:lnTo>
                      <a:pt x="30" y="237"/>
                    </a:lnTo>
                    <a:lnTo>
                      <a:pt x="35" y="237"/>
                    </a:lnTo>
                    <a:lnTo>
                      <a:pt x="40" y="237"/>
                    </a:lnTo>
                    <a:lnTo>
                      <a:pt x="40" y="232"/>
                    </a:lnTo>
                    <a:lnTo>
                      <a:pt x="35" y="237"/>
                    </a:lnTo>
                    <a:lnTo>
                      <a:pt x="35" y="232"/>
                    </a:lnTo>
                    <a:lnTo>
                      <a:pt x="30" y="227"/>
                    </a:lnTo>
                    <a:lnTo>
                      <a:pt x="25" y="227"/>
                    </a:lnTo>
                    <a:lnTo>
                      <a:pt x="25" y="222"/>
                    </a:lnTo>
                    <a:lnTo>
                      <a:pt x="20" y="222"/>
                    </a:lnTo>
                    <a:lnTo>
                      <a:pt x="20" y="212"/>
                    </a:lnTo>
                    <a:lnTo>
                      <a:pt x="25" y="207"/>
                    </a:lnTo>
                    <a:lnTo>
                      <a:pt x="20" y="207"/>
                    </a:lnTo>
                    <a:lnTo>
                      <a:pt x="25" y="207"/>
                    </a:lnTo>
                    <a:lnTo>
                      <a:pt x="25" y="202"/>
                    </a:lnTo>
                    <a:lnTo>
                      <a:pt x="20" y="202"/>
                    </a:lnTo>
                    <a:lnTo>
                      <a:pt x="15" y="197"/>
                    </a:lnTo>
                    <a:lnTo>
                      <a:pt x="10" y="197"/>
                    </a:lnTo>
                    <a:lnTo>
                      <a:pt x="10" y="192"/>
                    </a:lnTo>
                    <a:lnTo>
                      <a:pt x="5" y="192"/>
                    </a:lnTo>
                    <a:lnTo>
                      <a:pt x="5" y="187"/>
                    </a:lnTo>
                    <a:lnTo>
                      <a:pt x="5" y="182"/>
                    </a:lnTo>
                    <a:lnTo>
                      <a:pt x="5" y="177"/>
                    </a:lnTo>
                    <a:lnTo>
                      <a:pt x="10" y="182"/>
                    </a:lnTo>
                    <a:lnTo>
                      <a:pt x="10" y="177"/>
                    </a:lnTo>
                    <a:lnTo>
                      <a:pt x="5" y="172"/>
                    </a:lnTo>
                    <a:lnTo>
                      <a:pt x="5" y="167"/>
                    </a:lnTo>
                    <a:lnTo>
                      <a:pt x="5" y="162"/>
                    </a:lnTo>
                    <a:lnTo>
                      <a:pt x="5" y="167"/>
                    </a:lnTo>
                    <a:lnTo>
                      <a:pt x="5" y="162"/>
                    </a:lnTo>
                    <a:lnTo>
                      <a:pt x="5" y="157"/>
                    </a:lnTo>
                    <a:lnTo>
                      <a:pt x="10" y="157"/>
                    </a:lnTo>
                    <a:lnTo>
                      <a:pt x="10" y="151"/>
                    </a:lnTo>
                    <a:lnTo>
                      <a:pt x="15" y="146"/>
                    </a:lnTo>
                    <a:lnTo>
                      <a:pt x="20" y="146"/>
                    </a:lnTo>
                    <a:lnTo>
                      <a:pt x="20" y="141"/>
                    </a:lnTo>
                    <a:lnTo>
                      <a:pt x="25" y="136"/>
                    </a:lnTo>
                    <a:lnTo>
                      <a:pt x="30" y="141"/>
                    </a:lnTo>
                    <a:lnTo>
                      <a:pt x="35" y="136"/>
                    </a:lnTo>
                    <a:lnTo>
                      <a:pt x="30" y="131"/>
                    </a:lnTo>
                    <a:lnTo>
                      <a:pt x="35" y="131"/>
                    </a:lnTo>
                    <a:lnTo>
                      <a:pt x="35" y="126"/>
                    </a:lnTo>
                    <a:lnTo>
                      <a:pt x="35" y="121"/>
                    </a:lnTo>
                    <a:lnTo>
                      <a:pt x="30" y="126"/>
                    </a:lnTo>
                    <a:lnTo>
                      <a:pt x="30" y="121"/>
                    </a:lnTo>
                    <a:lnTo>
                      <a:pt x="25" y="121"/>
                    </a:lnTo>
                    <a:lnTo>
                      <a:pt x="20" y="116"/>
                    </a:lnTo>
                    <a:lnTo>
                      <a:pt x="15" y="116"/>
                    </a:lnTo>
                    <a:lnTo>
                      <a:pt x="15" y="111"/>
                    </a:lnTo>
                    <a:lnTo>
                      <a:pt x="25" y="111"/>
                    </a:lnTo>
                    <a:lnTo>
                      <a:pt x="25" y="106"/>
                    </a:lnTo>
                    <a:lnTo>
                      <a:pt x="30" y="106"/>
                    </a:lnTo>
                    <a:lnTo>
                      <a:pt x="35" y="106"/>
                    </a:lnTo>
                    <a:lnTo>
                      <a:pt x="40" y="101"/>
                    </a:lnTo>
                    <a:lnTo>
                      <a:pt x="45" y="101"/>
                    </a:lnTo>
                    <a:lnTo>
                      <a:pt x="45" y="91"/>
                    </a:lnTo>
                    <a:lnTo>
                      <a:pt x="35" y="91"/>
                    </a:lnTo>
                    <a:lnTo>
                      <a:pt x="30" y="91"/>
                    </a:lnTo>
                    <a:lnTo>
                      <a:pt x="25" y="86"/>
                    </a:lnTo>
                    <a:lnTo>
                      <a:pt x="20" y="86"/>
                    </a:lnTo>
                    <a:lnTo>
                      <a:pt x="20" y="81"/>
                    </a:lnTo>
                    <a:lnTo>
                      <a:pt x="10" y="81"/>
                    </a:lnTo>
                    <a:lnTo>
                      <a:pt x="10" y="86"/>
                    </a:lnTo>
                    <a:lnTo>
                      <a:pt x="10" y="81"/>
                    </a:lnTo>
                    <a:lnTo>
                      <a:pt x="5" y="81"/>
                    </a:lnTo>
                    <a:lnTo>
                      <a:pt x="5" y="76"/>
                    </a:lnTo>
                    <a:lnTo>
                      <a:pt x="0" y="71"/>
                    </a:lnTo>
                    <a:lnTo>
                      <a:pt x="0" y="66"/>
                    </a:lnTo>
                    <a:lnTo>
                      <a:pt x="5" y="61"/>
                    </a:lnTo>
                    <a:lnTo>
                      <a:pt x="5" y="66"/>
                    </a:lnTo>
                    <a:lnTo>
                      <a:pt x="5" y="61"/>
                    </a:lnTo>
                    <a:lnTo>
                      <a:pt x="10" y="56"/>
                    </a:lnTo>
                    <a:lnTo>
                      <a:pt x="5" y="51"/>
                    </a:lnTo>
                    <a:lnTo>
                      <a:pt x="0" y="51"/>
                    </a:lnTo>
                    <a:lnTo>
                      <a:pt x="5" y="46"/>
                    </a:lnTo>
                    <a:lnTo>
                      <a:pt x="5" y="41"/>
                    </a:lnTo>
                    <a:lnTo>
                      <a:pt x="5" y="36"/>
                    </a:lnTo>
                    <a:lnTo>
                      <a:pt x="5" y="31"/>
                    </a:lnTo>
                    <a:lnTo>
                      <a:pt x="5" y="26"/>
                    </a:lnTo>
                    <a:lnTo>
                      <a:pt x="10" y="26"/>
                    </a:lnTo>
                    <a:lnTo>
                      <a:pt x="10" y="20"/>
                    </a:lnTo>
                    <a:lnTo>
                      <a:pt x="15" y="20"/>
                    </a:lnTo>
                    <a:lnTo>
                      <a:pt x="20" y="20"/>
                    </a:lnTo>
                    <a:lnTo>
                      <a:pt x="20" y="26"/>
                    </a:lnTo>
                    <a:lnTo>
                      <a:pt x="20" y="31"/>
                    </a:lnTo>
                    <a:lnTo>
                      <a:pt x="25" y="31"/>
                    </a:lnTo>
                    <a:lnTo>
                      <a:pt x="30" y="31"/>
                    </a:lnTo>
                    <a:lnTo>
                      <a:pt x="30" y="26"/>
                    </a:lnTo>
                    <a:lnTo>
                      <a:pt x="35" y="26"/>
                    </a:lnTo>
                    <a:lnTo>
                      <a:pt x="35" y="20"/>
                    </a:lnTo>
                    <a:lnTo>
                      <a:pt x="40" y="15"/>
                    </a:lnTo>
                    <a:lnTo>
                      <a:pt x="45" y="15"/>
                    </a:lnTo>
                    <a:lnTo>
                      <a:pt x="45" y="10"/>
                    </a:lnTo>
                    <a:lnTo>
                      <a:pt x="50" y="5"/>
                    </a:lnTo>
                    <a:lnTo>
                      <a:pt x="55" y="5"/>
                    </a:lnTo>
                    <a:lnTo>
                      <a:pt x="60" y="5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0" y="5"/>
                    </a:lnTo>
                    <a:lnTo>
                      <a:pt x="75" y="10"/>
                    </a:lnTo>
                    <a:lnTo>
                      <a:pt x="80" y="10"/>
                    </a:lnTo>
                    <a:lnTo>
                      <a:pt x="85" y="10"/>
                    </a:lnTo>
                    <a:lnTo>
                      <a:pt x="90" y="10"/>
                    </a:lnTo>
                    <a:lnTo>
                      <a:pt x="90" y="15"/>
                    </a:lnTo>
                    <a:lnTo>
                      <a:pt x="95" y="15"/>
                    </a:lnTo>
                    <a:lnTo>
                      <a:pt x="95" y="20"/>
                    </a:lnTo>
                    <a:lnTo>
                      <a:pt x="100" y="26"/>
                    </a:lnTo>
                    <a:lnTo>
                      <a:pt x="105" y="26"/>
                    </a:lnTo>
                    <a:lnTo>
                      <a:pt x="105" y="31"/>
                    </a:lnTo>
                    <a:lnTo>
                      <a:pt x="110" y="31"/>
                    </a:lnTo>
                    <a:lnTo>
                      <a:pt x="116" y="31"/>
                    </a:lnTo>
                    <a:lnTo>
                      <a:pt x="121" y="31"/>
                    </a:lnTo>
                    <a:lnTo>
                      <a:pt x="126" y="36"/>
                    </a:lnTo>
                    <a:lnTo>
                      <a:pt x="126" y="41"/>
                    </a:lnTo>
                    <a:lnTo>
                      <a:pt x="131" y="41"/>
                    </a:lnTo>
                    <a:lnTo>
                      <a:pt x="136" y="41"/>
                    </a:lnTo>
                    <a:lnTo>
                      <a:pt x="136" y="51"/>
                    </a:lnTo>
                    <a:lnTo>
                      <a:pt x="136" y="56"/>
                    </a:lnTo>
                    <a:lnTo>
                      <a:pt x="131" y="61"/>
                    </a:lnTo>
                    <a:lnTo>
                      <a:pt x="136" y="61"/>
                    </a:lnTo>
                    <a:lnTo>
                      <a:pt x="141" y="66"/>
                    </a:lnTo>
                    <a:lnTo>
                      <a:pt x="141" y="71"/>
                    </a:lnTo>
                    <a:lnTo>
                      <a:pt x="146" y="76"/>
                    </a:lnTo>
                    <a:lnTo>
                      <a:pt x="146" y="81"/>
                    </a:lnTo>
                    <a:lnTo>
                      <a:pt x="151" y="81"/>
                    </a:lnTo>
                    <a:lnTo>
                      <a:pt x="156" y="86"/>
                    </a:lnTo>
                    <a:lnTo>
                      <a:pt x="156" y="81"/>
                    </a:lnTo>
                    <a:lnTo>
                      <a:pt x="161" y="86"/>
                    </a:lnTo>
                    <a:lnTo>
                      <a:pt x="166" y="86"/>
                    </a:lnTo>
                    <a:lnTo>
                      <a:pt x="171" y="91"/>
                    </a:lnTo>
                    <a:lnTo>
                      <a:pt x="176" y="91"/>
                    </a:lnTo>
                    <a:lnTo>
                      <a:pt x="176" y="96"/>
                    </a:lnTo>
                    <a:lnTo>
                      <a:pt x="176" y="101"/>
                    </a:lnTo>
                    <a:lnTo>
                      <a:pt x="181" y="106"/>
                    </a:lnTo>
                    <a:lnTo>
                      <a:pt x="186" y="101"/>
                    </a:lnTo>
                    <a:lnTo>
                      <a:pt x="191" y="101"/>
                    </a:lnTo>
                    <a:lnTo>
                      <a:pt x="201" y="101"/>
                    </a:lnTo>
                    <a:lnTo>
                      <a:pt x="206" y="101"/>
                    </a:lnTo>
                    <a:lnTo>
                      <a:pt x="211" y="106"/>
                    </a:lnTo>
                    <a:lnTo>
                      <a:pt x="211" y="111"/>
                    </a:lnTo>
                    <a:lnTo>
                      <a:pt x="216" y="116"/>
                    </a:lnTo>
                    <a:lnTo>
                      <a:pt x="221" y="121"/>
                    </a:lnTo>
                    <a:lnTo>
                      <a:pt x="221" y="126"/>
                    </a:lnTo>
                    <a:lnTo>
                      <a:pt x="221" y="131"/>
                    </a:lnTo>
                    <a:lnTo>
                      <a:pt x="216" y="131"/>
                    </a:lnTo>
                    <a:lnTo>
                      <a:pt x="206" y="136"/>
                    </a:lnTo>
                    <a:lnTo>
                      <a:pt x="201" y="136"/>
                    </a:lnTo>
                    <a:lnTo>
                      <a:pt x="196" y="141"/>
                    </a:lnTo>
                    <a:lnTo>
                      <a:pt x="191" y="146"/>
                    </a:lnTo>
                    <a:lnTo>
                      <a:pt x="186" y="146"/>
                    </a:lnTo>
                    <a:lnTo>
                      <a:pt x="176" y="157"/>
                    </a:lnTo>
                    <a:lnTo>
                      <a:pt x="171" y="162"/>
                    </a:lnTo>
                    <a:lnTo>
                      <a:pt x="181" y="167"/>
                    </a:lnTo>
                    <a:lnTo>
                      <a:pt x="186" y="167"/>
                    </a:lnTo>
                    <a:lnTo>
                      <a:pt x="191" y="172"/>
                    </a:lnTo>
                    <a:lnTo>
                      <a:pt x="196" y="172"/>
                    </a:lnTo>
                    <a:lnTo>
                      <a:pt x="196" y="177"/>
                    </a:lnTo>
                    <a:lnTo>
                      <a:pt x="201" y="177"/>
                    </a:lnTo>
                    <a:lnTo>
                      <a:pt x="206" y="177"/>
                    </a:lnTo>
                    <a:lnTo>
                      <a:pt x="211" y="187"/>
                    </a:lnTo>
                    <a:lnTo>
                      <a:pt x="216" y="192"/>
                    </a:lnTo>
                    <a:lnTo>
                      <a:pt x="221" y="197"/>
                    </a:lnTo>
                    <a:lnTo>
                      <a:pt x="216" y="197"/>
                    </a:lnTo>
                    <a:lnTo>
                      <a:pt x="216" y="202"/>
                    </a:lnTo>
                    <a:lnTo>
                      <a:pt x="216" y="207"/>
                    </a:lnTo>
                    <a:lnTo>
                      <a:pt x="216" y="212"/>
                    </a:lnTo>
                    <a:lnTo>
                      <a:pt x="216" y="217"/>
                    </a:lnTo>
                    <a:lnTo>
                      <a:pt x="216" y="222"/>
                    </a:lnTo>
                    <a:lnTo>
                      <a:pt x="221" y="227"/>
                    </a:lnTo>
                    <a:lnTo>
                      <a:pt x="226" y="227"/>
                    </a:lnTo>
                    <a:lnTo>
                      <a:pt x="231" y="227"/>
                    </a:lnTo>
                    <a:lnTo>
                      <a:pt x="231" y="222"/>
                    </a:lnTo>
                    <a:lnTo>
                      <a:pt x="236" y="227"/>
                    </a:lnTo>
                    <a:lnTo>
                      <a:pt x="236" y="242"/>
                    </a:lnTo>
                    <a:lnTo>
                      <a:pt x="236" y="247"/>
                    </a:lnTo>
                    <a:lnTo>
                      <a:pt x="236" y="252"/>
                    </a:lnTo>
                    <a:lnTo>
                      <a:pt x="236" y="257"/>
                    </a:lnTo>
                    <a:lnTo>
                      <a:pt x="242" y="257"/>
                    </a:lnTo>
                    <a:lnTo>
                      <a:pt x="247" y="257"/>
                    </a:lnTo>
                    <a:lnTo>
                      <a:pt x="252" y="247"/>
                    </a:lnTo>
                    <a:lnTo>
                      <a:pt x="257" y="247"/>
                    </a:lnTo>
                    <a:lnTo>
                      <a:pt x="262" y="252"/>
                    </a:lnTo>
                    <a:lnTo>
                      <a:pt x="267" y="252"/>
                    </a:lnTo>
                    <a:lnTo>
                      <a:pt x="272" y="252"/>
                    </a:lnTo>
                    <a:lnTo>
                      <a:pt x="277" y="247"/>
                    </a:lnTo>
                    <a:lnTo>
                      <a:pt x="282" y="247"/>
                    </a:lnTo>
                    <a:lnTo>
                      <a:pt x="287" y="247"/>
                    </a:lnTo>
                    <a:lnTo>
                      <a:pt x="292" y="242"/>
                    </a:lnTo>
                    <a:lnTo>
                      <a:pt x="297" y="242"/>
                    </a:lnTo>
                    <a:lnTo>
                      <a:pt x="297" y="237"/>
                    </a:lnTo>
                    <a:lnTo>
                      <a:pt x="302" y="237"/>
                    </a:lnTo>
                    <a:lnTo>
                      <a:pt x="302" y="242"/>
                    </a:lnTo>
                    <a:lnTo>
                      <a:pt x="302" y="247"/>
                    </a:lnTo>
                    <a:lnTo>
                      <a:pt x="307" y="252"/>
                    </a:lnTo>
                    <a:lnTo>
                      <a:pt x="312" y="252"/>
                    </a:lnTo>
                    <a:lnTo>
                      <a:pt x="317" y="252"/>
                    </a:lnTo>
                    <a:lnTo>
                      <a:pt x="322" y="252"/>
                    </a:lnTo>
                    <a:lnTo>
                      <a:pt x="322" y="247"/>
                    </a:lnTo>
                    <a:lnTo>
                      <a:pt x="332" y="247"/>
                    </a:lnTo>
                    <a:lnTo>
                      <a:pt x="332" y="237"/>
                    </a:lnTo>
                    <a:lnTo>
                      <a:pt x="342" y="237"/>
                    </a:lnTo>
                    <a:lnTo>
                      <a:pt x="342" y="232"/>
                    </a:lnTo>
                    <a:lnTo>
                      <a:pt x="342" y="227"/>
                    </a:lnTo>
                    <a:lnTo>
                      <a:pt x="347" y="222"/>
                    </a:lnTo>
                    <a:lnTo>
                      <a:pt x="352" y="222"/>
                    </a:lnTo>
                    <a:lnTo>
                      <a:pt x="357" y="222"/>
                    </a:lnTo>
                    <a:lnTo>
                      <a:pt x="362" y="222"/>
                    </a:lnTo>
                    <a:lnTo>
                      <a:pt x="368" y="222"/>
                    </a:lnTo>
                    <a:lnTo>
                      <a:pt x="368" y="217"/>
                    </a:lnTo>
                    <a:lnTo>
                      <a:pt x="378" y="217"/>
                    </a:lnTo>
                    <a:lnTo>
                      <a:pt x="378" y="222"/>
                    </a:lnTo>
                    <a:lnTo>
                      <a:pt x="378" y="227"/>
                    </a:lnTo>
                    <a:lnTo>
                      <a:pt x="383" y="237"/>
                    </a:lnTo>
                    <a:lnTo>
                      <a:pt x="388" y="237"/>
                    </a:lnTo>
                    <a:lnTo>
                      <a:pt x="393" y="242"/>
                    </a:lnTo>
                    <a:lnTo>
                      <a:pt x="393" y="247"/>
                    </a:lnTo>
                    <a:lnTo>
                      <a:pt x="398" y="247"/>
                    </a:lnTo>
                    <a:lnTo>
                      <a:pt x="393" y="252"/>
                    </a:lnTo>
                    <a:lnTo>
                      <a:pt x="398" y="252"/>
                    </a:lnTo>
                    <a:lnTo>
                      <a:pt x="408" y="257"/>
                    </a:lnTo>
                    <a:lnTo>
                      <a:pt x="413" y="252"/>
                    </a:lnTo>
                    <a:lnTo>
                      <a:pt x="418" y="252"/>
                    </a:lnTo>
                    <a:lnTo>
                      <a:pt x="418" y="247"/>
                    </a:lnTo>
                    <a:lnTo>
                      <a:pt x="423" y="242"/>
                    </a:lnTo>
                    <a:lnTo>
                      <a:pt x="428" y="247"/>
                    </a:lnTo>
                    <a:lnTo>
                      <a:pt x="428" y="242"/>
                    </a:lnTo>
                    <a:lnTo>
                      <a:pt x="438" y="242"/>
                    </a:lnTo>
                    <a:lnTo>
                      <a:pt x="443" y="247"/>
                    </a:lnTo>
                    <a:lnTo>
                      <a:pt x="438" y="252"/>
                    </a:lnTo>
                    <a:lnTo>
                      <a:pt x="433" y="257"/>
                    </a:lnTo>
                    <a:lnTo>
                      <a:pt x="428" y="257"/>
                    </a:lnTo>
                    <a:lnTo>
                      <a:pt x="428" y="262"/>
                    </a:lnTo>
                    <a:lnTo>
                      <a:pt x="433" y="262"/>
                    </a:lnTo>
                    <a:lnTo>
                      <a:pt x="433" y="267"/>
                    </a:lnTo>
                    <a:lnTo>
                      <a:pt x="438" y="272"/>
                    </a:lnTo>
                    <a:lnTo>
                      <a:pt x="443" y="277"/>
                    </a:lnTo>
                    <a:lnTo>
                      <a:pt x="448" y="277"/>
                    </a:lnTo>
                    <a:lnTo>
                      <a:pt x="448" y="288"/>
                    </a:lnTo>
                    <a:lnTo>
                      <a:pt x="453" y="293"/>
                    </a:lnTo>
                    <a:lnTo>
                      <a:pt x="458" y="298"/>
                    </a:lnTo>
                    <a:lnTo>
                      <a:pt x="458" y="303"/>
                    </a:lnTo>
                    <a:lnTo>
                      <a:pt x="463" y="308"/>
                    </a:lnTo>
                    <a:lnTo>
                      <a:pt x="468" y="308"/>
                    </a:lnTo>
                    <a:lnTo>
                      <a:pt x="473" y="308"/>
                    </a:lnTo>
                    <a:lnTo>
                      <a:pt x="478" y="313"/>
                    </a:lnTo>
                    <a:lnTo>
                      <a:pt x="478" y="328"/>
                    </a:lnTo>
                    <a:lnTo>
                      <a:pt x="483" y="333"/>
                    </a:lnTo>
                    <a:lnTo>
                      <a:pt x="488" y="333"/>
                    </a:lnTo>
                    <a:lnTo>
                      <a:pt x="483" y="338"/>
                    </a:lnTo>
                    <a:lnTo>
                      <a:pt x="478" y="338"/>
                    </a:lnTo>
                    <a:lnTo>
                      <a:pt x="473" y="343"/>
                    </a:lnTo>
                    <a:lnTo>
                      <a:pt x="473" y="348"/>
                    </a:lnTo>
                    <a:lnTo>
                      <a:pt x="483" y="353"/>
                    </a:lnTo>
                    <a:lnTo>
                      <a:pt x="483" y="358"/>
                    </a:lnTo>
                    <a:lnTo>
                      <a:pt x="478" y="358"/>
                    </a:lnTo>
                    <a:lnTo>
                      <a:pt x="478" y="363"/>
                    </a:lnTo>
                    <a:lnTo>
                      <a:pt x="483" y="363"/>
                    </a:lnTo>
                    <a:lnTo>
                      <a:pt x="488" y="363"/>
                    </a:lnTo>
                    <a:lnTo>
                      <a:pt x="488" y="368"/>
                    </a:lnTo>
                    <a:lnTo>
                      <a:pt x="494" y="378"/>
                    </a:lnTo>
                    <a:lnTo>
                      <a:pt x="499" y="383"/>
                    </a:lnTo>
                    <a:lnTo>
                      <a:pt x="504" y="383"/>
                    </a:lnTo>
                    <a:lnTo>
                      <a:pt x="509" y="383"/>
                    </a:lnTo>
                    <a:lnTo>
                      <a:pt x="514" y="383"/>
                    </a:lnTo>
                    <a:lnTo>
                      <a:pt x="519" y="383"/>
                    </a:lnTo>
                    <a:lnTo>
                      <a:pt x="524" y="388"/>
                    </a:lnTo>
                    <a:lnTo>
                      <a:pt x="524" y="393"/>
                    </a:lnTo>
                    <a:lnTo>
                      <a:pt x="524" y="398"/>
                    </a:lnTo>
                    <a:lnTo>
                      <a:pt x="534" y="403"/>
                    </a:lnTo>
                    <a:lnTo>
                      <a:pt x="539" y="403"/>
                    </a:lnTo>
                    <a:lnTo>
                      <a:pt x="544" y="403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596">
                <a:extLst>
                  <a:ext uri="{FF2B5EF4-FFF2-40B4-BE49-F238E27FC236}">
                    <a16:creationId xmlns:a16="http://schemas.microsoft.com/office/drawing/2014/main" id="{3675DAC3-5C54-C983-4CC9-8AE659AF8323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1139969" y="2672285"/>
                <a:ext cx="566264" cy="690219"/>
              </a:xfrm>
              <a:custGeom>
                <a:avLst/>
                <a:gdLst>
                  <a:gd name="T0" fmla="*/ 2147483647 w 363"/>
                  <a:gd name="T1" fmla="*/ 2147483647 h 464"/>
                  <a:gd name="T2" fmla="*/ 2147483647 w 363"/>
                  <a:gd name="T3" fmla="*/ 2147483647 h 464"/>
                  <a:gd name="T4" fmla="*/ 2147483647 w 363"/>
                  <a:gd name="T5" fmla="*/ 2147483647 h 464"/>
                  <a:gd name="T6" fmla="*/ 2147483647 w 363"/>
                  <a:gd name="T7" fmla="*/ 2147483647 h 464"/>
                  <a:gd name="T8" fmla="*/ 2147483647 w 363"/>
                  <a:gd name="T9" fmla="*/ 2147483647 h 464"/>
                  <a:gd name="T10" fmla="*/ 2147483647 w 363"/>
                  <a:gd name="T11" fmla="*/ 2147483647 h 464"/>
                  <a:gd name="T12" fmla="*/ 2147483647 w 363"/>
                  <a:gd name="T13" fmla="*/ 2147483647 h 464"/>
                  <a:gd name="T14" fmla="*/ 2147483647 w 363"/>
                  <a:gd name="T15" fmla="*/ 2147483647 h 464"/>
                  <a:gd name="T16" fmla="*/ 2147483647 w 363"/>
                  <a:gd name="T17" fmla="*/ 2147483647 h 464"/>
                  <a:gd name="T18" fmla="*/ 2147483647 w 363"/>
                  <a:gd name="T19" fmla="*/ 2147483647 h 464"/>
                  <a:gd name="T20" fmla="*/ 2147483647 w 363"/>
                  <a:gd name="T21" fmla="*/ 2147483647 h 464"/>
                  <a:gd name="T22" fmla="*/ 2147483647 w 363"/>
                  <a:gd name="T23" fmla="*/ 2147483647 h 464"/>
                  <a:gd name="T24" fmla="*/ 2147483647 w 363"/>
                  <a:gd name="T25" fmla="*/ 2147483647 h 464"/>
                  <a:gd name="T26" fmla="*/ 2147483647 w 363"/>
                  <a:gd name="T27" fmla="*/ 2147483647 h 464"/>
                  <a:gd name="T28" fmla="*/ 2147483647 w 363"/>
                  <a:gd name="T29" fmla="*/ 2147483647 h 464"/>
                  <a:gd name="T30" fmla="*/ 2147483647 w 363"/>
                  <a:gd name="T31" fmla="*/ 2147483647 h 464"/>
                  <a:gd name="T32" fmla="*/ 2147483647 w 363"/>
                  <a:gd name="T33" fmla="*/ 2147483647 h 464"/>
                  <a:gd name="T34" fmla="*/ 2147483647 w 363"/>
                  <a:gd name="T35" fmla="*/ 2147483647 h 464"/>
                  <a:gd name="T36" fmla="*/ 2147483647 w 363"/>
                  <a:gd name="T37" fmla="*/ 2147483647 h 464"/>
                  <a:gd name="T38" fmla="*/ 2147483647 w 363"/>
                  <a:gd name="T39" fmla="*/ 2147483647 h 464"/>
                  <a:gd name="T40" fmla="*/ 2147483647 w 363"/>
                  <a:gd name="T41" fmla="*/ 2147483647 h 464"/>
                  <a:gd name="T42" fmla="*/ 2147483647 w 363"/>
                  <a:gd name="T43" fmla="*/ 2147483647 h 464"/>
                  <a:gd name="T44" fmla="*/ 2147483647 w 363"/>
                  <a:gd name="T45" fmla="*/ 2147483647 h 464"/>
                  <a:gd name="T46" fmla="*/ 2147483647 w 363"/>
                  <a:gd name="T47" fmla="*/ 2147483647 h 464"/>
                  <a:gd name="T48" fmla="*/ 2147483647 w 363"/>
                  <a:gd name="T49" fmla="*/ 2147483647 h 464"/>
                  <a:gd name="T50" fmla="*/ 2147483647 w 363"/>
                  <a:gd name="T51" fmla="*/ 2147483647 h 464"/>
                  <a:gd name="T52" fmla="*/ 2147483647 w 363"/>
                  <a:gd name="T53" fmla="*/ 2147483647 h 464"/>
                  <a:gd name="T54" fmla="*/ 2147483647 w 363"/>
                  <a:gd name="T55" fmla="*/ 2147483647 h 464"/>
                  <a:gd name="T56" fmla="*/ 2147483647 w 363"/>
                  <a:gd name="T57" fmla="*/ 2147483647 h 464"/>
                  <a:gd name="T58" fmla="*/ 2147483647 w 363"/>
                  <a:gd name="T59" fmla="*/ 2147483647 h 464"/>
                  <a:gd name="T60" fmla="*/ 2147483647 w 363"/>
                  <a:gd name="T61" fmla="*/ 2147483647 h 464"/>
                  <a:gd name="T62" fmla="*/ 2147483647 w 363"/>
                  <a:gd name="T63" fmla="*/ 2147483647 h 464"/>
                  <a:gd name="T64" fmla="*/ 2147483647 w 363"/>
                  <a:gd name="T65" fmla="*/ 2147483647 h 464"/>
                  <a:gd name="T66" fmla="*/ 2147483647 w 363"/>
                  <a:gd name="T67" fmla="*/ 2147483647 h 464"/>
                  <a:gd name="T68" fmla="*/ 2147483647 w 363"/>
                  <a:gd name="T69" fmla="*/ 2147483647 h 464"/>
                  <a:gd name="T70" fmla="*/ 2147483647 w 363"/>
                  <a:gd name="T71" fmla="*/ 2147483647 h 464"/>
                  <a:gd name="T72" fmla="*/ 2147483647 w 363"/>
                  <a:gd name="T73" fmla="*/ 2147483647 h 464"/>
                  <a:gd name="T74" fmla="*/ 2147483647 w 363"/>
                  <a:gd name="T75" fmla="*/ 2147483647 h 464"/>
                  <a:gd name="T76" fmla="*/ 2147483647 w 363"/>
                  <a:gd name="T77" fmla="*/ 2147483647 h 464"/>
                  <a:gd name="T78" fmla="*/ 2147483647 w 363"/>
                  <a:gd name="T79" fmla="*/ 2147483647 h 464"/>
                  <a:gd name="T80" fmla="*/ 2147483647 w 363"/>
                  <a:gd name="T81" fmla="*/ 2147483647 h 464"/>
                  <a:gd name="T82" fmla="*/ 2147483647 w 363"/>
                  <a:gd name="T83" fmla="*/ 2147483647 h 464"/>
                  <a:gd name="T84" fmla="*/ 2147483647 w 363"/>
                  <a:gd name="T85" fmla="*/ 2147483647 h 464"/>
                  <a:gd name="T86" fmla="*/ 2147483647 w 363"/>
                  <a:gd name="T87" fmla="*/ 2147483647 h 464"/>
                  <a:gd name="T88" fmla="*/ 2147483647 w 363"/>
                  <a:gd name="T89" fmla="*/ 2147483647 h 464"/>
                  <a:gd name="T90" fmla="*/ 2147483647 w 363"/>
                  <a:gd name="T91" fmla="*/ 2147483647 h 464"/>
                  <a:gd name="T92" fmla="*/ 2147483647 w 363"/>
                  <a:gd name="T93" fmla="*/ 2147483647 h 464"/>
                  <a:gd name="T94" fmla="*/ 2147483647 w 363"/>
                  <a:gd name="T95" fmla="*/ 2147483647 h 464"/>
                  <a:gd name="T96" fmla="*/ 2147483647 w 363"/>
                  <a:gd name="T97" fmla="*/ 2147483647 h 464"/>
                  <a:gd name="T98" fmla="*/ 2147483647 w 363"/>
                  <a:gd name="T99" fmla="*/ 2147483647 h 464"/>
                  <a:gd name="T100" fmla="*/ 2147483647 w 363"/>
                  <a:gd name="T101" fmla="*/ 2147483647 h 464"/>
                  <a:gd name="T102" fmla="*/ 2147483647 w 363"/>
                  <a:gd name="T103" fmla="*/ 2147483647 h 464"/>
                  <a:gd name="T104" fmla="*/ 2147483647 w 363"/>
                  <a:gd name="T105" fmla="*/ 2147483647 h 464"/>
                  <a:gd name="T106" fmla="*/ 2147483647 w 363"/>
                  <a:gd name="T107" fmla="*/ 2147483647 h 464"/>
                  <a:gd name="T108" fmla="*/ 2147483647 w 363"/>
                  <a:gd name="T109" fmla="*/ 2147483647 h 464"/>
                  <a:gd name="T110" fmla="*/ 2147483647 w 363"/>
                  <a:gd name="T111" fmla="*/ 2147483647 h 464"/>
                  <a:gd name="T112" fmla="*/ 2147483647 w 363"/>
                  <a:gd name="T113" fmla="*/ 2147483647 h 464"/>
                  <a:gd name="T114" fmla="*/ 2147483647 w 363"/>
                  <a:gd name="T115" fmla="*/ 2147483647 h 46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63"/>
                  <a:gd name="T175" fmla="*/ 0 h 464"/>
                  <a:gd name="T176" fmla="*/ 363 w 363"/>
                  <a:gd name="T177" fmla="*/ 464 h 46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63" h="464">
                    <a:moveTo>
                      <a:pt x="363" y="444"/>
                    </a:moveTo>
                    <a:lnTo>
                      <a:pt x="348" y="449"/>
                    </a:lnTo>
                    <a:lnTo>
                      <a:pt x="348" y="454"/>
                    </a:lnTo>
                    <a:lnTo>
                      <a:pt x="343" y="459"/>
                    </a:lnTo>
                    <a:lnTo>
                      <a:pt x="338" y="459"/>
                    </a:lnTo>
                    <a:lnTo>
                      <a:pt x="333" y="459"/>
                    </a:lnTo>
                    <a:lnTo>
                      <a:pt x="333" y="454"/>
                    </a:lnTo>
                    <a:lnTo>
                      <a:pt x="327" y="454"/>
                    </a:lnTo>
                    <a:lnTo>
                      <a:pt x="322" y="459"/>
                    </a:lnTo>
                    <a:lnTo>
                      <a:pt x="317" y="464"/>
                    </a:lnTo>
                    <a:lnTo>
                      <a:pt x="312" y="459"/>
                    </a:lnTo>
                    <a:lnTo>
                      <a:pt x="307" y="459"/>
                    </a:lnTo>
                    <a:lnTo>
                      <a:pt x="307" y="454"/>
                    </a:lnTo>
                    <a:lnTo>
                      <a:pt x="302" y="444"/>
                    </a:lnTo>
                    <a:lnTo>
                      <a:pt x="302" y="439"/>
                    </a:lnTo>
                    <a:lnTo>
                      <a:pt x="297" y="444"/>
                    </a:lnTo>
                    <a:lnTo>
                      <a:pt x="297" y="449"/>
                    </a:lnTo>
                    <a:lnTo>
                      <a:pt x="302" y="454"/>
                    </a:lnTo>
                    <a:lnTo>
                      <a:pt x="302" y="459"/>
                    </a:lnTo>
                    <a:lnTo>
                      <a:pt x="297" y="459"/>
                    </a:lnTo>
                    <a:lnTo>
                      <a:pt x="292" y="459"/>
                    </a:lnTo>
                    <a:lnTo>
                      <a:pt x="287" y="454"/>
                    </a:lnTo>
                    <a:lnTo>
                      <a:pt x="287" y="449"/>
                    </a:lnTo>
                    <a:lnTo>
                      <a:pt x="287" y="444"/>
                    </a:lnTo>
                    <a:lnTo>
                      <a:pt x="287" y="434"/>
                    </a:lnTo>
                    <a:lnTo>
                      <a:pt x="282" y="434"/>
                    </a:lnTo>
                    <a:lnTo>
                      <a:pt x="282" y="439"/>
                    </a:lnTo>
                    <a:lnTo>
                      <a:pt x="282" y="444"/>
                    </a:lnTo>
                    <a:lnTo>
                      <a:pt x="277" y="444"/>
                    </a:lnTo>
                    <a:lnTo>
                      <a:pt x="272" y="444"/>
                    </a:lnTo>
                    <a:lnTo>
                      <a:pt x="272" y="449"/>
                    </a:lnTo>
                    <a:lnTo>
                      <a:pt x="267" y="454"/>
                    </a:lnTo>
                    <a:lnTo>
                      <a:pt x="262" y="454"/>
                    </a:lnTo>
                    <a:lnTo>
                      <a:pt x="257" y="454"/>
                    </a:lnTo>
                    <a:lnTo>
                      <a:pt x="252" y="454"/>
                    </a:lnTo>
                    <a:lnTo>
                      <a:pt x="252" y="449"/>
                    </a:lnTo>
                    <a:lnTo>
                      <a:pt x="252" y="444"/>
                    </a:lnTo>
                    <a:lnTo>
                      <a:pt x="242" y="439"/>
                    </a:lnTo>
                    <a:lnTo>
                      <a:pt x="237" y="439"/>
                    </a:lnTo>
                    <a:lnTo>
                      <a:pt x="232" y="444"/>
                    </a:lnTo>
                    <a:lnTo>
                      <a:pt x="232" y="449"/>
                    </a:lnTo>
                    <a:lnTo>
                      <a:pt x="227" y="444"/>
                    </a:lnTo>
                    <a:lnTo>
                      <a:pt x="222" y="444"/>
                    </a:lnTo>
                    <a:lnTo>
                      <a:pt x="217" y="444"/>
                    </a:lnTo>
                    <a:lnTo>
                      <a:pt x="212" y="444"/>
                    </a:lnTo>
                    <a:lnTo>
                      <a:pt x="212" y="439"/>
                    </a:lnTo>
                    <a:lnTo>
                      <a:pt x="212" y="434"/>
                    </a:lnTo>
                    <a:lnTo>
                      <a:pt x="207" y="434"/>
                    </a:lnTo>
                    <a:lnTo>
                      <a:pt x="207" y="429"/>
                    </a:lnTo>
                    <a:lnTo>
                      <a:pt x="207" y="424"/>
                    </a:lnTo>
                    <a:lnTo>
                      <a:pt x="201" y="418"/>
                    </a:lnTo>
                    <a:lnTo>
                      <a:pt x="196" y="418"/>
                    </a:lnTo>
                    <a:lnTo>
                      <a:pt x="191" y="413"/>
                    </a:lnTo>
                    <a:lnTo>
                      <a:pt x="186" y="413"/>
                    </a:lnTo>
                    <a:lnTo>
                      <a:pt x="181" y="413"/>
                    </a:lnTo>
                    <a:lnTo>
                      <a:pt x="176" y="408"/>
                    </a:lnTo>
                    <a:lnTo>
                      <a:pt x="171" y="408"/>
                    </a:lnTo>
                    <a:lnTo>
                      <a:pt x="171" y="403"/>
                    </a:lnTo>
                    <a:lnTo>
                      <a:pt x="171" y="398"/>
                    </a:lnTo>
                    <a:lnTo>
                      <a:pt x="166" y="398"/>
                    </a:lnTo>
                    <a:lnTo>
                      <a:pt x="166" y="403"/>
                    </a:lnTo>
                    <a:lnTo>
                      <a:pt x="161" y="408"/>
                    </a:lnTo>
                    <a:lnTo>
                      <a:pt x="151" y="403"/>
                    </a:lnTo>
                    <a:lnTo>
                      <a:pt x="151" y="408"/>
                    </a:lnTo>
                    <a:lnTo>
                      <a:pt x="146" y="408"/>
                    </a:lnTo>
                    <a:lnTo>
                      <a:pt x="141" y="408"/>
                    </a:lnTo>
                    <a:lnTo>
                      <a:pt x="136" y="403"/>
                    </a:lnTo>
                    <a:lnTo>
                      <a:pt x="131" y="403"/>
                    </a:lnTo>
                    <a:lnTo>
                      <a:pt x="131" y="408"/>
                    </a:lnTo>
                    <a:lnTo>
                      <a:pt x="131" y="413"/>
                    </a:lnTo>
                    <a:lnTo>
                      <a:pt x="126" y="413"/>
                    </a:lnTo>
                    <a:lnTo>
                      <a:pt x="126" y="408"/>
                    </a:lnTo>
                    <a:lnTo>
                      <a:pt x="131" y="403"/>
                    </a:lnTo>
                    <a:lnTo>
                      <a:pt x="126" y="398"/>
                    </a:lnTo>
                    <a:lnTo>
                      <a:pt x="131" y="393"/>
                    </a:lnTo>
                    <a:lnTo>
                      <a:pt x="126" y="388"/>
                    </a:lnTo>
                    <a:lnTo>
                      <a:pt x="121" y="393"/>
                    </a:lnTo>
                    <a:lnTo>
                      <a:pt x="121" y="398"/>
                    </a:lnTo>
                    <a:lnTo>
                      <a:pt x="116" y="398"/>
                    </a:lnTo>
                    <a:lnTo>
                      <a:pt x="121" y="403"/>
                    </a:lnTo>
                    <a:lnTo>
                      <a:pt x="121" y="408"/>
                    </a:lnTo>
                    <a:lnTo>
                      <a:pt x="116" y="408"/>
                    </a:lnTo>
                    <a:lnTo>
                      <a:pt x="111" y="408"/>
                    </a:lnTo>
                    <a:lnTo>
                      <a:pt x="111" y="403"/>
                    </a:lnTo>
                    <a:lnTo>
                      <a:pt x="111" y="398"/>
                    </a:lnTo>
                    <a:lnTo>
                      <a:pt x="111" y="393"/>
                    </a:lnTo>
                    <a:lnTo>
                      <a:pt x="111" y="388"/>
                    </a:lnTo>
                    <a:lnTo>
                      <a:pt x="106" y="388"/>
                    </a:lnTo>
                    <a:lnTo>
                      <a:pt x="106" y="383"/>
                    </a:lnTo>
                    <a:lnTo>
                      <a:pt x="101" y="383"/>
                    </a:lnTo>
                    <a:lnTo>
                      <a:pt x="96" y="383"/>
                    </a:lnTo>
                    <a:lnTo>
                      <a:pt x="91" y="378"/>
                    </a:lnTo>
                    <a:lnTo>
                      <a:pt x="86" y="373"/>
                    </a:lnTo>
                    <a:lnTo>
                      <a:pt x="75" y="383"/>
                    </a:lnTo>
                    <a:lnTo>
                      <a:pt x="70" y="373"/>
                    </a:lnTo>
                    <a:lnTo>
                      <a:pt x="65" y="373"/>
                    </a:lnTo>
                    <a:lnTo>
                      <a:pt x="60" y="368"/>
                    </a:lnTo>
                    <a:lnTo>
                      <a:pt x="60" y="363"/>
                    </a:lnTo>
                    <a:lnTo>
                      <a:pt x="70" y="358"/>
                    </a:lnTo>
                    <a:lnTo>
                      <a:pt x="70" y="363"/>
                    </a:lnTo>
                    <a:lnTo>
                      <a:pt x="75" y="358"/>
                    </a:lnTo>
                    <a:lnTo>
                      <a:pt x="70" y="358"/>
                    </a:lnTo>
                    <a:lnTo>
                      <a:pt x="70" y="353"/>
                    </a:lnTo>
                    <a:lnTo>
                      <a:pt x="70" y="348"/>
                    </a:lnTo>
                    <a:lnTo>
                      <a:pt x="65" y="348"/>
                    </a:lnTo>
                    <a:lnTo>
                      <a:pt x="60" y="348"/>
                    </a:lnTo>
                    <a:lnTo>
                      <a:pt x="45" y="343"/>
                    </a:lnTo>
                    <a:lnTo>
                      <a:pt x="45" y="338"/>
                    </a:lnTo>
                    <a:lnTo>
                      <a:pt x="50" y="338"/>
                    </a:lnTo>
                    <a:lnTo>
                      <a:pt x="50" y="333"/>
                    </a:lnTo>
                    <a:lnTo>
                      <a:pt x="50" y="328"/>
                    </a:lnTo>
                    <a:lnTo>
                      <a:pt x="55" y="323"/>
                    </a:lnTo>
                    <a:lnTo>
                      <a:pt x="55" y="318"/>
                    </a:lnTo>
                    <a:lnTo>
                      <a:pt x="50" y="323"/>
                    </a:lnTo>
                    <a:lnTo>
                      <a:pt x="45" y="318"/>
                    </a:lnTo>
                    <a:lnTo>
                      <a:pt x="40" y="318"/>
                    </a:lnTo>
                    <a:lnTo>
                      <a:pt x="40" y="313"/>
                    </a:lnTo>
                    <a:lnTo>
                      <a:pt x="35" y="313"/>
                    </a:lnTo>
                    <a:lnTo>
                      <a:pt x="35" y="308"/>
                    </a:lnTo>
                    <a:lnTo>
                      <a:pt x="35" y="298"/>
                    </a:lnTo>
                    <a:lnTo>
                      <a:pt x="40" y="293"/>
                    </a:lnTo>
                    <a:lnTo>
                      <a:pt x="35" y="293"/>
                    </a:lnTo>
                    <a:lnTo>
                      <a:pt x="30" y="287"/>
                    </a:lnTo>
                    <a:lnTo>
                      <a:pt x="25" y="282"/>
                    </a:lnTo>
                    <a:lnTo>
                      <a:pt x="20" y="287"/>
                    </a:lnTo>
                    <a:lnTo>
                      <a:pt x="15" y="272"/>
                    </a:lnTo>
                    <a:lnTo>
                      <a:pt x="5" y="262"/>
                    </a:lnTo>
                    <a:lnTo>
                      <a:pt x="5" y="252"/>
                    </a:lnTo>
                    <a:lnTo>
                      <a:pt x="5" y="247"/>
                    </a:lnTo>
                    <a:lnTo>
                      <a:pt x="0" y="242"/>
                    </a:lnTo>
                    <a:lnTo>
                      <a:pt x="15" y="237"/>
                    </a:lnTo>
                    <a:lnTo>
                      <a:pt x="20" y="232"/>
                    </a:lnTo>
                    <a:lnTo>
                      <a:pt x="25" y="232"/>
                    </a:lnTo>
                    <a:lnTo>
                      <a:pt x="20" y="227"/>
                    </a:lnTo>
                    <a:lnTo>
                      <a:pt x="25" y="227"/>
                    </a:lnTo>
                    <a:lnTo>
                      <a:pt x="30" y="222"/>
                    </a:lnTo>
                    <a:lnTo>
                      <a:pt x="30" y="227"/>
                    </a:lnTo>
                    <a:lnTo>
                      <a:pt x="30" y="222"/>
                    </a:lnTo>
                    <a:lnTo>
                      <a:pt x="35" y="222"/>
                    </a:lnTo>
                    <a:lnTo>
                      <a:pt x="40" y="217"/>
                    </a:lnTo>
                    <a:lnTo>
                      <a:pt x="40" y="212"/>
                    </a:lnTo>
                    <a:lnTo>
                      <a:pt x="45" y="212"/>
                    </a:lnTo>
                    <a:lnTo>
                      <a:pt x="40" y="207"/>
                    </a:lnTo>
                    <a:lnTo>
                      <a:pt x="45" y="207"/>
                    </a:lnTo>
                    <a:lnTo>
                      <a:pt x="40" y="202"/>
                    </a:lnTo>
                    <a:lnTo>
                      <a:pt x="45" y="187"/>
                    </a:lnTo>
                    <a:lnTo>
                      <a:pt x="50" y="187"/>
                    </a:lnTo>
                    <a:lnTo>
                      <a:pt x="55" y="192"/>
                    </a:lnTo>
                    <a:lnTo>
                      <a:pt x="55" y="187"/>
                    </a:lnTo>
                    <a:lnTo>
                      <a:pt x="60" y="182"/>
                    </a:lnTo>
                    <a:lnTo>
                      <a:pt x="55" y="177"/>
                    </a:lnTo>
                    <a:lnTo>
                      <a:pt x="50" y="162"/>
                    </a:lnTo>
                    <a:lnTo>
                      <a:pt x="50" y="156"/>
                    </a:lnTo>
                    <a:lnTo>
                      <a:pt x="55" y="162"/>
                    </a:lnTo>
                    <a:lnTo>
                      <a:pt x="60" y="156"/>
                    </a:lnTo>
                    <a:lnTo>
                      <a:pt x="60" y="151"/>
                    </a:lnTo>
                    <a:lnTo>
                      <a:pt x="65" y="156"/>
                    </a:lnTo>
                    <a:lnTo>
                      <a:pt x="65" y="151"/>
                    </a:lnTo>
                    <a:lnTo>
                      <a:pt x="75" y="151"/>
                    </a:lnTo>
                    <a:lnTo>
                      <a:pt x="81" y="151"/>
                    </a:lnTo>
                    <a:lnTo>
                      <a:pt x="86" y="146"/>
                    </a:lnTo>
                    <a:lnTo>
                      <a:pt x="86" y="141"/>
                    </a:lnTo>
                    <a:lnTo>
                      <a:pt x="91" y="141"/>
                    </a:lnTo>
                    <a:lnTo>
                      <a:pt x="96" y="141"/>
                    </a:lnTo>
                    <a:lnTo>
                      <a:pt x="96" y="131"/>
                    </a:lnTo>
                    <a:lnTo>
                      <a:pt x="96" y="126"/>
                    </a:lnTo>
                    <a:lnTo>
                      <a:pt x="96" y="121"/>
                    </a:lnTo>
                    <a:lnTo>
                      <a:pt x="101" y="116"/>
                    </a:lnTo>
                    <a:lnTo>
                      <a:pt x="96" y="111"/>
                    </a:lnTo>
                    <a:lnTo>
                      <a:pt x="96" y="106"/>
                    </a:lnTo>
                    <a:lnTo>
                      <a:pt x="91" y="106"/>
                    </a:lnTo>
                    <a:lnTo>
                      <a:pt x="86" y="101"/>
                    </a:lnTo>
                    <a:lnTo>
                      <a:pt x="86" y="96"/>
                    </a:lnTo>
                    <a:lnTo>
                      <a:pt x="86" y="91"/>
                    </a:lnTo>
                    <a:lnTo>
                      <a:pt x="91" y="91"/>
                    </a:lnTo>
                    <a:lnTo>
                      <a:pt x="96" y="81"/>
                    </a:lnTo>
                    <a:lnTo>
                      <a:pt x="101" y="76"/>
                    </a:lnTo>
                    <a:lnTo>
                      <a:pt x="106" y="71"/>
                    </a:lnTo>
                    <a:lnTo>
                      <a:pt x="101" y="71"/>
                    </a:lnTo>
                    <a:lnTo>
                      <a:pt x="96" y="66"/>
                    </a:lnTo>
                    <a:lnTo>
                      <a:pt x="96" y="61"/>
                    </a:lnTo>
                    <a:lnTo>
                      <a:pt x="96" y="56"/>
                    </a:lnTo>
                    <a:lnTo>
                      <a:pt x="101" y="56"/>
                    </a:lnTo>
                    <a:lnTo>
                      <a:pt x="106" y="61"/>
                    </a:lnTo>
                    <a:lnTo>
                      <a:pt x="111" y="56"/>
                    </a:lnTo>
                    <a:lnTo>
                      <a:pt x="116" y="51"/>
                    </a:lnTo>
                    <a:lnTo>
                      <a:pt x="121" y="56"/>
                    </a:lnTo>
                    <a:lnTo>
                      <a:pt x="131" y="46"/>
                    </a:lnTo>
                    <a:lnTo>
                      <a:pt x="136" y="46"/>
                    </a:lnTo>
                    <a:lnTo>
                      <a:pt x="141" y="41"/>
                    </a:lnTo>
                    <a:lnTo>
                      <a:pt x="146" y="41"/>
                    </a:lnTo>
                    <a:lnTo>
                      <a:pt x="151" y="41"/>
                    </a:lnTo>
                    <a:lnTo>
                      <a:pt x="156" y="36"/>
                    </a:lnTo>
                    <a:lnTo>
                      <a:pt x="161" y="36"/>
                    </a:lnTo>
                    <a:lnTo>
                      <a:pt x="161" y="25"/>
                    </a:lnTo>
                    <a:lnTo>
                      <a:pt x="166" y="20"/>
                    </a:lnTo>
                    <a:lnTo>
                      <a:pt x="166" y="15"/>
                    </a:lnTo>
                    <a:lnTo>
                      <a:pt x="171" y="10"/>
                    </a:lnTo>
                    <a:lnTo>
                      <a:pt x="176" y="15"/>
                    </a:lnTo>
                    <a:lnTo>
                      <a:pt x="181" y="15"/>
                    </a:lnTo>
                    <a:lnTo>
                      <a:pt x="186" y="20"/>
                    </a:lnTo>
                    <a:lnTo>
                      <a:pt x="186" y="10"/>
                    </a:lnTo>
                    <a:lnTo>
                      <a:pt x="196" y="10"/>
                    </a:lnTo>
                    <a:lnTo>
                      <a:pt x="207" y="15"/>
                    </a:lnTo>
                    <a:lnTo>
                      <a:pt x="212" y="10"/>
                    </a:lnTo>
                    <a:lnTo>
                      <a:pt x="212" y="0"/>
                    </a:lnTo>
                    <a:lnTo>
                      <a:pt x="217" y="0"/>
                    </a:lnTo>
                    <a:lnTo>
                      <a:pt x="222" y="10"/>
                    </a:lnTo>
                    <a:lnTo>
                      <a:pt x="217" y="10"/>
                    </a:lnTo>
                    <a:lnTo>
                      <a:pt x="212" y="10"/>
                    </a:lnTo>
                    <a:lnTo>
                      <a:pt x="217" y="15"/>
                    </a:lnTo>
                    <a:lnTo>
                      <a:pt x="217" y="20"/>
                    </a:lnTo>
                    <a:lnTo>
                      <a:pt x="222" y="25"/>
                    </a:lnTo>
                    <a:lnTo>
                      <a:pt x="227" y="25"/>
                    </a:lnTo>
                    <a:lnTo>
                      <a:pt x="222" y="30"/>
                    </a:lnTo>
                    <a:lnTo>
                      <a:pt x="227" y="30"/>
                    </a:lnTo>
                    <a:lnTo>
                      <a:pt x="227" y="36"/>
                    </a:lnTo>
                    <a:lnTo>
                      <a:pt x="232" y="41"/>
                    </a:lnTo>
                    <a:lnTo>
                      <a:pt x="237" y="41"/>
                    </a:lnTo>
                    <a:lnTo>
                      <a:pt x="222" y="46"/>
                    </a:lnTo>
                    <a:lnTo>
                      <a:pt x="222" y="51"/>
                    </a:lnTo>
                    <a:lnTo>
                      <a:pt x="227" y="51"/>
                    </a:lnTo>
                    <a:lnTo>
                      <a:pt x="227" y="56"/>
                    </a:lnTo>
                    <a:lnTo>
                      <a:pt x="232" y="56"/>
                    </a:lnTo>
                    <a:lnTo>
                      <a:pt x="227" y="61"/>
                    </a:lnTo>
                    <a:lnTo>
                      <a:pt x="222" y="66"/>
                    </a:lnTo>
                    <a:lnTo>
                      <a:pt x="227" y="66"/>
                    </a:lnTo>
                    <a:lnTo>
                      <a:pt x="232" y="66"/>
                    </a:lnTo>
                    <a:lnTo>
                      <a:pt x="232" y="76"/>
                    </a:lnTo>
                    <a:lnTo>
                      <a:pt x="227" y="76"/>
                    </a:lnTo>
                    <a:lnTo>
                      <a:pt x="227" y="71"/>
                    </a:lnTo>
                    <a:lnTo>
                      <a:pt x="222" y="76"/>
                    </a:lnTo>
                    <a:lnTo>
                      <a:pt x="227" y="76"/>
                    </a:lnTo>
                    <a:lnTo>
                      <a:pt x="222" y="81"/>
                    </a:lnTo>
                    <a:lnTo>
                      <a:pt x="222" y="86"/>
                    </a:lnTo>
                    <a:lnTo>
                      <a:pt x="227" y="91"/>
                    </a:lnTo>
                    <a:lnTo>
                      <a:pt x="227" y="96"/>
                    </a:lnTo>
                    <a:lnTo>
                      <a:pt x="237" y="106"/>
                    </a:lnTo>
                    <a:lnTo>
                      <a:pt x="237" y="111"/>
                    </a:lnTo>
                    <a:lnTo>
                      <a:pt x="237" y="116"/>
                    </a:lnTo>
                    <a:lnTo>
                      <a:pt x="242" y="121"/>
                    </a:lnTo>
                    <a:lnTo>
                      <a:pt x="247" y="126"/>
                    </a:lnTo>
                    <a:lnTo>
                      <a:pt x="252" y="131"/>
                    </a:lnTo>
                    <a:lnTo>
                      <a:pt x="252" y="136"/>
                    </a:lnTo>
                    <a:lnTo>
                      <a:pt x="252" y="141"/>
                    </a:lnTo>
                    <a:lnTo>
                      <a:pt x="247" y="141"/>
                    </a:lnTo>
                    <a:lnTo>
                      <a:pt x="247" y="146"/>
                    </a:lnTo>
                    <a:lnTo>
                      <a:pt x="252" y="146"/>
                    </a:lnTo>
                    <a:lnTo>
                      <a:pt x="257" y="151"/>
                    </a:lnTo>
                    <a:lnTo>
                      <a:pt x="262" y="151"/>
                    </a:lnTo>
                    <a:lnTo>
                      <a:pt x="262" y="156"/>
                    </a:lnTo>
                    <a:lnTo>
                      <a:pt x="262" y="162"/>
                    </a:lnTo>
                    <a:lnTo>
                      <a:pt x="262" y="167"/>
                    </a:lnTo>
                    <a:lnTo>
                      <a:pt x="257" y="167"/>
                    </a:lnTo>
                    <a:lnTo>
                      <a:pt x="257" y="172"/>
                    </a:lnTo>
                    <a:lnTo>
                      <a:pt x="257" y="177"/>
                    </a:lnTo>
                    <a:lnTo>
                      <a:pt x="257" y="182"/>
                    </a:lnTo>
                    <a:lnTo>
                      <a:pt x="262" y="187"/>
                    </a:lnTo>
                    <a:lnTo>
                      <a:pt x="257" y="192"/>
                    </a:lnTo>
                    <a:lnTo>
                      <a:pt x="257" y="187"/>
                    </a:lnTo>
                    <a:lnTo>
                      <a:pt x="252" y="192"/>
                    </a:lnTo>
                    <a:lnTo>
                      <a:pt x="252" y="197"/>
                    </a:lnTo>
                    <a:lnTo>
                      <a:pt x="252" y="202"/>
                    </a:lnTo>
                    <a:lnTo>
                      <a:pt x="257" y="207"/>
                    </a:lnTo>
                    <a:lnTo>
                      <a:pt x="262" y="207"/>
                    </a:lnTo>
                    <a:lnTo>
                      <a:pt x="262" y="212"/>
                    </a:lnTo>
                    <a:lnTo>
                      <a:pt x="262" y="217"/>
                    </a:lnTo>
                    <a:lnTo>
                      <a:pt x="262" y="222"/>
                    </a:lnTo>
                    <a:lnTo>
                      <a:pt x="267" y="222"/>
                    </a:lnTo>
                    <a:lnTo>
                      <a:pt x="272" y="227"/>
                    </a:lnTo>
                    <a:lnTo>
                      <a:pt x="272" y="232"/>
                    </a:lnTo>
                    <a:lnTo>
                      <a:pt x="277" y="237"/>
                    </a:lnTo>
                    <a:lnTo>
                      <a:pt x="277" y="242"/>
                    </a:lnTo>
                    <a:lnTo>
                      <a:pt x="272" y="242"/>
                    </a:lnTo>
                    <a:lnTo>
                      <a:pt x="277" y="242"/>
                    </a:lnTo>
                    <a:lnTo>
                      <a:pt x="272" y="247"/>
                    </a:lnTo>
                    <a:lnTo>
                      <a:pt x="277" y="247"/>
                    </a:lnTo>
                    <a:lnTo>
                      <a:pt x="282" y="252"/>
                    </a:lnTo>
                    <a:lnTo>
                      <a:pt x="282" y="257"/>
                    </a:lnTo>
                    <a:lnTo>
                      <a:pt x="282" y="262"/>
                    </a:lnTo>
                    <a:lnTo>
                      <a:pt x="282" y="267"/>
                    </a:lnTo>
                    <a:lnTo>
                      <a:pt x="277" y="272"/>
                    </a:lnTo>
                    <a:lnTo>
                      <a:pt x="277" y="277"/>
                    </a:lnTo>
                    <a:lnTo>
                      <a:pt x="277" y="282"/>
                    </a:lnTo>
                    <a:lnTo>
                      <a:pt x="277" y="287"/>
                    </a:lnTo>
                    <a:lnTo>
                      <a:pt x="282" y="293"/>
                    </a:lnTo>
                    <a:lnTo>
                      <a:pt x="282" y="298"/>
                    </a:lnTo>
                    <a:lnTo>
                      <a:pt x="282" y="303"/>
                    </a:lnTo>
                    <a:lnTo>
                      <a:pt x="287" y="308"/>
                    </a:lnTo>
                    <a:lnTo>
                      <a:pt x="287" y="313"/>
                    </a:lnTo>
                    <a:lnTo>
                      <a:pt x="287" y="318"/>
                    </a:lnTo>
                    <a:lnTo>
                      <a:pt x="287" y="313"/>
                    </a:lnTo>
                    <a:lnTo>
                      <a:pt x="287" y="318"/>
                    </a:lnTo>
                    <a:lnTo>
                      <a:pt x="287" y="323"/>
                    </a:lnTo>
                    <a:lnTo>
                      <a:pt x="292" y="328"/>
                    </a:lnTo>
                    <a:lnTo>
                      <a:pt x="287" y="328"/>
                    </a:lnTo>
                    <a:lnTo>
                      <a:pt x="292" y="333"/>
                    </a:lnTo>
                    <a:lnTo>
                      <a:pt x="287" y="333"/>
                    </a:lnTo>
                    <a:lnTo>
                      <a:pt x="287" y="338"/>
                    </a:lnTo>
                    <a:lnTo>
                      <a:pt x="292" y="338"/>
                    </a:lnTo>
                    <a:lnTo>
                      <a:pt x="292" y="343"/>
                    </a:lnTo>
                    <a:lnTo>
                      <a:pt x="287" y="343"/>
                    </a:lnTo>
                    <a:lnTo>
                      <a:pt x="292" y="343"/>
                    </a:lnTo>
                    <a:lnTo>
                      <a:pt x="297" y="348"/>
                    </a:lnTo>
                    <a:lnTo>
                      <a:pt x="292" y="353"/>
                    </a:lnTo>
                    <a:lnTo>
                      <a:pt x="297" y="353"/>
                    </a:lnTo>
                    <a:lnTo>
                      <a:pt x="297" y="358"/>
                    </a:lnTo>
                    <a:lnTo>
                      <a:pt x="292" y="358"/>
                    </a:lnTo>
                    <a:lnTo>
                      <a:pt x="297" y="358"/>
                    </a:lnTo>
                    <a:lnTo>
                      <a:pt x="302" y="358"/>
                    </a:lnTo>
                    <a:lnTo>
                      <a:pt x="297" y="358"/>
                    </a:lnTo>
                    <a:lnTo>
                      <a:pt x="297" y="363"/>
                    </a:lnTo>
                    <a:lnTo>
                      <a:pt x="302" y="363"/>
                    </a:lnTo>
                    <a:lnTo>
                      <a:pt x="302" y="368"/>
                    </a:lnTo>
                    <a:lnTo>
                      <a:pt x="302" y="373"/>
                    </a:lnTo>
                    <a:lnTo>
                      <a:pt x="302" y="378"/>
                    </a:lnTo>
                    <a:lnTo>
                      <a:pt x="307" y="378"/>
                    </a:lnTo>
                    <a:lnTo>
                      <a:pt x="312" y="378"/>
                    </a:lnTo>
                    <a:lnTo>
                      <a:pt x="312" y="383"/>
                    </a:lnTo>
                    <a:lnTo>
                      <a:pt x="307" y="383"/>
                    </a:lnTo>
                    <a:lnTo>
                      <a:pt x="312" y="388"/>
                    </a:lnTo>
                    <a:lnTo>
                      <a:pt x="307" y="388"/>
                    </a:lnTo>
                    <a:lnTo>
                      <a:pt x="302" y="388"/>
                    </a:lnTo>
                    <a:lnTo>
                      <a:pt x="307" y="388"/>
                    </a:lnTo>
                    <a:lnTo>
                      <a:pt x="307" y="393"/>
                    </a:lnTo>
                    <a:lnTo>
                      <a:pt x="312" y="398"/>
                    </a:lnTo>
                    <a:lnTo>
                      <a:pt x="312" y="403"/>
                    </a:lnTo>
                    <a:lnTo>
                      <a:pt x="312" y="408"/>
                    </a:lnTo>
                    <a:lnTo>
                      <a:pt x="317" y="413"/>
                    </a:lnTo>
                    <a:lnTo>
                      <a:pt x="312" y="413"/>
                    </a:lnTo>
                    <a:lnTo>
                      <a:pt x="312" y="418"/>
                    </a:lnTo>
                    <a:lnTo>
                      <a:pt x="317" y="418"/>
                    </a:lnTo>
                    <a:lnTo>
                      <a:pt x="322" y="418"/>
                    </a:lnTo>
                    <a:lnTo>
                      <a:pt x="322" y="424"/>
                    </a:lnTo>
                    <a:lnTo>
                      <a:pt x="327" y="424"/>
                    </a:lnTo>
                    <a:lnTo>
                      <a:pt x="327" y="418"/>
                    </a:lnTo>
                    <a:lnTo>
                      <a:pt x="333" y="418"/>
                    </a:lnTo>
                    <a:lnTo>
                      <a:pt x="333" y="424"/>
                    </a:lnTo>
                    <a:lnTo>
                      <a:pt x="327" y="424"/>
                    </a:lnTo>
                    <a:lnTo>
                      <a:pt x="327" y="429"/>
                    </a:lnTo>
                    <a:lnTo>
                      <a:pt x="333" y="424"/>
                    </a:lnTo>
                    <a:lnTo>
                      <a:pt x="333" y="429"/>
                    </a:lnTo>
                    <a:lnTo>
                      <a:pt x="333" y="434"/>
                    </a:lnTo>
                    <a:lnTo>
                      <a:pt x="333" y="429"/>
                    </a:lnTo>
                    <a:lnTo>
                      <a:pt x="338" y="434"/>
                    </a:lnTo>
                    <a:lnTo>
                      <a:pt x="343" y="439"/>
                    </a:lnTo>
                    <a:lnTo>
                      <a:pt x="343" y="444"/>
                    </a:lnTo>
                    <a:lnTo>
                      <a:pt x="348" y="444"/>
                    </a:lnTo>
                    <a:lnTo>
                      <a:pt x="348" y="449"/>
                    </a:lnTo>
                    <a:lnTo>
                      <a:pt x="348" y="444"/>
                    </a:lnTo>
                    <a:lnTo>
                      <a:pt x="353" y="444"/>
                    </a:lnTo>
                    <a:lnTo>
                      <a:pt x="358" y="444"/>
                    </a:lnTo>
                    <a:lnTo>
                      <a:pt x="363" y="444"/>
                    </a:lnTo>
                    <a:close/>
                  </a:path>
                </a:pathLst>
              </a:custGeom>
              <a:solidFill>
                <a:srgbClr val="9067A7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601">
                <a:extLst>
                  <a:ext uri="{FF2B5EF4-FFF2-40B4-BE49-F238E27FC236}">
                    <a16:creationId xmlns:a16="http://schemas.microsoft.com/office/drawing/2014/main" id="{F0355BC0-0B97-C5DD-F150-48637F99E6C2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3861268" y="2315904"/>
                <a:ext cx="901827" cy="832103"/>
              </a:xfrm>
              <a:custGeom>
                <a:avLst/>
                <a:gdLst>
                  <a:gd name="T0" fmla="*/ 2147483647 w 580"/>
                  <a:gd name="T1" fmla="*/ 2147483647 h 560"/>
                  <a:gd name="T2" fmla="*/ 2147483647 w 580"/>
                  <a:gd name="T3" fmla="*/ 2147483647 h 560"/>
                  <a:gd name="T4" fmla="*/ 2147483647 w 580"/>
                  <a:gd name="T5" fmla="*/ 2147483647 h 560"/>
                  <a:gd name="T6" fmla="*/ 2147483647 w 580"/>
                  <a:gd name="T7" fmla="*/ 2147483647 h 560"/>
                  <a:gd name="T8" fmla="*/ 2147483647 w 580"/>
                  <a:gd name="T9" fmla="*/ 2147483647 h 560"/>
                  <a:gd name="T10" fmla="*/ 2147483647 w 580"/>
                  <a:gd name="T11" fmla="*/ 2147483647 h 560"/>
                  <a:gd name="T12" fmla="*/ 2147483647 w 580"/>
                  <a:gd name="T13" fmla="*/ 2147483647 h 560"/>
                  <a:gd name="T14" fmla="*/ 2147483647 w 580"/>
                  <a:gd name="T15" fmla="*/ 2147483647 h 560"/>
                  <a:gd name="T16" fmla="*/ 2147483647 w 580"/>
                  <a:gd name="T17" fmla="*/ 2147483647 h 560"/>
                  <a:gd name="T18" fmla="*/ 2147483647 w 580"/>
                  <a:gd name="T19" fmla="*/ 2147483647 h 560"/>
                  <a:gd name="T20" fmla="*/ 2147483647 w 580"/>
                  <a:gd name="T21" fmla="*/ 2147483647 h 560"/>
                  <a:gd name="T22" fmla="*/ 2147483647 w 580"/>
                  <a:gd name="T23" fmla="*/ 2147483647 h 560"/>
                  <a:gd name="T24" fmla="*/ 2147483647 w 580"/>
                  <a:gd name="T25" fmla="*/ 2147483647 h 560"/>
                  <a:gd name="T26" fmla="*/ 2147483647 w 580"/>
                  <a:gd name="T27" fmla="*/ 2147483647 h 560"/>
                  <a:gd name="T28" fmla="*/ 2147483647 w 580"/>
                  <a:gd name="T29" fmla="*/ 2147483647 h 560"/>
                  <a:gd name="T30" fmla="*/ 2147483647 w 580"/>
                  <a:gd name="T31" fmla="*/ 2147483647 h 560"/>
                  <a:gd name="T32" fmla="*/ 2147483647 w 580"/>
                  <a:gd name="T33" fmla="*/ 2147483647 h 560"/>
                  <a:gd name="T34" fmla="*/ 2147483647 w 580"/>
                  <a:gd name="T35" fmla="*/ 2147483647 h 560"/>
                  <a:gd name="T36" fmla="*/ 2147483647 w 580"/>
                  <a:gd name="T37" fmla="*/ 2147483647 h 560"/>
                  <a:gd name="T38" fmla="*/ 2147483647 w 580"/>
                  <a:gd name="T39" fmla="*/ 2147483647 h 560"/>
                  <a:gd name="T40" fmla="*/ 2147483647 w 580"/>
                  <a:gd name="T41" fmla="*/ 2147483647 h 560"/>
                  <a:gd name="T42" fmla="*/ 2147483647 w 580"/>
                  <a:gd name="T43" fmla="*/ 2147483647 h 560"/>
                  <a:gd name="T44" fmla="*/ 2147483647 w 580"/>
                  <a:gd name="T45" fmla="*/ 2147483647 h 560"/>
                  <a:gd name="T46" fmla="*/ 2147483647 w 580"/>
                  <a:gd name="T47" fmla="*/ 2147483647 h 560"/>
                  <a:gd name="T48" fmla="*/ 2147483647 w 580"/>
                  <a:gd name="T49" fmla="*/ 2147483647 h 560"/>
                  <a:gd name="T50" fmla="*/ 2147483647 w 580"/>
                  <a:gd name="T51" fmla="*/ 2147483647 h 560"/>
                  <a:gd name="T52" fmla="*/ 2147483647 w 580"/>
                  <a:gd name="T53" fmla="*/ 2147483647 h 560"/>
                  <a:gd name="T54" fmla="*/ 2147483647 w 580"/>
                  <a:gd name="T55" fmla="*/ 2147483647 h 560"/>
                  <a:gd name="T56" fmla="*/ 2147483647 w 580"/>
                  <a:gd name="T57" fmla="*/ 2147483647 h 560"/>
                  <a:gd name="T58" fmla="*/ 2147483647 w 580"/>
                  <a:gd name="T59" fmla="*/ 2147483647 h 560"/>
                  <a:gd name="T60" fmla="*/ 2147483647 w 580"/>
                  <a:gd name="T61" fmla="*/ 2147483647 h 560"/>
                  <a:gd name="T62" fmla="*/ 2147483647 w 580"/>
                  <a:gd name="T63" fmla="*/ 2147483647 h 560"/>
                  <a:gd name="T64" fmla="*/ 2147483647 w 580"/>
                  <a:gd name="T65" fmla="*/ 2147483647 h 560"/>
                  <a:gd name="T66" fmla="*/ 2147483647 w 580"/>
                  <a:gd name="T67" fmla="*/ 2147483647 h 560"/>
                  <a:gd name="T68" fmla="*/ 2147483647 w 580"/>
                  <a:gd name="T69" fmla="*/ 2147483647 h 560"/>
                  <a:gd name="T70" fmla="*/ 2147483647 w 580"/>
                  <a:gd name="T71" fmla="*/ 2147483647 h 560"/>
                  <a:gd name="T72" fmla="*/ 2147483647 w 580"/>
                  <a:gd name="T73" fmla="*/ 2147483647 h 560"/>
                  <a:gd name="T74" fmla="*/ 2147483647 w 580"/>
                  <a:gd name="T75" fmla="*/ 2147483647 h 560"/>
                  <a:gd name="T76" fmla="*/ 2147483647 w 580"/>
                  <a:gd name="T77" fmla="*/ 2147483647 h 560"/>
                  <a:gd name="T78" fmla="*/ 2147483647 w 580"/>
                  <a:gd name="T79" fmla="*/ 2147483647 h 560"/>
                  <a:gd name="T80" fmla="*/ 2147483647 w 580"/>
                  <a:gd name="T81" fmla="*/ 2147483647 h 560"/>
                  <a:gd name="T82" fmla="*/ 2147483647 w 580"/>
                  <a:gd name="T83" fmla="*/ 2147483647 h 560"/>
                  <a:gd name="T84" fmla="*/ 2147483647 w 580"/>
                  <a:gd name="T85" fmla="*/ 2147483647 h 560"/>
                  <a:gd name="T86" fmla="*/ 2147483647 w 580"/>
                  <a:gd name="T87" fmla="*/ 2147483647 h 560"/>
                  <a:gd name="T88" fmla="*/ 2147483647 w 580"/>
                  <a:gd name="T89" fmla="*/ 2147483647 h 560"/>
                  <a:gd name="T90" fmla="*/ 2147483647 w 580"/>
                  <a:gd name="T91" fmla="*/ 2147483647 h 560"/>
                  <a:gd name="T92" fmla="*/ 2147483647 w 580"/>
                  <a:gd name="T93" fmla="*/ 2147483647 h 560"/>
                  <a:gd name="T94" fmla="*/ 2147483647 w 580"/>
                  <a:gd name="T95" fmla="*/ 2147483647 h 560"/>
                  <a:gd name="T96" fmla="*/ 2147483647 w 580"/>
                  <a:gd name="T97" fmla="*/ 2147483647 h 560"/>
                  <a:gd name="T98" fmla="*/ 2147483647 w 580"/>
                  <a:gd name="T99" fmla="*/ 2147483647 h 560"/>
                  <a:gd name="T100" fmla="*/ 2147483647 w 580"/>
                  <a:gd name="T101" fmla="*/ 2147483647 h 560"/>
                  <a:gd name="T102" fmla="*/ 2147483647 w 580"/>
                  <a:gd name="T103" fmla="*/ 2147483647 h 560"/>
                  <a:gd name="T104" fmla="*/ 2147483647 w 580"/>
                  <a:gd name="T105" fmla="*/ 2147483647 h 560"/>
                  <a:gd name="T106" fmla="*/ 2147483647 w 580"/>
                  <a:gd name="T107" fmla="*/ 2147483647 h 560"/>
                  <a:gd name="T108" fmla="*/ 2147483647 w 580"/>
                  <a:gd name="T109" fmla="*/ 2147483647 h 560"/>
                  <a:gd name="T110" fmla="*/ 2147483647 w 580"/>
                  <a:gd name="T111" fmla="*/ 2147483647 h 560"/>
                  <a:gd name="T112" fmla="*/ 2147483647 w 580"/>
                  <a:gd name="T113" fmla="*/ 2147483647 h 560"/>
                  <a:gd name="T114" fmla="*/ 2147483647 w 580"/>
                  <a:gd name="T115" fmla="*/ 2147483647 h 560"/>
                  <a:gd name="T116" fmla="*/ 2147483647 w 580"/>
                  <a:gd name="T117" fmla="*/ 2147483647 h 560"/>
                  <a:gd name="T118" fmla="*/ 2147483647 w 580"/>
                  <a:gd name="T119" fmla="*/ 2147483647 h 560"/>
                  <a:gd name="T120" fmla="*/ 2147483647 w 580"/>
                  <a:gd name="T121" fmla="*/ 2147483647 h 560"/>
                  <a:gd name="T122" fmla="*/ 2147483647 w 580"/>
                  <a:gd name="T123" fmla="*/ 2147483647 h 560"/>
                  <a:gd name="T124" fmla="*/ 2147483647 w 580"/>
                  <a:gd name="T125" fmla="*/ 2147483647 h 56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80"/>
                  <a:gd name="T190" fmla="*/ 0 h 560"/>
                  <a:gd name="T191" fmla="*/ 580 w 580"/>
                  <a:gd name="T192" fmla="*/ 560 h 56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80" h="560">
                    <a:moveTo>
                      <a:pt x="570" y="278"/>
                    </a:moveTo>
                    <a:lnTo>
                      <a:pt x="570" y="288"/>
                    </a:lnTo>
                    <a:lnTo>
                      <a:pt x="565" y="288"/>
                    </a:lnTo>
                    <a:lnTo>
                      <a:pt x="560" y="288"/>
                    </a:lnTo>
                    <a:lnTo>
                      <a:pt x="560" y="293"/>
                    </a:lnTo>
                    <a:lnTo>
                      <a:pt x="534" y="293"/>
                    </a:lnTo>
                    <a:lnTo>
                      <a:pt x="524" y="298"/>
                    </a:lnTo>
                    <a:lnTo>
                      <a:pt x="519" y="298"/>
                    </a:lnTo>
                    <a:lnTo>
                      <a:pt x="519" y="308"/>
                    </a:lnTo>
                    <a:lnTo>
                      <a:pt x="514" y="313"/>
                    </a:lnTo>
                    <a:lnTo>
                      <a:pt x="519" y="313"/>
                    </a:lnTo>
                    <a:lnTo>
                      <a:pt x="524" y="313"/>
                    </a:lnTo>
                    <a:lnTo>
                      <a:pt x="529" y="318"/>
                    </a:lnTo>
                    <a:lnTo>
                      <a:pt x="524" y="318"/>
                    </a:lnTo>
                    <a:lnTo>
                      <a:pt x="529" y="323"/>
                    </a:lnTo>
                    <a:lnTo>
                      <a:pt x="534" y="323"/>
                    </a:lnTo>
                    <a:lnTo>
                      <a:pt x="529" y="333"/>
                    </a:lnTo>
                    <a:lnTo>
                      <a:pt x="524" y="333"/>
                    </a:lnTo>
                    <a:lnTo>
                      <a:pt x="524" y="338"/>
                    </a:lnTo>
                    <a:lnTo>
                      <a:pt x="519" y="338"/>
                    </a:lnTo>
                    <a:lnTo>
                      <a:pt x="524" y="338"/>
                    </a:lnTo>
                    <a:lnTo>
                      <a:pt x="524" y="343"/>
                    </a:lnTo>
                    <a:lnTo>
                      <a:pt x="524" y="348"/>
                    </a:lnTo>
                    <a:lnTo>
                      <a:pt x="514" y="353"/>
                    </a:lnTo>
                    <a:lnTo>
                      <a:pt x="509" y="358"/>
                    </a:lnTo>
                    <a:lnTo>
                      <a:pt x="514" y="363"/>
                    </a:lnTo>
                    <a:lnTo>
                      <a:pt x="514" y="373"/>
                    </a:lnTo>
                    <a:lnTo>
                      <a:pt x="509" y="373"/>
                    </a:lnTo>
                    <a:lnTo>
                      <a:pt x="504" y="373"/>
                    </a:lnTo>
                    <a:lnTo>
                      <a:pt x="509" y="378"/>
                    </a:lnTo>
                    <a:lnTo>
                      <a:pt x="504" y="383"/>
                    </a:lnTo>
                    <a:lnTo>
                      <a:pt x="504" y="378"/>
                    </a:lnTo>
                    <a:lnTo>
                      <a:pt x="504" y="383"/>
                    </a:lnTo>
                    <a:lnTo>
                      <a:pt x="504" y="388"/>
                    </a:lnTo>
                    <a:lnTo>
                      <a:pt x="509" y="388"/>
                    </a:lnTo>
                    <a:lnTo>
                      <a:pt x="514" y="388"/>
                    </a:lnTo>
                    <a:lnTo>
                      <a:pt x="514" y="393"/>
                    </a:lnTo>
                    <a:lnTo>
                      <a:pt x="504" y="399"/>
                    </a:lnTo>
                    <a:lnTo>
                      <a:pt x="504" y="404"/>
                    </a:lnTo>
                    <a:lnTo>
                      <a:pt x="499" y="404"/>
                    </a:lnTo>
                    <a:lnTo>
                      <a:pt x="499" y="409"/>
                    </a:lnTo>
                    <a:lnTo>
                      <a:pt x="494" y="419"/>
                    </a:lnTo>
                    <a:lnTo>
                      <a:pt x="499" y="419"/>
                    </a:lnTo>
                    <a:lnTo>
                      <a:pt x="499" y="429"/>
                    </a:lnTo>
                    <a:lnTo>
                      <a:pt x="494" y="429"/>
                    </a:lnTo>
                    <a:lnTo>
                      <a:pt x="489" y="429"/>
                    </a:lnTo>
                    <a:lnTo>
                      <a:pt x="484" y="424"/>
                    </a:lnTo>
                    <a:lnTo>
                      <a:pt x="479" y="439"/>
                    </a:lnTo>
                    <a:lnTo>
                      <a:pt x="474" y="439"/>
                    </a:lnTo>
                    <a:lnTo>
                      <a:pt x="469" y="444"/>
                    </a:lnTo>
                    <a:lnTo>
                      <a:pt x="469" y="449"/>
                    </a:lnTo>
                    <a:lnTo>
                      <a:pt x="474" y="449"/>
                    </a:lnTo>
                    <a:lnTo>
                      <a:pt x="479" y="449"/>
                    </a:lnTo>
                    <a:lnTo>
                      <a:pt x="479" y="454"/>
                    </a:lnTo>
                    <a:lnTo>
                      <a:pt x="484" y="454"/>
                    </a:lnTo>
                    <a:lnTo>
                      <a:pt x="479" y="459"/>
                    </a:lnTo>
                    <a:lnTo>
                      <a:pt x="469" y="454"/>
                    </a:lnTo>
                    <a:lnTo>
                      <a:pt x="464" y="449"/>
                    </a:lnTo>
                    <a:lnTo>
                      <a:pt x="464" y="454"/>
                    </a:lnTo>
                    <a:lnTo>
                      <a:pt x="449" y="454"/>
                    </a:lnTo>
                    <a:lnTo>
                      <a:pt x="449" y="464"/>
                    </a:lnTo>
                    <a:lnTo>
                      <a:pt x="444" y="464"/>
                    </a:lnTo>
                    <a:lnTo>
                      <a:pt x="439" y="464"/>
                    </a:lnTo>
                    <a:lnTo>
                      <a:pt x="434" y="459"/>
                    </a:lnTo>
                    <a:lnTo>
                      <a:pt x="428" y="459"/>
                    </a:lnTo>
                    <a:lnTo>
                      <a:pt x="423" y="464"/>
                    </a:lnTo>
                    <a:lnTo>
                      <a:pt x="423" y="469"/>
                    </a:lnTo>
                    <a:lnTo>
                      <a:pt x="439" y="484"/>
                    </a:lnTo>
                    <a:lnTo>
                      <a:pt x="434" y="494"/>
                    </a:lnTo>
                    <a:lnTo>
                      <a:pt x="439" y="499"/>
                    </a:lnTo>
                    <a:lnTo>
                      <a:pt x="444" y="509"/>
                    </a:lnTo>
                    <a:lnTo>
                      <a:pt x="434" y="514"/>
                    </a:lnTo>
                    <a:lnTo>
                      <a:pt x="434" y="519"/>
                    </a:lnTo>
                    <a:lnTo>
                      <a:pt x="423" y="524"/>
                    </a:lnTo>
                    <a:lnTo>
                      <a:pt x="418" y="519"/>
                    </a:lnTo>
                    <a:lnTo>
                      <a:pt x="413" y="519"/>
                    </a:lnTo>
                    <a:lnTo>
                      <a:pt x="398" y="514"/>
                    </a:lnTo>
                    <a:lnTo>
                      <a:pt x="398" y="524"/>
                    </a:lnTo>
                    <a:lnTo>
                      <a:pt x="393" y="524"/>
                    </a:lnTo>
                    <a:lnTo>
                      <a:pt x="398" y="530"/>
                    </a:lnTo>
                    <a:lnTo>
                      <a:pt x="393" y="545"/>
                    </a:lnTo>
                    <a:lnTo>
                      <a:pt x="383" y="550"/>
                    </a:lnTo>
                    <a:lnTo>
                      <a:pt x="378" y="560"/>
                    </a:lnTo>
                    <a:lnTo>
                      <a:pt x="373" y="555"/>
                    </a:lnTo>
                    <a:lnTo>
                      <a:pt x="378" y="545"/>
                    </a:lnTo>
                    <a:lnTo>
                      <a:pt x="363" y="540"/>
                    </a:lnTo>
                    <a:lnTo>
                      <a:pt x="363" y="535"/>
                    </a:lnTo>
                    <a:lnTo>
                      <a:pt x="363" y="524"/>
                    </a:lnTo>
                    <a:lnTo>
                      <a:pt x="348" y="524"/>
                    </a:lnTo>
                    <a:lnTo>
                      <a:pt x="333" y="519"/>
                    </a:lnTo>
                    <a:lnTo>
                      <a:pt x="333" y="514"/>
                    </a:lnTo>
                    <a:lnTo>
                      <a:pt x="333" y="509"/>
                    </a:lnTo>
                    <a:lnTo>
                      <a:pt x="328" y="504"/>
                    </a:lnTo>
                    <a:lnTo>
                      <a:pt x="328" y="499"/>
                    </a:lnTo>
                    <a:lnTo>
                      <a:pt x="323" y="499"/>
                    </a:lnTo>
                    <a:lnTo>
                      <a:pt x="313" y="504"/>
                    </a:lnTo>
                    <a:lnTo>
                      <a:pt x="313" y="499"/>
                    </a:lnTo>
                    <a:lnTo>
                      <a:pt x="303" y="494"/>
                    </a:lnTo>
                    <a:lnTo>
                      <a:pt x="303" y="489"/>
                    </a:lnTo>
                    <a:lnTo>
                      <a:pt x="297" y="489"/>
                    </a:lnTo>
                    <a:lnTo>
                      <a:pt x="297" y="479"/>
                    </a:lnTo>
                    <a:lnTo>
                      <a:pt x="287" y="474"/>
                    </a:lnTo>
                    <a:lnTo>
                      <a:pt x="292" y="469"/>
                    </a:lnTo>
                    <a:lnTo>
                      <a:pt x="282" y="464"/>
                    </a:lnTo>
                    <a:lnTo>
                      <a:pt x="277" y="464"/>
                    </a:lnTo>
                    <a:lnTo>
                      <a:pt x="277" y="469"/>
                    </a:lnTo>
                    <a:lnTo>
                      <a:pt x="272" y="469"/>
                    </a:lnTo>
                    <a:lnTo>
                      <a:pt x="267" y="469"/>
                    </a:lnTo>
                    <a:lnTo>
                      <a:pt x="267" y="474"/>
                    </a:lnTo>
                    <a:lnTo>
                      <a:pt x="267" y="479"/>
                    </a:lnTo>
                    <a:lnTo>
                      <a:pt x="262" y="479"/>
                    </a:lnTo>
                    <a:lnTo>
                      <a:pt x="262" y="484"/>
                    </a:lnTo>
                    <a:lnTo>
                      <a:pt x="257" y="484"/>
                    </a:lnTo>
                    <a:lnTo>
                      <a:pt x="252" y="479"/>
                    </a:lnTo>
                    <a:lnTo>
                      <a:pt x="252" y="484"/>
                    </a:lnTo>
                    <a:lnTo>
                      <a:pt x="247" y="484"/>
                    </a:lnTo>
                    <a:lnTo>
                      <a:pt x="242" y="484"/>
                    </a:lnTo>
                    <a:lnTo>
                      <a:pt x="242" y="489"/>
                    </a:lnTo>
                    <a:lnTo>
                      <a:pt x="237" y="489"/>
                    </a:lnTo>
                    <a:lnTo>
                      <a:pt x="237" y="484"/>
                    </a:lnTo>
                    <a:lnTo>
                      <a:pt x="232" y="484"/>
                    </a:lnTo>
                    <a:lnTo>
                      <a:pt x="227" y="484"/>
                    </a:lnTo>
                    <a:lnTo>
                      <a:pt x="227" y="489"/>
                    </a:lnTo>
                    <a:lnTo>
                      <a:pt x="222" y="484"/>
                    </a:lnTo>
                    <a:lnTo>
                      <a:pt x="217" y="484"/>
                    </a:lnTo>
                    <a:lnTo>
                      <a:pt x="217" y="489"/>
                    </a:lnTo>
                    <a:lnTo>
                      <a:pt x="212" y="489"/>
                    </a:lnTo>
                    <a:lnTo>
                      <a:pt x="207" y="489"/>
                    </a:lnTo>
                    <a:lnTo>
                      <a:pt x="207" y="494"/>
                    </a:lnTo>
                    <a:lnTo>
                      <a:pt x="202" y="494"/>
                    </a:lnTo>
                    <a:lnTo>
                      <a:pt x="197" y="494"/>
                    </a:lnTo>
                    <a:lnTo>
                      <a:pt x="192" y="489"/>
                    </a:lnTo>
                    <a:lnTo>
                      <a:pt x="187" y="489"/>
                    </a:lnTo>
                    <a:lnTo>
                      <a:pt x="171" y="484"/>
                    </a:lnTo>
                    <a:lnTo>
                      <a:pt x="161" y="484"/>
                    </a:lnTo>
                    <a:lnTo>
                      <a:pt x="151" y="479"/>
                    </a:lnTo>
                    <a:lnTo>
                      <a:pt x="146" y="479"/>
                    </a:lnTo>
                    <a:lnTo>
                      <a:pt x="141" y="474"/>
                    </a:lnTo>
                    <a:lnTo>
                      <a:pt x="141" y="469"/>
                    </a:lnTo>
                    <a:lnTo>
                      <a:pt x="136" y="469"/>
                    </a:lnTo>
                    <a:lnTo>
                      <a:pt x="131" y="469"/>
                    </a:lnTo>
                    <a:lnTo>
                      <a:pt x="126" y="469"/>
                    </a:lnTo>
                    <a:lnTo>
                      <a:pt x="121" y="469"/>
                    </a:lnTo>
                    <a:lnTo>
                      <a:pt x="116" y="474"/>
                    </a:lnTo>
                    <a:lnTo>
                      <a:pt x="116" y="469"/>
                    </a:lnTo>
                    <a:lnTo>
                      <a:pt x="111" y="469"/>
                    </a:lnTo>
                    <a:lnTo>
                      <a:pt x="111" y="474"/>
                    </a:lnTo>
                    <a:lnTo>
                      <a:pt x="106" y="479"/>
                    </a:lnTo>
                    <a:lnTo>
                      <a:pt x="91" y="459"/>
                    </a:lnTo>
                    <a:lnTo>
                      <a:pt x="91" y="444"/>
                    </a:lnTo>
                    <a:lnTo>
                      <a:pt x="96" y="444"/>
                    </a:lnTo>
                    <a:lnTo>
                      <a:pt x="96" y="439"/>
                    </a:lnTo>
                    <a:lnTo>
                      <a:pt x="91" y="434"/>
                    </a:lnTo>
                    <a:lnTo>
                      <a:pt x="96" y="434"/>
                    </a:lnTo>
                    <a:lnTo>
                      <a:pt x="101" y="434"/>
                    </a:lnTo>
                    <a:lnTo>
                      <a:pt x="106" y="439"/>
                    </a:lnTo>
                    <a:lnTo>
                      <a:pt x="126" y="434"/>
                    </a:lnTo>
                    <a:lnTo>
                      <a:pt x="131" y="434"/>
                    </a:lnTo>
                    <a:lnTo>
                      <a:pt x="136" y="429"/>
                    </a:lnTo>
                    <a:lnTo>
                      <a:pt x="136" y="424"/>
                    </a:lnTo>
                    <a:lnTo>
                      <a:pt x="141" y="414"/>
                    </a:lnTo>
                    <a:lnTo>
                      <a:pt x="146" y="399"/>
                    </a:lnTo>
                    <a:lnTo>
                      <a:pt x="136" y="393"/>
                    </a:lnTo>
                    <a:lnTo>
                      <a:pt x="136" y="388"/>
                    </a:lnTo>
                    <a:lnTo>
                      <a:pt x="126" y="383"/>
                    </a:lnTo>
                    <a:lnTo>
                      <a:pt x="126" y="373"/>
                    </a:lnTo>
                    <a:lnTo>
                      <a:pt x="151" y="368"/>
                    </a:lnTo>
                    <a:lnTo>
                      <a:pt x="151" y="358"/>
                    </a:lnTo>
                    <a:lnTo>
                      <a:pt x="146" y="358"/>
                    </a:lnTo>
                    <a:lnTo>
                      <a:pt x="141" y="358"/>
                    </a:lnTo>
                    <a:lnTo>
                      <a:pt x="141" y="353"/>
                    </a:lnTo>
                    <a:lnTo>
                      <a:pt x="136" y="353"/>
                    </a:lnTo>
                    <a:lnTo>
                      <a:pt x="141" y="348"/>
                    </a:lnTo>
                    <a:lnTo>
                      <a:pt x="146" y="348"/>
                    </a:lnTo>
                    <a:lnTo>
                      <a:pt x="126" y="328"/>
                    </a:lnTo>
                    <a:lnTo>
                      <a:pt x="131" y="323"/>
                    </a:lnTo>
                    <a:lnTo>
                      <a:pt x="126" y="323"/>
                    </a:lnTo>
                    <a:lnTo>
                      <a:pt x="121" y="323"/>
                    </a:lnTo>
                    <a:lnTo>
                      <a:pt x="121" y="328"/>
                    </a:lnTo>
                    <a:lnTo>
                      <a:pt x="111" y="333"/>
                    </a:lnTo>
                    <a:lnTo>
                      <a:pt x="111" y="328"/>
                    </a:lnTo>
                    <a:lnTo>
                      <a:pt x="101" y="328"/>
                    </a:lnTo>
                    <a:lnTo>
                      <a:pt x="96" y="328"/>
                    </a:lnTo>
                    <a:lnTo>
                      <a:pt x="91" y="318"/>
                    </a:lnTo>
                    <a:lnTo>
                      <a:pt x="86" y="318"/>
                    </a:lnTo>
                    <a:lnTo>
                      <a:pt x="81" y="313"/>
                    </a:lnTo>
                    <a:lnTo>
                      <a:pt x="76" y="308"/>
                    </a:lnTo>
                    <a:lnTo>
                      <a:pt x="76" y="303"/>
                    </a:lnTo>
                    <a:lnTo>
                      <a:pt x="81" y="303"/>
                    </a:lnTo>
                    <a:lnTo>
                      <a:pt x="76" y="298"/>
                    </a:lnTo>
                    <a:lnTo>
                      <a:pt x="66" y="293"/>
                    </a:lnTo>
                    <a:lnTo>
                      <a:pt x="61" y="293"/>
                    </a:lnTo>
                    <a:lnTo>
                      <a:pt x="61" y="298"/>
                    </a:lnTo>
                    <a:lnTo>
                      <a:pt x="56" y="298"/>
                    </a:lnTo>
                    <a:lnTo>
                      <a:pt x="51" y="298"/>
                    </a:lnTo>
                    <a:lnTo>
                      <a:pt x="45" y="298"/>
                    </a:lnTo>
                    <a:lnTo>
                      <a:pt x="45" y="288"/>
                    </a:lnTo>
                    <a:lnTo>
                      <a:pt x="45" y="293"/>
                    </a:lnTo>
                    <a:lnTo>
                      <a:pt x="40" y="298"/>
                    </a:lnTo>
                    <a:lnTo>
                      <a:pt x="35" y="293"/>
                    </a:lnTo>
                    <a:lnTo>
                      <a:pt x="30" y="298"/>
                    </a:lnTo>
                    <a:lnTo>
                      <a:pt x="25" y="298"/>
                    </a:lnTo>
                    <a:lnTo>
                      <a:pt x="20" y="288"/>
                    </a:lnTo>
                    <a:lnTo>
                      <a:pt x="15" y="288"/>
                    </a:lnTo>
                    <a:lnTo>
                      <a:pt x="10" y="288"/>
                    </a:lnTo>
                    <a:lnTo>
                      <a:pt x="10" y="283"/>
                    </a:lnTo>
                    <a:lnTo>
                      <a:pt x="5" y="278"/>
                    </a:lnTo>
                    <a:lnTo>
                      <a:pt x="10" y="247"/>
                    </a:lnTo>
                    <a:lnTo>
                      <a:pt x="5" y="242"/>
                    </a:lnTo>
                    <a:lnTo>
                      <a:pt x="5" y="237"/>
                    </a:lnTo>
                    <a:lnTo>
                      <a:pt x="5" y="232"/>
                    </a:lnTo>
                    <a:lnTo>
                      <a:pt x="5" y="227"/>
                    </a:lnTo>
                    <a:lnTo>
                      <a:pt x="0" y="222"/>
                    </a:lnTo>
                    <a:lnTo>
                      <a:pt x="10" y="217"/>
                    </a:lnTo>
                    <a:lnTo>
                      <a:pt x="10" y="222"/>
                    </a:lnTo>
                    <a:lnTo>
                      <a:pt x="15" y="222"/>
                    </a:lnTo>
                    <a:lnTo>
                      <a:pt x="20" y="212"/>
                    </a:lnTo>
                    <a:lnTo>
                      <a:pt x="20" y="207"/>
                    </a:lnTo>
                    <a:lnTo>
                      <a:pt x="25" y="207"/>
                    </a:lnTo>
                    <a:lnTo>
                      <a:pt x="30" y="197"/>
                    </a:lnTo>
                    <a:lnTo>
                      <a:pt x="35" y="197"/>
                    </a:lnTo>
                    <a:lnTo>
                      <a:pt x="35" y="192"/>
                    </a:lnTo>
                    <a:lnTo>
                      <a:pt x="40" y="197"/>
                    </a:lnTo>
                    <a:lnTo>
                      <a:pt x="45" y="192"/>
                    </a:lnTo>
                    <a:lnTo>
                      <a:pt x="51" y="192"/>
                    </a:lnTo>
                    <a:lnTo>
                      <a:pt x="45" y="187"/>
                    </a:lnTo>
                    <a:lnTo>
                      <a:pt x="45" y="182"/>
                    </a:lnTo>
                    <a:lnTo>
                      <a:pt x="51" y="182"/>
                    </a:lnTo>
                    <a:lnTo>
                      <a:pt x="51" y="177"/>
                    </a:lnTo>
                    <a:lnTo>
                      <a:pt x="45" y="172"/>
                    </a:lnTo>
                    <a:lnTo>
                      <a:pt x="51" y="167"/>
                    </a:lnTo>
                    <a:lnTo>
                      <a:pt x="61" y="167"/>
                    </a:lnTo>
                    <a:lnTo>
                      <a:pt x="61" y="162"/>
                    </a:lnTo>
                    <a:lnTo>
                      <a:pt x="66" y="162"/>
                    </a:lnTo>
                    <a:lnTo>
                      <a:pt x="66" y="157"/>
                    </a:lnTo>
                    <a:lnTo>
                      <a:pt x="71" y="157"/>
                    </a:lnTo>
                    <a:lnTo>
                      <a:pt x="81" y="162"/>
                    </a:lnTo>
                    <a:lnTo>
                      <a:pt x="86" y="157"/>
                    </a:lnTo>
                    <a:lnTo>
                      <a:pt x="81" y="157"/>
                    </a:lnTo>
                    <a:lnTo>
                      <a:pt x="86" y="152"/>
                    </a:lnTo>
                    <a:lnTo>
                      <a:pt x="91" y="152"/>
                    </a:lnTo>
                    <a:lnTo>
                      <a:pt x="91" y="147"/>
                    </a:lnTo>
                    <a:lnTo>
                      <a:pt x="96" y="147"/>
                    </a:lnTo>
                    <a:lnTo>
                      <a:pt x="101" y="147"/>
                    </a:lnTo>
                    <a:lnTo>
                      <a:pt x="106" y="142"/>
                    </a:lnTo>
                    <a:lnTo>
                      <a:pt x="106" y="136"/>
                    </a:lnTo>
                    <a:lnTo>
                      <a:pt x="101" y="136"/>
                    </a:lnTo>
                    <a:lnTo>
                      <a:pt x="101" y="131"/>
                    </a:lnTo>
                    <a:lnTo>
                      <a:pt x="106" y="131"/>
                    </a:lnTo>
                    <a:lnTo>
                      <a:pt x="106" y="126"/>
                    </a:lnTo>
                    <a:lnTo>
                      <a:pt x="111" y="121"/>
                    </a:lnTo>
                    <a:lnTo>
                      <a:pt x="116" y="111"/>
                    </a:lnTo>
                    <a:lnTo>
                      <a:pt x="116" y="106"/>
                    </a:lnTo>
                    <a:lnTo>
                      <a:pt x="116" y="101"/>
                    </a:lnTo>
                    <a:lnTo>
                      <a:pt x="121" y="101"/>
                    </a:lnTo>
                    <a:lnTo>
                      <a:pt x="126" y="101"/>
                    </a:lnTo>
                    <a:lnTo>
                      <a:pt x="141" y="91"/>
                    </a:lnTo>
                    <a:lnTo>
                      <a:pt x="146" y="91"/>
                    </a:lnTo>
                    <a:lnTo>
                      <a:pt x="156" y="86"/>
                    </a:lnTo>
                    <a:lnTo>
                      <a:pt x="156" y="81"/>
                    </a:lnTo>
                    <a:lnTo>
                      <a:pt x="166" y="81"/>
                    </a:lnTo>
                    <a:lnTo>
                      <a:pt x="177" y="81"/>
                    </a:lnTo>
                    <a:lnTo>
                      <a:pt x="182" y="81"/>
                    </a:lnTo>
                    <a:lnTo>
                      <a:pt x="187" y="86"/>
                    </a:lnTo>
                    <a:lnTo>
                      <a:pt x="187" y="91"/>
                    </a:lnTo>
                    <a:lnTo>
                      <a:pt x="192" y="91"/>
                    </a:lnTo>
                    <a:lnTo>
                      <a:pt x="197" y="96"/>
                    </a:lnTo>
                    <a:lnTo>
                      <a:pt x="202" y="96"/>
                    </a:lnTo>
                    <a:lnTo>
                      <a:pt x="212" y="111"/>
                    </a:lnTo>
                    <a:lnTo>
                      <a:pt x="217" y="106"/>
                    </a:lnTo>
                    <a:lnTo>
                      <a:pt x="222" y="101"/>
                    </a:lnTo>
                    <a:lnTo>
                      <a:pt x="227" y="91"/>
                    </a:lnTo>
                    <a:lnTo>
                      <a:pt x="242" y="96"/>
                    </a:lnTo>
                    <a:lnTo>
                      <a:pt x="247" y="96"/>
                    </a:lnTo>
                    <a:lnTo>
                      <a:pt x="257" y="91"/>
                    </a:lnTo>
                    <a:lnTo>
                      <a:pt x="257" y="96"/>
                    </a:lnTo>
                    <a:lnTo>
                      <a:pt x="252" y="96"/>
                    </a:lnTo>
                    <a:lnTo>
                      <a:pt x="257" y="101"/>
                    </a:lnTo>
                    <a:lnTo>
                      <a:pt x="257" y="106"/>
                    </a:lnTo>
                    <a:lnTo>
                      <a:pt x="262" y="106"/>
                    </a:lnTo>
                    <a:lnTo>
                      <a:pt x="267" y="106"/>
                    </a:lnTo>
                    <a:lnTo>
                      <a:pt x="272" y="101"/>
                    </a:lnTo>
                    <a:lnTo>
                      <a:pt x="272" y="91"/>
                    </a:lnTo>
                    <a:lnTo>
                      <a:pt x="277" y="86"/>
                    </a:lnTo>
                    <a:lnTo>
                      <a:pt x="282" y="81"/>
                    </a:lnTo>
                    <a:lnTo>
                      <a:pt x="287" y="76"/>
                    </a:lnTo>
                    <a:lnTo>
                      <a:pt x="303" y="56"/>
                    </a:lnTo>
                    <a:lnTo>
                      <a:pt x="308" y="56"/>
                    </a:lnTo>
                    <a:lnTo>
                      <a:pt x="313" y="51"/>
                    </a:lnTo>
                    <a:lnTo>
                      <a:pt x="318" y="51"/>
                    </a:lnTo>
                    <a:lnTo>
                      <a:pt x="328" y="46"/>
                    </a:lnTo>
                    <a:lnTo>
                      <a:pt x="333" y="46"/>
                    </a:lnTo>
                    <a:lnTo>
                      <a:pt x="343" y="41"/>
                    </a:lnTo>
                    <a:lnTo>
                      <a:pt x="358" y="26"/>
                    </a:lnTo>
                    <a:lnTo>
                      <a:pt x="358" y="21"/>
                    </a:lnTo>
                    <a:lnTo>
                      <a:pt x="363" y="16"/>
                    </a:lnTo>
                    <a:lnTo>
                      <a:pt x="363" y="11"/>
                    </a:lnTo>
                    <a:lnTo>
                      <a:pt x="368" y="11"/>
                    </a:lnTo>
                    <a:lnTo>
                      <a:pt x="373" y="11"/>
                    </a:lnTo>
                    <a:lnTo>
                      <a:pt x="378" y="5"/>
                    </a:lnTo>
                    <a:lnTo>
                      <a:pt x="383" y="0"/>
                    </a:lnTo>
                    <a:lnTo>
                      <a:pt x="388" y="0"/>
                    </a:lnTo>
                    <a:lnTo>
                      <a:pt x="388" y="5"/>
                    </a:lnTo>
                    <a:lnTo>
                      <a:pt x="388" y="11"/>
                    </a:lnTo>
                    <a:lnTo>
                      <a:pt x="388" y="16"/>
                    </a:lnTo>
                    <a:lnTo>
                      <a:pt x="393" y="16"/>
                    </a:lnTo>
                    <a:lnTo>
                      <a:pt x="398" y="21"/>
                    </a:lnTo>
                    <a:lnTo>
                      <a:pt x="403" y="26"/>
                    </a:lnTo>
                    <a:lnTo>
                      <a:pt x="408" y="26"/>
                    </a:lnTo>
                    <a:lnTo>
                      <a:pt x="413" y="26"/>
                    </a:lnTo>
                    <a:lnTo>
                      <a:pt x="418" y="26"/>
                    </a:lnTo>
                    <a:lnTo>
                      <a:pt x="423" y="26"/>
                    </a:lnTo>
                    <a:lnTo>
                      <a:pt x="428" y="26"/>
                    </a:lnTo>
                    <a:lnTo>
                      <a:pt x="428" y="36"/>
                    </a:lnTo>
                    <a:lnTo>
                      <a:pt x="428" y="41"/>
                    </a:lnTo>
                    <a:lnTo>
                      <a:pt x="428" y="46"/>
                    </a:lnTo>
                    <a:lnTo>
                      <a:pt x="434" y="51"/>
                    </a:lnTo>
                    <a:lnTo>
                      <a:pt x="439" y="51"/>
                    </a:lnTo>
                    <a:lnTo>
                      <a:pt x="439" y="56"/>
                    </a:lnTo>
                    <a:lnTo>
                      <a:pt x="459" y="66"/>
                    </a:lnTo>
                    <a:lnTo>
                      <a:pt x="464" y="71"/>
                    </a:lnTo>
                    <a:lnTo>
                      <a:pt x="469" y="71"/>
                    </a:lnTo>
                    <a:lnTo>
                      <a:pt x="484" y="71"/>
                    </a:lnTo>
                    <a:lnTo>
                      <a:pt x="489" y="71"/>
                    </a:lnTo>
                    <a:lnTo>
                      <a:pt x="494" y="71"/>
                    </a:lnTo>
                    <a:lnTo>
                      <a:pt x="499" y="76"/>
                    </a:lnTo>
                    <a:lnTo>
                      <a:pt x="504" y="81"/>
                    </a:lnTo>
                    <a:lnTo>
                      <a:pt x="509" y="81"/>
                    </a:lnTo>
                    <a:lnTo>
                      <a:pt x="514" y="81"/>
                    </a:lnTo>
                    <a:lnTo>
                      <a:pt x="519" y="86"/>
                    </a:lnTo>
                    <a:lnTo>
                      <a:pt x="519" y="91"/>
                    </a:lnTo>
                    <a:lnTo>
                      <a:pt x="524" y="91"/>
                    </a:lnTo>
                    <a:lnTo>
                      <a:pt x="529" y="91"/>
                    </a:lnTo>
                    <a:lnTo>
                      <a:pt x="544" y="106"/>
                    </a:lnTo>
                    <a:lnTo>
                      <a:pt x="544" y="111"/>
                    </a:lnTo>
                    <a:lnTo>
                      <a:pt x="534" y="116"/>
                    </a:lnTo>
                    <a:lnTo>
                      <a:pt x="534" y="121"/>
                    </a:lnTo>
                    <a:lnTo>
                      <a:pt x="539" y="126"/>
                    </a:lnTo>
                    <a:lnTo>
                      <a:pt x="544" y="121"/>
                    </a:lnTo>
                    <a:lnTo>
                      <a:pt x="544" y="126"/>
                    </a:lnTo>
                    <a:lnTo>
                      <a:pt x="539" y="136"/>
                    </a:lnTo>
                    <a:lnTo>
                      <a:pt x="539" y="142"/>
                    </a:lnTo>
                    <a:lnTo>
                      <a:pt x="534" y="136"/>
                    </a:lnTo>
                    <a:lnTo>
                      <a:pt x="534" y="147"/>
                    </a:lnTo>
                    <a:lnTo>
                      <a:pt x="534" y="152"/>
                    </a:lnTo>
                    <a:lnTo>
                      <a:pt x="539" y="152"/>
                    </a:lnTo>
                    <a:lnTo>
                      <a:pt x="539" y="147"/>
                    </a:lnTo>
                    <a:lnTo>
                      <a:pt x="544" y="147"/>
                    </a:lnTo>
                    <a:lnTo>
                      <a:pt x="544" y="152"/>
                    </a:lnTo>
                    <a:lnTo>
                      <a:pt x="554" y="157"/>
                    </a:lnTo>
                    <a:lnTo>
                      <a:pt x="554" y="162"/>
                    </a:lnTo>
                    <a:lnTo>
                      <a:pt x="549" y="167"/>
                    </a:lnTo>
                    <a:lnTo>
                      <a:pt x="549" y="177"/>
                    </a:lnTo>
                    <a:lnTo>
                      <a:pt x="544" y="177"/>
                    </a:lnTo>
                    <a:lnTo>
                      <a:pt x="544" y="182"/>
                    </a:lnTo>
                    <a:lnTo>
                      <a:pt x="549" y="182"/>
                    </a:lnTo>
                    <a:lnTo>
                      <a:pt x="549" y="187"/>
                    </a:lnTo>
                    <a:lnTo>
                      <a:pt x="539" y="187"/>
                    </a:lnTo>
                    <a:lnTo>
                      <a:pt x="539" y="197"/>
                    </a:lnTo>
                    <a:lnTo>
                      <a:pt x="549" y="197"/>
                    </a:lnTo>
                    <a:lnTo>
                      <a:pt x="544" y="207"/>
                    </a:lnTo>
                    <a:lnTo>
                      <a:pt x="539" y="207"/>
                    </a:lnTo>
                    <a:lnTo>
                      <a:pt x="539" y="212"/>
                    </a:lnTo>
                    <a:lnTo>
                      <a:pt x="544" y="212"/>
                    </a:lnTo>
                    <a:lnTo>
                      <a:pt x="544" y="227"/>
                    </a:lnTo>
                    <a:lnTo>
                      <a:pt x="549" y="222"/>
                    </a:lnTo>
                    <a:lnTo>
                      <a:pt x="554" y="227"/>
                    </a:lnTo>
                    <a:lnTo>
                      <a:pt x="549" y="227"/>
                    </a:lnTo>
                    <a:lnTo>
                      <a:pt x="560" y="232"/>
                    </a:lnTo>
                    <a:lnTo>
                      <a:pt x="565" y="257"/>
                    </a:lnTo>
                    <a:lnTo>
                      <a:pt x="575" y="252"/>
                    </a:lnTo>
                    <a:lnTo>
                      <a:pt x="575" y="257"/>
                    </a:lnTo>
                    <a:lnTo>
                      <a:pt x="580" y="262"/>
                    </a:lnTo>
                    <a:lnTo>
                      <a:pt x="575" y="262"/>
                    </a:lnTo>
                    <a:lnTo>
                      <a:pt x="570" y="267"/>
                    </a:lnTo>
                    <a:lnTo>
                      <a:pt x="575" y="273"/>
                    </a:lnTo>
                    <a:lnTo>
                      <a:pt x="570" y="273"/>
                    </a:lnTo>
                    <a:lnTo>
                      <a:pt x="570" y="278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606">
                <a:extLst>
                  <a:ext uri="{FF2B5EF4-FFF2-40B4-BE49-F238E27FC236}">
                    <a16:creationId xmlns:a16="http://schemas.microsoft.com/office/drawing/2014/main" id="{D3146BA7-C099-38A6-B1B3-11EADCE969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694472">
                <a:off x="3187608" y="3649257"/>
                <a:ext cx="1066113" cy="695553"/>
              </a:xfrm>
              <a:custGeom>
                <a:avLst/>
                <a:gdLst>
                  <a:gd name="T0" fmla="*/ 2147483647 w 685"/>
                  <a:gd name="T1" fmla="*/ 2147483647 h 468"/>
                  <a:gd name="T2" fmla="*/ 2147483647 w 685"/>
                  <a:gd name="T3" fmla="*/ 2147483647 h 468"/>
                  <a:gd name="T4" fmla="*/ 2147483647 w 685"/>
                  <a:gd name="T5" fmla="*/ 2147483647 h 468"/>
                  <a:gd name="T6" fmla="*/ 2147483647 w 685"/>
                  <a:gd name="T7" fmla="*/ 2147483647 h 468"/>
                  <a:gd name="T8" fmla="*/ 2147483647 w 685"/>
                  <a:gd name="T9" fmla="*/ 2147483647 h 468"/>
                  <a:gd name="T10" fmla="*/ 2147483647 w 685"/>
                  <a:gd name="T11" fmla="*/ 2147483647 h 468"/>
                  <a:gd name="T12" fmla="*/ 2147483647 w 685"/>
                  <a:gd name="T13" fmla="*/ 2147483647 h 468"/>
                  <a:gd name="T14" fmla="*/ 2147483647 w 685"/>
                  <a:gd name="T15" fmla="*/ 2147483647 h 468"/>
                  <a:gd name="T16" fmla="*/ 2147483647 w 685"/>
                  <a:gd name="T17" fmla="*/ 2147483647 h 468"/>
                  <a:gd name="T18" fmla="*/ 2147483647 w 685"/>
                  <a:gd name="T19" fmla="*/ 2147483647 h 468"/>
                  <a:gd name="T20" fmla="*/ 2147483647 w 685"/>
                  <a:gd name="T21" fmla="*/ 2147483647 h 468"/>
                  <a:gd name="T22" fmla="*/ 2147483647 w 685"/>
                  <a:gd name="T23" fmla="*/ 2147483647 h 468"/>
                  <a:gd name="T24" fmla="*/ 2147483647 w 685"/>
                  <a:gd name="T25" fmla="*/ 2147483647 h 468"/>
                  <a:gd name="T26" fmla="*/ 2147483647 w 685"/>
                  <a:gd name="T27" fmla="*/ 2147483647 h 468"/>
                  <a:gd name="T28" fmla="*/ 2147483647 w 685"/>
                  <a:gd name="T29" fmla="*/ 2147483647 h 468"/>
                  <a:gd name="T30" fmla="*/ 2147483647 w 685"/>
                  <a:gd name="T31" fmla="*/ 2147483647 h 468"/>
                  <a:gd name="T32" fmla="*/ 2147483647 w 685"/>
                  <a:gd name="T33" fmla="*/ 2147483647 h 468"/>
                  <a:gd name="T34" fmla="*/ 2147483647 w 685"/>
                  <a:gd name="T35" fmla="*/ 2147483647 h 468"/>
                  <a:gd name="T36" fmla="*/ 2147483647 w 685"/>
                  <a:gd name="T37" fmla="*/ 2147483647 h 468"/>
                  <a:gd name="T38" fmla="*/ 2147483647 w 685"/>
                  <a:gd name="T39" fmla="*/ 2147483647 h 468"/>
                  <a:gd name="T40" fmla="*/ 2147483647 w 685"/>
                  <a:gd name="T41" fmla="*/ 2147483647 h 468"/>
                  <a:gd name="T42" fmla="*/ 2147483647 w 685"/>
                  <a:gd name="T43" fmla="*/ 2147483647 h 468"/>
                  <a:gd name="T44" fmla="*/ 2147483647 w 685"/>
                  <a:gd name="T45" fmla="*/ 2147483647 h 468"/>
                  <a:gd name="T46" fmla="*/ 2147483647 w 685"/>
                  <a:gd name="T47" fmla="*/ 2147483647 h 468"/>
                  <a:gd name="T48" fmla="*/ 2147483647 w 685"/>
                  <a:gd name="T49" fmla="*/ 2147483647 h 468"/>
                  <a:gd name="T50" fmla="*/ 2147483647 w 685"/>
                  <a:gd name="T51" fmla="*/ 2147483647 h 468"/>
                  <a:gd name="T52" fmla="*/ 2147483647 w 685"/>
                  <a:gd name="T53" fmla="*/ 2147483647 h 468"/>
                  <a:gd name="T54" fmla="*/ 2147483647 w 685"/>
                  <a:gd name="T55" fmla="*/ 2147483647 h 468"/>
                  <a:gd name="T56" fmla="*/ 2147483647 w 685"/>
                  <a:gd name="T57" fmla="*/ 2147483647 h 468"/>
                  <a:gd name="T58" fmla="*/ 2147483647 w 685"/>
                  <a:gd name="T59" fmla="*/ 2147483647 h 468"/>
                  <a:gd name="T60" fmla="*/ 2147483647 w 685"/>
                  <a:gd name="T61" fmla="*/ 2147483647 h 468"/>
                  <a:gd name="T62" fmla="*/ 2147483647 w 685"/>
                  <a:gd name="T63" fmla="*/ 2147483647 h 468"/>
                  <a:gd name="T64" fmla="*/ 2147483647 w 685"/>
                  <a:gd name="T65" fmla="*/ 2147483647 h 468"/>
                  <a:gd name="T66" fmla="*/ 2147483647 w 685"/>
                  <a:gd name="T67" fmla="*/ 2147483647 h 468"/>
                  <a:gd name="T68" fmla="*/ 2147483647 w 685"/>
                  <a:gd name="T69" fmla="*/ 2147483647 h 468"/>
                  <a:gd name="T70" fmla="*/ 2147483647 w 685"/>
                  <a:gd name="T71" fmla="*/ 2147483647 h 468"/>
                  <a:gd name="T72" fmla="*/ 2147483647 w 685"/>
                  <a:gd name="T73" fmla="*/ 2147483647 h 468"/>
                  <a:gd name="T74" fmla="*/ 2147483647 w 685"/>
                  <a:gd name="T75" fmla="*/ 2147483647 h 468"/>
                  <a:gd name="T76" fmla="*/ 2147483647 w 685"/>
                  <a:gd name="T77" fmla="*/ 2147483647 h 468"/>
                  <a:gd name="T78" fmla="*/ 2147483647 w 685"/>
                  <a:gd name="T79" fmla="*/ 2147483647 h 468"/>
                  <a:gd name="T80" fmla="*/ 2147483647 w 685"/>
                  <a:gd name="T81" fmla="*/ 2147483647 h 468"/>
                  <a:gd name="T82" fmla="*/ 2147483647 w 685"/>
                  <a:gd name="T83" fmla="*/ 2147483647 h 468"/>
                  <a:gd name="T84" fmla="*/ 2147483647 w 685"/>
                  <a:gd name="T85" fmla="*/ 2147483647 h 468"/>
                  <a:gd name="T86" fmla="*/ 2147483647 w 685"/>
                  <a:gd name="T87" fmla="*/ 2147483647 h 468"/>
                  <a:gd name="T88" fmla="*/ 2147483647 w 685"/>
                  <a:gd name="T89" fmla="*/ 2147483647 h 468"/>
                  <a:gd name="T90" fmla="*/ 2147483647 w 685"/>
                  <a:gd name="T91" fmla="*/ 2147483647 h 468"/>
                  <a:gd name="T92" fmla="*/ 2147483647 w 685"/>
                  <a:gd name="T93" fmla="*/ 2147483647 h 468"/>
                  <a:gd name="T94" fmla="*/ 2147483647 w 685"/>
                  <a:gd name="T95" fmla="*/ 2147483647 h 468"/>
                  <a:gd name="T96" fmla="*/ 2147483647 w 685"/>
                  <a:gd name="T97" fmla="*/ 2147483647 h 468"/>
                  <a:gd name="T98" fmla="*/ 2147483647 w 685"/>
                  <a:gd name="T99" fmla="*/ 2147483647 h 468"/>
                  <a:gd name="T100" fmla="*/ 2147483647 w 685"/>
                  <a:gd name="T101" fmla="*/ 2147483647 h 468"/>
                  <a:gd name="T102" fmla="*/ 2147483647 w 685"/>
                  <a:gd name="T103" fmla="*/ 2147483647 h 468"/>
                  <a:gd name="T104" fmla="*/ 2147483647 w 685"/>
                  <a:gd name="T105" fmla="*/ 2147483647 h 468"/>
                  <a:gd name="T106" fmla="*/ 2147483647 w 685"/>
                  <a:gd name="T107" fmla="*/ 2147483647 h 468"/>
                  <a:gd name="T108" fmla="*/ 2147483647 w 685"/>
                  <a:gd name="T109" fmla="*/ 2147483647 h 468"/>
                  <a:gd name="T110" fmla="*/ 2147483647 w 685"/>
                  <a:gd name="T111" fmla="*/ 2147483647 h 468"/>
                  <a:gd name="T112" fmla="*/ 2147483647 w 685"/>
                  <a:gd name="T113" fmla="*/ 2147483647 h 468"/>
                  <a:gd name="T114" fmla="*/ 2147483647 w 685"/>
                  <a:gd name="T115" fmla="*/ 2147483647 h 468"/>
                  <a:gd name="T116" fmla="*/ 2147483647 w 685"/>
                  <a:gd name="T117" fmla="*/ 2147483647 h 468"/>
                  <a:gd name="T118" fmla="*/ 2147483647 w 685"/>
                  <a:gd name="T119" fmla="*/ 2147483647 h 468"/>
                  <a:gd name="T120" fmla="*/ 2147483647 w 685"/>
                  <a:gd name="T121" fmla="*/ 2147483647 h 4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85"/>
                  <a:gd name="T184" fmla="*/ 0 h 468"/>
                  <a:gd name="T185" fmla="*/ 685 w 685"/>
                  <a:gd name="T186" fmla="*/ 468 h 4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85" h="468">
                    <a:moveTo>
                      <a:pt x="45" y="393"/>
                    </a:moveTo>
                    <a:lnTo>
                      <a:pt x="45" y="388"/>
                    </a:lnTo>
                    <a:lnTo>
                      <a:pt x="50" y="388"/>
                    </a:lnTo>
                    <a:lnTo>
                      <a:pt x="50" y="383"/>
                    </a:lnTo>
                    <a:lnTo>
                      <a:pt x="55" y="383"/>
                    </a:lnTo>
                    <a:lnTo>
                      <a:pt x="61" y="378"/>
                    </a:lnTo>
                    <a:lnTo>
                      <a:pt x="66" y="383"/>
                    </a:lnTo>
                    <a:lnTo>
                      <a:pt x="81" y="383"/>
                    </a:lnTo>
                    <a:lnTo>
                      <a:pt x="86" y="378"/>
                    </a:lnTo>
                    <a:lnTo>
                      <a:pt x="91" y="373"/>
                    </a:lnTo>
                    <a:lnTo>
                      <a:pt x="106" y="368"/>
                    </a:lnTo>
                    <a:lnTo>
                      <a:pt x="111" y="368"/>
                    </a:lnTo>
                    <a:lnTo>
                      <a:pt x="111" y="373"/>
                    </a:lnTo>
                    <a:lnTo>
                      <a:pt x="106" y="373"/>
                    </a:lnTo>
                    <a:lnTo>
                      <a:pt x="111" y="373"/>
                    </a:lnTo>
                    <a:lnTo>
                      <a:pt x="116" y="373"/>
                    </a:lnTo>
                    <a:lnTo>
                      <a:pt x="121" y="368"/>
                    </a:lnTo>
                    <a:lnTo>
                      <a:pt x="126" y="368"/>
                    </a:lnTo>
                    <a:lnTo>
                      <a:pt x="131" y="368"/>
                    </a:lnTo>
                    <a:lnTo>
                      <a:pt x="136" y="368"/>
                    </a:lnTo>
                    <a:lnTo>
                      <a:pt x="141" y="368"/>
                    </a:lnTo>
                    <a:lnTo>
                      <a:pt x="146" y="368"/>
                    </a:lnTo>
                    <a:lnTo>
                      <a:pt x="151" y="363"/>
                    </a:lnTo>
                    <a:lnTo>
                      <a:pt x="156" y="358"/>
                    </a:lnTo>
                    <a:lnTo>
                      <a:pt x="151" y="358"/>
                    </a:lnTo>
                    <a:lnTo>
                      <a:pt x="151" y="353"/>
                    </a:lnTo>
                    <a:lnTo>
                      <a:pt x="151" y="358"/>
                    </a:lnTo>
                    <a:lnTo>
                      <a:pt x="146" y="358"/>
                    </a:lnTo>
                    <a:lnTo>
                      <a:pt x="141" y="363"/>
                    </a:lnTo>
                    <a:lnTo>
                      <a:pt x="141" y="368"/>
                    </a:lnTo>
                    <a:lnTo>
                      <a:pt x="136" y="368"/>
                    </a:lnTo>
                    <a:lnTo>
                      <a:pt x="131" y="368"/>
                    </a:lnTo>
                    <a:lnTo>
                      <a:pt x="131" y="363"/>
                    </a:lnTo>
                    <a:lnTo>
                      <a:pt x="136" y="363"/>
                    </a:lnTo>
                    <a:lnTo>
                      <a:pt x="136" y="358"/>
                    </a:lnTo>
                    <a:lnTo>
                      <a:pt x="141" y="358"/>
                    </a:lnTo>
                    <a:lnTo>
                      <a:pt x="136" y="353"/>
                    </a:lnTo>
                    <a:lnTo>
                      <a:pt x="136" y="358"/>
                    </a:lnTo>
                    <a:lnTo>
                      <a:pt x="131" y="358"/>
                    </a:lnTo>
                    <a:lnTo>
                      <a:pt x="126" y="358"/>
                    </a:lnTo>
                    <a:lnTo>
                      <a:pt x="126" y="353"/>
                    </a:lnTo>
                    <a:lnTo>
                      <a:pt x="126" y="348"/>
                    </a:lnTo>
                    <a:lnTo>
                      <a:pt x="131" y="348"/>
                    </a:lnTo>
                    <a:lnTo>
                      <a:pt x="126" y="348"/>
                    </a:lnTo>
                    <a:lnTo>
                      <a:pt x="126" y="342"/>
                    </a:lnTo>
                    <a:lnTo>
                      <a:pt x="121" y="342"/>
                    </a:lnTo>
                    <a:lnTo>
                      <a:pt x="116" y="342"/>
                    </a:lnTo>
                    <a:lnTo>
                      <a:pt x="116" y="337"/>
                    </a:lnTo>
                    <a:lnTo>
                      <a:pt x="116" y="342"/>
                    </a:lnTo>
                    <a:lnTo>
                      <a:pt x="111" y="342"/>
                    </a:lnTo>
                    <a:lnTo>
                      <a:pt x="111" y="348"/>
                    </a:lnTo>
                    <a:lnTo>
                      <a:pt x="106" y="348"/>
                    </a:lnTo>
                    <a:lnTo>
                      <a:pt x="101" y="353"/>
                    </a:lnTo>
                    <a:lnTo>
                      <a:pt x="101" y="358"/>
                    </a:lnTo>
                    <a:lnTo>
                      <a:pt x="96" y="358"/>
                    </a:lnTo>
                    <a:lnTo>
                      <a:pt x="96" y="353"/>
                    </a:lnTo>
                    <a:lnTo>
                      <a:pt x="91" y="348"/>
                    </a:lnTo>
                    <a:lnTo>
                      <a:pt x="86" y="342"/>
                    </a:lnTo>
                    <a:lnTo>
                      <a:pt x="76" y="348"/>
                    </a:lnTo>
                    <a:lnTo>
                      <a:pt x="76" y="342"/>
                    </a:lnTo>
                    <a:lnTo>
                      <a:pt x="71" y="342"/>
                    </a:lnTo>
                    <a:lnTo>
                      <a:pt x="66" y="342"/>
                    </a:lnTo>
                    <a:lnTo>
                      <a:pt x="61" y="337"/>
                    </a:lnTo>
                    <a:lnTo>
                      <a:pt x="66" y="337"/>
                    </a:lnTo>
                    <a:lnTo>
                      <a:pt x="71" y="332"/>
                    </a:lnTo>
                    <a:lnTo>
                      <a:pt x="76" y="327"/>
                    </a:lnTo>
                    <a:lnTo>
                      <a:pt x="76" y="312"/>
                    </a:lnTo>
                    <a:lnTo>
                      <a:pt x="71" y="312"/>
                    </a:lnTo>
                    <a:lnTo>
                      <a:pt x="71" y="307"/>
                    </a:lnTo>
                    <a:lnTo>
                      <a:pt x="81" y="307"/>
                    </a:lnTo>
                    <a:lnTo>
                      <a:pt x="86" y="302"/>
                    </a:lnTo>
                    <a:lnTo>
                      <a:pt x="86" y="297"/>
                    </a:lnTo>
                    <a:lnTo>
                      <a:pt x="96" y="292"/>
                    </a:lnTo>
                    <a:lnTo>
                      <a:pt x="91" y="282"/>
                    </a:lnTo>
                    <a:lnTo>
                      <a:pt x="96" y="282"/>
                    </a:lnTo>
                    <a:lnTo>
                      <a:pt x="96" y="277"/>
                    </a:lnTo>
                    <a:lnTo>
                      <a:pt x="91" y="277"/>
                    </a:lnTo>
                    <a:lnTo>
                      <a:pt x="121" y="282"/>
                    </a:lnTo>
                    <a:lnTo>
                      <a:pt x="121" y="277"/>
                    </a:lnTo>
                    <a:lnTo>
                      <a:pt x="116" y="272"/>
                    </a:lnTo>
                    <a:lnTo>
                      <a:pt x="131" y="262"/>
                    </a:lnTo>
                    <a:lnTo>
                      <a:pt x="136" y="267"/>
                    </a:lnTo>
                    <a:lnTo>
                      <a:pt x="146" y="267"/>
                    </a:lnTo>
                    <a:lnTo>
                      <a:pt x="141" y="247"/>
                    </a:lnTo>
                    <a:lnTo>
                      <a:pt x="151" y="247"/>
                    </a:lnTo>
                    <a:lnTo>
                      <a:pt x="156" y="252"/>
                    </a:lnTo>
                    <a:lnTo>
                      <a:pt x="166" y="252"/>
                    </a:lnTo>
                    <a:lnTo>
                      <a:pt x="171" y="247"/>
                    </a:lnTo>
                    <a:lnTo>
                      <a:pt x="176" y="257"/>
                    </a:lnTo>
                    <a:lnTo>
                      <a:pt x="181" y="252"/>
                    </a:lnTo>
                    <a:lnTo>
                      <a:pt x="187" y="252"/>
                    </a:lnTo>
                    <a:lnTo>
                      <a:pt x="192" y="252"/>
                    </a:lnTo>
                    <a:lnTo>
                      <a:pt x="192" y="247"/>
                    </a:lnTo>
                    <a:lnTo>
                      <a:pt x="197" y="242"/>
                    </a:lnTo>
                    <a:lnTo>
                      <a:pt x="212" y="237"/>
                    </a:lnTo>
                    <a:lnTo>
                      <a:pt x="222" y="232"/>
                    </a:lnTo>
                    <a:lnTo>
                      <a:pt x="217" y="232"/>
                    </a:lnTo>
                    <a:lnTo>
                      <a:pt x="212" y="232"/>
                    </a:lnTo>
                    <a:lnTo>
                      <a:pt x="207" y="227"/>
                    </a:lnTo>
                    <a:lnTo>
                      <a:pt x="197" y="232"/>
                    </a:lnTo>
                    <a:lnTo>
                      <a:pt x="192" y="232"/>
                    </a:lnTo>
                    <a:lnTo>
                      <a:pt x="197" y="227"/>
                    </a:lnTo>
                    <a:lnTo>
                      <a:pt x="212" y="216"/>
                    </a:lnTo>
                    <a:lnTo>
                      <a:pt x="207" y="211"/>
                    </a:lnTo>
                    <a:lnTo>
                      <a:pt x="217" y="211"/>
                    </a:lnTo>
                    <a:lnTo>
                      <a:pt x="212" y="206"/>
                    </a:lnTo>
                    <a:lnTo>
                      <a:pt x="207" y="206"/>
                    </a:lnTo>
                    <a:lnTo>
                      <a:pt x="207" y="201"/>
                    </a:lnTo>
                    <a:lnTo>
                      <a:pt x="202" y="201"/>
                    </a:lnTo>
                    <a:lnTo>
                      <a:pt x="207" y="191"/>
                    </a:lnTo>
                    <a:lnTo>
                      <a:pt x="222" y="196"/>
                    </a:lnTo>
                    <a:lnTo>
                      <a:pt x="222" y="181"/>
                    </a:lnTo>
                    <a:lnTo>
                      <a:pt x="192" y="171"/>
                    </a:lnTo>
                    <a:lnTo>
                      <a:pt x="187" y="166"/>
                    </a:lnTo>
                    <a:lnTo>
                      <a:pt x="187" y="161"/>
                    </a:lnTo>
                    <a:lnTo>
                      <a:pt x="192" y="156"/>
                    </a:lnTo>
                    <a:lnTo>
                      <a:pt x="192" y="151"/>
                    </a:lnTo>
                    <a:lnTo>
                      <a:pt x="192" y="141"/>
                    </a:lnTo>
                    <a:lnTo>
                      <a:pt x="197" y="141"/>
                    </a:lnTo>
                    <a:lnTo>
                      <a:pt x="202" y="146"/>
                    </a:lnTo>
                    <a:lnTo>
                      <a:pt x="207" y="146"/>
                    </a:lnTo>
                    <a:lnTo>
                      <a:pt x="207" y="141"/>
                    </a:lnTo>
                    <a:lnTo>
                      <a:pt x="207" y="136"/>
                    </a:lnTo>
                    <a:lnTo>
                      <a:pt x="212" y="131"/>
                    </a:lnTo>
                    <a:lnTo>
                      <a:pt x="217" y="131"/>
                    </a:lnTo>
                    <a:lnTo>
                      <a:pt x="217" y="136"/>
                    </a:lnTo>
                    <a:lnTo>
                      <a:pt x="222" y="136"/>
                    </a:lnTo>
                    <a:lnTo>
                      <a:pt x="222" y="131"/>
                    </a:lnTo>
                    <a:lnTo>
                      <a:pt x="217" y="126"/>
                    </a:lnTo>
                    <a:lnTo>
                      <a:pt x="227" y="121"/>
                    </a:lnTo>
                    <a:lnTo>
                      <a:pt x="217" y="116"/>
                    </a:lnTo>
                    <a:lnTo>
                      <a:pt x="212" y="111"/>
                    </a:lnTo>
                    <a:lnTo>
                      <a:pt x="207" y="111"/>
                    </a:lnTo>
                    <a:lnTo>
                      <a:pt x="207" y="106"/>
                    </a:lnTo>
                    <a:lnTo>
                      <a:pt x="202" y="101"/>
                    </a:lnTo>
                    <a:lnTo>
                      <a:pt x="207" y="96"/>
                    </a:lnTo>
                    <a:lnTo>
                      <a:pt x="202" y="85"/>
                    </a:lnTo>
                    <a:lnTo>
                      <a:pt x="187" y="91"/>
                    </a:lnTo>
                    <a:lnTo>
                      <a:pt x="181" y="75"/>
                    </a:lnTo>
                    <a:lnTo>
                      <a:pt x="187" y="75"/>
                    </a:lnTo>
                    <a:lnTo>
                      <a:pt x="181" y="65"/>
                    </a:lnTo>
                    <a:lnTo>
                      <a:pt x="187" y="65"/>
                    </a:lnTo>
                    <a:lnTo>
                      <a:pt x="192" y="80"/>
                    </a:lnTo>
                    <a:lnTo>
                      <a:pt x="202" y="75"/>
                    </a:lnTo>
                    <a:lnTo>
                      <a:pt x="197" y="60"/>
                    </a:lnTo>
                    <a:lnTo>
                      <a:pt x="192" y="55"/>
                    </a:lnTo>
                    <a:lnTo>
                      <a:pt x="197" y="50"/>
                    </a:lnTo>
                    <a:lnTo>
                      <a:pt x="192" y="45"/>
                    </a:lnTo>
                    <a:lnTo>
                      <a:pt x="187" y="50"/>
                    </a:lnTo>
                    <a:lnTo>
                      <a:pt x="181" y="50"/>
                    </a:lnTo>
                    <a:lnTo>
                      <a:pt x="181" y="40"/>
                    </a:lnTo>
                    <a:lnTo>
                      <a:pt x="181" y="35"/>
                    </a:lnTo>
                    <a:lnTo>
                      <a:pt x="192" y="35"/>
                    </a:lnTo>
                    <a:lnTo>
                      <a:pt x="197" y="35"/>
                    </a:lnTo>
                    <a:lnTo>
                      <a:pt x="202" y="35"/>
                    </a:lnTo>
                    <a:lnTo>
                      <a:pt x="207" y="35"/>
                    </a:lnTo>
                    <a:lnTo>
                      <a:pt x="207" y="40"/>
                    </a:lnTo>
                    <a:lnTo>
                      <a:pt x="212" y="40"/>
                    </a:lnTo>
                    <a:lnTo>
                      <a:pt x="217" y="35"/>
                    </a:lnTo>
                    <a:lnTo>
                      <a:pt x="217" y="40"/>
                    </a:lnTo>
                    <a:lnTo>
                      <a:pt x="217" y="45"/>
                    </a:lnTo>
                    <a:lnTo>
                      <a:pt x="222" y="45"/>
                    </a:lnTo>
                    <a:lnTo>
                      <a:pt x="227" y="45"/>
                    </a:lnTo>
                    <a:lnTo>
                      <a:pt x="227" y="50"/>
                    </a:lnTo>
                    <a:lnTo>
                      <a:pt x="232" y="40"/>
                    </a:lnTo>
                    <a:lnTo>
                      <a:pt x="227" y="40"/>
                    </a:lnTo>
                    <a:lnTo>
                      <a:pt x="242" y="30"/>
                    </a:lnTo>
                    <a:lnTo>
                      <a:pt x="252" y="20"/>
                    </a:lnTo>
                    <a:lnTo>
                      <a:pt x="247" y="15"/>
                    </a:lnTo>
                    <a:lnTo>
                      <a:pt x="257" y="10"/>
                    </a:lnTo>
                    <a:lnTo>
                      <a:pt x="262" y="5"/>
                    </a:lnTo>
                    <a:lnTo>
                      <a:pt x="267" y="5"/>
                    </a:lnTo>
                    <a:lnTo>
                      <a:pt x="272" y="10"/>
                    </a:lnTo>
                    <a:lnTo>
                      <a:pt x="267" y="10"/>
                    </a:lnTo>
                    <a:lnTo>
                      <a:pt x="272" y="25"/>
                    </a:lnTo>
                    <a:lnTo>
                      <a:pt x="277" y="25"/>
                    </a:lnTo>
                    <a:lnTo>
                      <a:pt x="277" y="20"/>
                    </a:lnTo>
                    <a:lnTo>
                      <a:pt x="282" y="30"/>
                    </a:lnTo>
                    <a:lnTo>
                      <a:pt x="333" y="5"/>
                    </a:lnTo>
                    <a:lnTo>
                      <a:pt x="338" y="5"/>
                    </a:lnTo>
                    <a:lnTo>
                      <a:pt x="343" y="15"/>
                    </a:lnTo>
                    <a:lnTo>
                      <a:pt x="348" y="15"/>
                    </a:lnTo>
                    <a:lnTo>
                      <a:pt x="353" y="15"/>
                    </a:lnTo>
                    <a:lnTo>
                      <a:pt x="358" y="15"/>
                    </a:lnTo>
                    <a:lnTo>
                      <a:pt x="368" y="10"/>
                    </a:lnTo>
                    <a:lnTo>
                      <a:pt x="383" y="5"/>
                    </a:lnTo>
                    <a:lnTo>
                      <a:pt x="383" y="0"/>
                    </a:lnTo>
                    <a:lnTo>
                      <a:pt x="388" y="0"/>
                    </a:lnTo>
                    <a:lnTo>
                      <a:pt x="398" y="10"/>
                    </a:lnTo>
                    <a:lnTo>
                      <a:pt x="403" y="25"/>
                    </a:lnTo>
                    <a:lnTo>
                      <a:pt x="408" y="30"/>
                    </a:lnTo>
                    <a:lnTo>
                      <a:pt x="413" y="35"/>
                    </a:lnTo>
                    <a:lnTo>
                      <a:pt x="418" y="45"/>
                    </a:lnTo>
                    <a:lnTo>
                      <a:pt x="418" y="40"/>
                    </a:lnTo>
                    <a:lnTo>
                      <a:pt x="423" y="35"/>
                    </a:lnTo>
                    <a:lnTo>
                      <a:pt x="428" y="35"/>
                    </a:lnTo>
                    <a:lnTo>
                      <a:pt x="433" y="35"/>
                    </a:lnTo>
                    <a:lnTo>
                      <a:pt x="428" y="30"/>
                    </a:lnTo>
                    <a:lnTo>
                      <a:pt x="433" y="30"/>
                    </a:lnTo>
                    <a:lnTo>
                      <a:pt x="433" y="25"/>
                    </a:lnTo>
                    <a:lnTo>
                      <a:pt x="444" y="15"/>
                    </a:lnTo>
                    <a:lnTo>
                      <a:pt x="449" y="15"/>
                    </a:lnTo>
                    <a:lnTo>
                      <a:pt x="449" y="20"/>
                    </a:lnTo>
                    <a:lnTo>
                      <a:pt x="444" y="20"/>
                    </a:lnTo>
                    <a:lnTo>
                      <a:pt x="449" y="30"/>
                    </a:lnTo>
                    <a:lnTo>
                      <a:pt x="454" y="30"/>
                    </a:lnTo>
                    <a:lnTo>
                      <a:pt x="459" y="35"/>
                    </a:lnTo>
                    <a:lnTo>
                      <a:pt x="454" y="40"/>
                    </a:lnTo>
                    <a:lnTo>
                      <a:pt x="469" y="70"/>
                    </a:lnTo>
                    <a:lnTo>
                      <a:pt x="469" y="75"/>
                    </a:lnTo>
                    <a:lnTo>
                      <a:pt x="474" y="70"/>
                    </a:lnTo>
                    <a:lnTo>
                      <a:pt x="484" y="91"/>
                    </a:lnTo>
                    <a:lnTo>
                      <a:pt x="489" y="91"/>
                    </a:lnTo>
                    <a:lnTo>
                      <a:pt x="494" y="96"/>
                    </a:lnTo>
                    <a:lnTo>
                      <a:pt x="499" y="101"/>
                    </a:lnTo>
                    <a:lnTo>
                      <a:pt x="509" y="96"/>
                    </a:lnTo>
                    <a:lnTo>
                      <a:pt x="514" y="101"/>
                    </a:lnTo>
                    <a:lnTo>
                      <a:pt x="519" y="101"/>
                    </a:lnTo>
                    <a:lnTo>
                      <a:pt x="529" y="116"/>
                    </a:lnTo>
                    <a:lnTo>
                      <a:pt x="539" y="111"/>
                    </a:lnTo>
                    <a:lnTo>
                      <a:pt x="549" y="126"/>
                    </a:lnTo>
                    <a:lnTo>
                      <a:pt x="539" y="131"/>
                    </a:lnTo>
                    <a:lnTo>
                      <a:pt x="539" y="151"/>
                    </a:lnTo>
                    <a:lnTo>
                      <a:pt x="524" y="161"/>
                    </a:lnTo>
                    <a:lnTo>
                      <a:pt x="529" y="171"/>
                    </a:lnTo>
                    <a:lnTo>
                      <a:pt x="534" y="171"/>
                    </a:lnTo>
                    <a:lnTo>
                      <a:pt x="539" y="171"/>
                    </a:lnTo>
                    <a:lnTo>
                      <a:pt x="544" y="166"/>
                    </a:lnTo>
                    <a:lnTo>
                      <a:pt x="554" y="181"/>
                    </a:lnTo>
                    <a:lnTo>
                      <a:pt x="549" y="186"/>
                    </a:lnTo>
                    <a:lnTo>
                      <a:pt x="554" y="196"/>
                    </a:lnTo>
                    <a:lnTo>
                      <a:pt x="554" y="191"/>
                    </a:lnTo>
                    <a:lnTo>
                      <a:pt x="559" y="201"/>
                    </a:lnTo>
                    <a:lnTo>
                      <a:pt x="585" y="191"/>
                    </a:lnTo>
                    <a:lnTo>
                      <a:pt x="590" y="196"/>
                    </a:lnTo>
                    <a:lnTo>
                      <a:pt x="585" y="196"/>
                    </a:lnTo>
                    <a:lnTo>
                      <a:pt x="590" y="201"/>
                    </a:lnTo>
                    <a:lnTo>
                      <a:pt x="600" y="201"/>
                    </a:lnTo>
                    <a:lnTo>
                      <a:pt x="610" y="201"/>
                    </a:lnTo>
                    <a:lnTo>
                      <a:pt x="620" y="196"/>
                    </a:lnTo>
                    <a:lnTo>
                      <a:pt x="630" y="222"/>
                    </a:lnTo>
                    <a:lnTo>
                      <a:pt x="630" y="227"/>
                    </a:lnTo>
                    <a:lnTo>
                      <a:pt x="640" y="247"/>
                    </a:lnTo>
                    <a:lnTo>
                      <a:pt x="645" y="242"/>
                    </a:lnTo>
                    <a:lnTo>
                      <a:pt x="650" y="242"/>
                    </a:lnTo>
                    <a:lnTo>
                      <a:pt x="645" y="247"/>
                    </a:lnTo>
                    <a:lnTo>
                      <a:pt x="645" y="252"/>
                    </a:lnTo>
                    <a:lnTo>
                      <a:pt x="640" y="257"/>
                    </a:lnTo>
                    <a:lnTo>
                      <a:pt x="635" y="262"/>
                    </a:lnTo>
                    <a:lnTo>
                      <a:pt x="630" y="262"/>
                    </a:lnTo>
                    <a:lnTo>
                      <a:pt x="625" y="267"/>
                    </a:lnTo>
                    <a:lnTo>
                      <a:pt x="620" y="267"/>
                    </a:lnTo>
                    <a:lnTo>
                      <a:pt x="615" y="272"/>
                    </a:lnTo>
                    <a:lnTo>
                      <a:pt x="610" y="277"/>
                    </a:lnTo>
                    <a:lnTo>
                      <a:pt x="610" y="282"/>
                    </a:lnTo>
                    <a:lnTo>
                      <a:pt x="605" y="287"/>
                    </a:lnTo>
                    <a:lnTo>
                      <a:pt x="605" y="292"/>
                    </a:lnTo>
                    <a:lnTo>
                      <a:pt x="605" y="297"/>
                    </a:lnTo>
                    <a:lnTo>
                      <a:pt x="610" y="297"/>
                    </a:lnTo>
                    <a:lnTo>
                      <a:pt x="610" y="302"/>
                    </a:lnTo>
                    <a:lnTo>
                      <a:pt x="605" y="302"/>
                    </a:lnTo>
                    <a:lnTo>
                      <a:pt x="605" y="297"/>
                    </a:lnTo>
                    <a:lnTo>
                      <a:pt x="600" y="297"/>
                    </a:lnTo>
                    <a:lnTo>
                      <a:pt x="595" y="297"/>
                    </a:lnTo>
                    <a:lnTo>
                      <a:pt x="595" y="302"/>
                    </a:lnTo>
                    <a:lnTo>
                      <a:pt x="585" y="297"/>
                    </a:lnTo>
                    <a:lnTo>
                      <a:pt x="585" y="302"/>
                    </a:lnTo>
                    <a:lnTo>
                      <a:pt x="580" y="302"/>
                    </a:lnTo>
                    <a:lnTo>
                      <a:pt x="575" y="307"/>
                    </a:lnTo>
                    <a:lnTo>
                      <a:pt x="575" y="312"/>
                    </a:lnTo>
                    <a:lnTo>
                      <a:pt x="580" y="322"/>
                    </a:lnTo>
                    <a:lnTo>
                      <a:pt x="585" y="322"/>
                    </a:lnTo>
                    <a:lnTo>
                      <a:pt x="585" y="327"/>
                    </a:lnTo>
                    <a:lnTo>
                      <a:pt x="585" y="332"/>
                    </a:lnTo>
                    <a:lnTo>
                      <a:pt x="585" y="342"/>
                    </a:lnTo>
                    <a:lnTo>
                      <a:pt x="585" y="348"/>
                    </a:lnTo>
                    <a:lnTo>
                      <a:pt x="580" y="348"/>
                    </a:lnTo>
                    <a:lnTo>
                      <a:pt x="575" y="353"/>
                    </a:lnTo>
                    <a:lnTo>
                      <a:pt x="575" y="358"/>
                    </a:lnTo>
                    <a:lnTo>
                      <a:pt x="570" y="358"/>
                    </a:lnTo>
                    <a:lnTo>
                      <a:pt x="570" y="363"/>
                    </a:lnTo>
                    <a:lnTo>
                      <a:pt x="570" y="368"/>
                    </a:lnTo>
                    <a:lnTo>
                      <a:pt x="570" y="373"/>
                    </a:lnTo>
                    <a:lnTo>
                      <a:pt x="565" y="373"/>
                    </a:lnTo>
                    <a:lnTo>
                      <a:pt x="565" y="363"/>
                    </a:lnTo>
                    <a:lnTo>
                      <a:pt x="565" y="358"/>
                    </a:lnTo>
                    <a:lnTo>
                      <a:pt x="559" y="358"/>
                    </a:lnTo>
                    <a:lnTo>
                      <a:pt x="554" y="358"/>
                    </a:lnTo>
                    <a:lnTo>
                      <a:pt x="549" y="358"/>
                    </a:lnTo>
                    <a:lnTo>
                      <a:pt x="549" y="353"/>
                    </a:lnTo>
                    <a:lnTo>
                      <a:pt x="554" y="348"/>
                    </a:lnTo>
                    <a:lnTo>
                      <a:pt x="559" y="353"/>
                    </a:lnTo>
                    <a:lnTo>
                      <a:pt x="554" y="353"/>
                    </a:lnTo>
                    <a:lnTo>
                      <a:pt x="559" y="353"/>
                    </a:lnTo>
                    <a:lnTo>
                      <a:pt x="559" y="348"/>
                    </a:lnTo>
                    <a:lnTo>
                      <a:pt x="554" y="348"/>
                    </a:lnTo>
                    <a:lnTo>
                      <a:pt x="549" y="342"/>
                    </a:lnTo>
                    <a:lnTo>
                      <a:pt x="549" y="337"/>
                    </a:lnTo>
                    <a:lnTo>
                      <a:pt x="549" y="332"/>
                    </a:lnTo>
                    <a:lnTo>
                      <a:pt x="554" y="327"/>
                    </a:lnTo>
                    <a:lnTo>
                      <a:pt x="549" y="327"/>
                    </a:lnTo>
                    <a:lnTo>
                      <a:pt x="554" y="327"/>
                    </a:lnTo>
                    <a:lnTo>
                      <a:pt x="554" y="332"/>
                    </a:lnTo>
                    <a:lnTo>
                      <a:pt x="554" y="337"/>
                    </a:lnTo>
                    <a:lnTo>
                      <a:pt x="559" y="337"/>
                    </a:lnTo>
                    <a:lnTo>
                      <a:pt x="559" y="332"/>
                    </a:lnTo>
                    <a:lnTo>
                      <a:pt x="559" y="327"/>
                    </a:lnTo>
                    <a:lnTo>
                      <a:pt x="559" y="322"/>
                    </a:lnTo>
                    <a:lnTo>
                      <a:pt x="565" y="322"/>
                    </a:lnTo>
                    <a:lnTo>
                      <a:pt x="565" y="327"/>
                    </a:lnTo>
                    <a:lnTo>
                      <a:pt x="570" y="327"/>
                    </a:lnTo>
                    <a:lnTo>
                      <a:pt x="570" y="332"/>
                    </a:lnTo>
                    <a:lnTo>
                      <a:pt x="575" y="332"/>
                    </a:lnTo>
                    <a:lnTo>
                      <a:pt x="570" y="327"/>
                    </a:lnTo>
                    <a:lnTo>
                      <a:pt x="575" y="322"/>
                    </a:lnTo>
                    <a:lnTo>
                      <a:pt x="570" y="317"/>
                    </a:lnTo>
                    <a:lnTo>
                      <a:pt x="570" y="312"/>
                    </a:lnTo>
                    <a:lnTo>
                      <a:pt x="570" y="307"/>
                    </a:lnTo>
                    <a:lnTo>
                      <a:pt x="565" y="307"/>
                    </a:lnTo>
                    <a:lnTo>
                      <a:pt x="559" y="307"/>
                    </a:lnTo>
                    <a:lnTo>
                      <a:pt x="554" y="307"/>
                    </a:lnTo>
                    <a:lnTo>
                      <a:pt x="554" y="312"/>
                    </a:lnTo>
                    <a:lnTo>
                      <a:pt x="559" y="317"/>
                    </a:lnTo>
                    <a:lnTo>
                      <a:pt x="554" y="317"/>
                    </a:lnTo>
                    <a:lnTo>
                      <a:pt x="559" y="317"/>
                    </a:lnTo>
                    <a:lnTo>
                      <a:pt x="554" y="317"/>
                    </a:lnTo>
                    <a:lnTo>
                      <a:pt x="554" y="322"/>
                    </a:lnTo>
                    <a:lnTo>
                      <a:pt x="549" y="322"/>
                    </a:lnTo>
                    <a:lnTo>
                      <a:pt x="544" y="322"/>
                    </a:lnTo>
                    <a:lnTo>
                      <a:pt x="539" y="322"/>
                    </a:lnTo>
                    <a:lnTo>
                      <a:pt x="539" y="317"/>
                    </a:lnTo>
                    <a:lnTo>
                      <a:pt x="534" y="317"/>
                    </a:lnTo>
                    <a:lnTo>
                      <a:pt x="529" y="317"/>
                    </a:lnTo>
                    <a:lnTo>
                      <a:pt x="524" y="317"/>
                    </a:lnTo>
                    <a:lnTo>
                      <a:pt x="519" y="317"/>
                    </a:lnTo>
                    <a:lnTo>
                      <a:pt x="519" y="312"/>
                    </a:lnTo>
                    <a:lnTo>
                      <a:pt x="519" y="307"/>
                    </a:lnTo>
                    <a:lnTo>
                      <a:pt x="514" y="307"/>
                    </a:lnTo>
                    <a:lnTo>
                      <a:pt x="514" y="302"/>
                    </a:lnTo>
                    <a:lnTo>
                      <a:pt x="509" y="302"/>
                    </a:lnTo>
                    <a:lnTo>
                      <a:pt x="509" y="307"/>
                    </a:lnTo>
                    <a:lnTo>
                      <a:pt x="514" y="307"/>
                    </a:lnTo>
                    <a:lnTo>
                      <a:pt x="514" y="312"/>
                    </a:lnTo>
                    <a:lnTo>
                      <a:pt x="514" y="317"/>
                    </a:lnTo>
                    <a:lnTo>
                      <a:pt x="514" y="322"/>
                    </a:lnTo>
                    <a:lnTo>
                      <a:pt x="514" y="317"/>
                    </a:lnTo>
                    <a:lnTo>
                      <a:pt x="509" y="317"/>
                    </a:lnTo>
                    <a:lnTo>
                      <a:pt x="509" y="322"/>
                    </a:lnTo>
                    <a:lnTo>
                      <a:pt x="514" y="322"/>
                    </a:lnTo>
                    <a:lnTo>
                      <a:pt x="519" y="327"/>
                    </a:lnTo>
                    <a:lnTo>
                      <a:pt x="519" y="322"/>
                    </a:lnTo>
                    <a:lnTo>
                      <a:pt x="524" y="327"/>
                    </a:lnTo>
                    <a:lnTo>
                      <a:pt x="524" y="332"/>
                    </a:lnTo>
                    <a:lnTo>
                      <a:pt x="524" y="337"/>
                    </a:lnTo>
                    <a:lnTo>
                      <a:pt x="524" y="342"/>
                    </a:lnTo>
                    <a:lnTo>
                      <a:pt x="519" y="342"/>
                    </a:lnTo>
                    <a:lnTo>
                      <a:pt x="524" y="337"/>
                    </a:lnTo>
                    <a:lnTo>
                      <a:pt x="519" y="337"/>
                    </a:lnTo>
                    <a:lnTo>
                      <a:pt x="519" y="332"/>
                    </a:lnTo>
                    <a:lnTo>
                      <a:pt x="514" y="332"/>
                    </a:lnTo>
                    <a:lnTo>
                      <a:pt x="514" y="327"/>
                    </a:lnTo>
                    <a:lnTo>
                      <a:pt x="509" y="322"/>
                    </a:lnTo>
                    <a:lnTo>
                      <a:pt x="504" y="322"/>
                    </a:lnTo>
                    <a:lnTo>
                      <a:pt x="499" y="317"/>
                    </a:lnTo>
                    <a:lnTo>
                      <a:pt x="494" y="312"/>
                    </a:lnTo>
                    <a:lnTo>
                      <a:pt x="489" y="307"/>
                    </a:lnTo>
                    <a:lnTo>
                      <a:pt x="484" y="307"/>
                    </a:lnTo>
                    <a:lnTo>
                      <a:pt x="484" y="302"/>
                    </a:lnTo>
                    <a:lnTo>
                      <a:pt x="479" y="307"/>
                    </a:lnTo>
                    <a:lnTo>
                      <a:pt x="479" y="312"/>
                    </a:lnTo>
                    <a:lnTo>
                      <a:pt x="474" y="312"/>
                    </a:lnTo>
                    <a:lnTo>
                      <a:pt x="469" y="312"/>
                    </a:lnTo>
                    <a:lnTo>
                      <a:pt x="474" y="312"/>
                    </a:lnTo>
                    <a:lnTo>
                      <a:pt x="474" y="317"/>
                    </a:lnTo>
                    <a:lnTo>
                      <a:pt x="474" y="312"/>
                    </a:lnTo>
                    <a:lnTo>
                      <a:pt x="479" y="312"/>
                    </a:lnTo>
                    <a:lnTo>
                      <a:pt x="484" y="317"/>
                    </a:lnTo>
                    <a:lnTo>
                      <a:pt x="484" y="322"/>
                    </a:lnTo>
                    <a:lnTo>
                      <a:pt x="489" y="322"/>
                    </a:lnTo>
                    <a:lnTo>
                      <a:pt x="489" y="327"/>
                    </a:lnTo>
                    <a:lnTo>
                      <a:pt x="494" y="327"/>
                    </a:lnTo>
                    <a:lnTo>
                      <a:pt x="494" y="332"/>
                    </a:lnTo>
                    <a:lnTo>
                      <a:pt x="494" y="327"/>
                    </a:lnTo>
                    <a:lnTo>
                      <a:pt x="499" y="332"/>
                    </a:lnTo>
                    <a:lnTo>
                      <a:pt x="499" y="337"/>
                    </a:lnTo>
                    <a:lnTo>
                      <a:pt x="494" y="337"/>
                    </a:lnTo>
                    <a:lnTo>
                      <a:pt x="494" y="342"/>
                    </a:lnTo>
                    <a:lnTo>
                      <a:pt x="489" y="342"/>
                    </a:lnTo>
                    <a:lnTo>
                      <a:pt x="494" y="337"/>
                    </a:lnTo>
                    <a:lnTo>
                      <a:pt x="489" y="337"/>
                    </a:lnTo>
                    <a:lnTo>
                      <a:pt x="494" y="337"/>
                    </a:lnTo>
                    <a:lnTo>
                      <a:pt x="489" y="332"/>
                    </a:lnTo>
                    <a:lnTo>
                      <a:pt x="489" y="327"/>
                    </a:lnTo>
                    <a:lnTo>
                      <a:pt x="484" y="327"/>
                    </a:lnTo>
                    <a:lnTo>
                      <a:pt x="484" y="332"/>
                    </a:lnTo>
                    <a:lnTo>
                      <a:pt x="479" y="337"/>
                    </a:lnTo>
                    <a:lnTo>
                      <a:pt x="474" y="337"/>
                    </a:lnTo>
                    <a:lnTo>
                      <a:pt x="469" y="337"/>
                    </a:lnTo>
                    <a:lnTo>
                      <a:pt x="474" y="337"/>
                    </a:lnTo>
                    <a:lnTo>
                      <a:pt x="479" y="337"/>
                    </a:lnTo>
                    <a:lnTo>
                      <a:pt x="484" y="337"/>
                    </a:lnTo>
                    <a:lnTo>
                      <a:pt x="489" y="337"/>
                    </a:lnTo>
                    <a:lnTo>
                      <a:pt x="489" y="342"/>
                    </a:lnTo>
                    <a:lnTo>
                      <a:pt x="489" y="337"/>
                    </a:lnTo>
                    <a:lnTo>
                      <a:pt x="489" y="342"/>
                    </a:lnTo>
                    <a:lnTo>
                      <a:pt x="494" y="342"/>
                    </a:lnTo>
                    <a:lnTo>
                      <a:pt x="494" y="348"/>
                    </a:lnTo>
                    <a:lnTo>
                      <a:pt x="489" y="348"/>
                    </a:lnTo>
                    <a:lnTo>
                      <a:pt x="484" y="348"/>
                    </a:lnTo>
                    <a:lnTo>
                      <a:pt x="484" y="353"/>
                    </a:lnTo>
                    <a:lnTo>
                      <a:pt x="484" y="348"/>
                    </a:lnTo>
                    <a:lnTo>
                      <a:pt x="479" y="348"/>
                    </a:lnTo>
                    <a:lnTo>
                      <a:pt x="479" y="342"/>
                    </a:lnTo>
                    <a:lnTo>
                      <a:pt x="474" y="342"/>
                    </a:lnTo>
                    <a:lnTo>
                      <a:pt x="474" y="348"/>
                    </a:lnTo>
                    <a:lnTo>
                      <a:pt x="474" y="353"/>
                    </a:lnTo>
                    <a:lnTo>
                      <a:pt x="474" y="358"/>
                    </a:lnTo>
                    <a:lnTo>
                      <a:pt x="474" y="353"/>
                    </a:lnTo>
                    <a:lnTo>
                      <a:pt x="469" y="353"/>
                    </a:lnTo>
                    <a:lnTo>
                      <a:pt x="464" y="348"/>
                    </a:lnTo>
                    <a:lnTo>
                      <a:pt x="464" y="342"/>
                    </a:lnTo>
                    <a:lnTo>
                      <a:pt x="459" y="342"/>
                    </a:lnTo>
                    <a:lnTo>
                      <a:pt x="454" y="337"/>
                    </a:lnTo>
                    <a:lnTo>
                      <a:pt x="449" y="337"/>
                    </a:lnTo>
                    <a:lnTo>
                      <a:pt x="444" y="337"/>
                    </a:lnTo>
                    <a:lnTo>
                      <a:pt x="439" y="337"/>
                    </a:lnTo>
                    <a:lnTo>
                      <a:pt x="433" y="337"/>
                    </a:lnTo>
                    <a:lnTo>
                      <a:pt x="428" y="342"/>
                    </a:lnTo>
                    <a:lnTo>
                      <a:pt x="418" y="337"/>
                    </a:lnTo>
                    <a:lnTo>
                      <a:pt x="413" y="337"/>
                    </a:lnTo>
                    <a:lnTo>
                      <a:pt x="413" y="342"/>
                    </a:lnTo>
                    <a:lnTo>
                      <a:pt x="408" y="342"/>
                    </a:lnTo>
                    <a:lnTo>
                      <a:pt x="408" y="348"/>
                    </a:lnTo>
                    <a:lnTo>
                      <a:pt x="403" y="348"/>
                    </a:lnTo>
                    <a:lnTo>
                      <a:pt x="403" y="353"/>
                    </a:lnTo>
                    <a:lnTo>
                      <a:pt x="408" y="353"/>
                    </a:lnTo>
                    <a:lnTo>
                      <a:pt x="408" y="348"/>
                    </a:lnTo>
                    <a:lnTo>
                      <a:pt x="408" y="353"/>
                    </a:lnTo>
                    <a:lnTo>
                      <a:pt x="413" y="353"/>
                    </a:lnTo>
                    <a:lnTo>
                      <a:pt x="408" y="353"/>
                    </a:lnTo>
                    <a:lnTo>
                      <a:pt x="403" y="353"/>
                    </a:lnTo>
                    <a:lnTo>
                      <a:pt x="398" y="353"/>
                    </a:lnTo>
                    <a:lnTo>
                      <a:pt x="393" y="348"/>
                    </a:lnTo>
                    <a:lnTo>
                      <a:pt x="393" y="353"/>
                    </a:lnTo>
                    <a:lnTo>
                      <a:pt x="388" y="353"/>
                    </a:lnTo>
                    <a:lnTo>
                      <a:pt x="393" y="358"/>
                    </a:lnTo>
                    <a:lnTo>
                      <a:pt x="398" y="368"/>
                    </a:lnTo>
                    <a:lnTo>
                      <a:pt x="398" y="373"/>
                    </a:lnTo>
                    <a:lnTo>
                      <a:pt x="398" y="378"/>
                    </a:lnTo>
                    <a:lnTo>
                      <a:pt x="393" y="373"/>
                    </a:lnTo>
                    <a:lnTo>
                      <a:pt x="388" y="373"/>
                    </a:lnTo>
                    <a:lnTo>
                      <a:pt x="388" y="378"/>
                    </a:lnTo>
                    <a:lnTo>
                      <a:pt x="383" y="383"/>
                    </a:lnTo>
                    <a:lnTo>
                      <a:pt x="383" y="388"/>
                    </a:lnTo>
                    <a:lnTo>
                      <a:pt x="378" y="388"/>
                    </a:lnTo>
                    <a:lnTo>
                      <a:pt x="378" y="393"/>
                    </a:lnTo>
                    <a:lnTo>
                      <a:pt x="383" y="393"/>
                    </a:lnTo>
                    <a:lnTo>
                      <a:pt x="388" y="393"/>
                    </a:lnTo>
                    <a:lnTo>
                      <a:pt x="393" y="393"/>
                    </a:lnTo>
                    <a:lnTo>
                      <a:pt x="393" y="398"/>
                    </a:lnTo>
                    <a:lnTo>
                      <a:pt x="393" y="393"/>
                    </a:lnTo>
                    <a:lnTo>
                      <a:pt x="393" y="398"/>
                    </a:lnTo>
                    <a:lnTo>
                      <a:pt x="388" y="398"/>
                    </a:lnTo>
                    <a:lnTo>
                      <a:pt x="383" y="398"/>
                    </a:lnTo>
                    <a:lnTo>
                      <a:pt x="383" y="403"/>
                    </a:lnTo>
                    <a:lnTo>
                      <a:pt x="378" y="403"/>
                    </a:lnTo>
                    <a:lnTo>
                      <a:pt x="383" y="408"/>
                    </a:lnTo>
                    <a:lnTo>
                      <a:pt x="388" y="408"/>
                    </a:lnTo>
                    <a:lnTo>
                      <a:pt x="388" y="413"/>
                    </a:lnTo>
                    <a:lnTo>
                      <a:pt x="383" y="413"/>
                    </a:lnTo>
                    <a:lnTo>
                      <a:pt x="383" y="408"/>
                    </a:lnTo>
                    <a:lnTo>
                      <a:pt x="378" y="408"/>
                    </a:lnTo>
                    <a:lnTo>
                      <a:pt x="373" y="413"/>
                    </a:lnTo>
                    <a:lnTo>
                      <a:pt x="368" y="413"/>
                    </a:lnTo>
                    <a:lnTo>
                      <a:pt x="373" y="413"/>
                    </a:lnTo>
                    <a:lnTo>
                      <a:pt x="368" y="413"/>
                    </a:lnTo>
                    <a:lnTo>
                      <a:pt x="358" y="408"/>
                    </a:lnTo>
                    <a:lnTo>
                      <a:pt x="358" y="403"/>
                    </a:lnTo>
                    <a:lnTo>
                      <a:pt x="353" y="403"/>
                    </a:lnTo>
                    <a:lnTo>
                      <a:pt x="348" y="398"/>
                    </a:lnTo>
                    <a:lnTo>
                      <a:pt x="348" y="403"/>
                    </a:lnTo>
                    <a:lnTo>
                      <a:pt x="348" y="408"/>
                    </a:lnTo>
                    <a:lnTo>
                      <a:pt x="353" y="408"/>
                    </a:lnTo>
                    <a:lnTo>
                      <a:pt x="353" y="413"/>
                    </a:lnTo>
                    <a:lnTo>
                      <a:pt x="348" y="413"/>
                    </a:lnTo>
                    <a:lnTo>
                      <a:pt x="343" y="413"/>
                    </a:lnTo>
                    <a:lnTo>
                      <a:pt x="343" y="408"/>
                    </a:lnTo>
                    <a:lnTo>
                      <a:pt x="343" y="403"/>
                    </a:lnTo>
                    <a:lnTo>
                      <a:pt x="343" y="398"/>
                    </a:lnTo>
                    <a:lnTo>
                      <a:pt x="338" y="398"/>
                    </a:lnTo>
                    <a:lnTo>
                      <a:pt x="333" y="398"/>
                    </a:lnTo>
                    <a:lnTo>
                      <a:pt x="328" y="398"/>
                    </a:lnTo>
                    <a:lnTo>
                      <a:pt x="328" y="403"/>
                    </a:lnTo>
                    <a:lnTo>
                      <a:pt x="323" y="403"/>
                    </a:lnTo>
                    <a:lnTo>
                      <a:pt x="328" y="408"/>
                    </a:lnTo>
                    <a:lnTo>
                      <a:pt x="323" y="408"/>
                    </a:lnTo>
                    <a:lnTo>
                      <a:pt x="323" y="398"/>
                    </a:lnTo>
                    <a:lnTo>
                      <a:pt x="323" y="393"/>
                    </a:lnTo>
                    <a:lnTo>
                      <a:pt x="323" y="388"/>
                    </a:lnTo>
                    <a:lnTo>
                      <a:pt x="318" y="383"/>
                    </a:lnTo>
                    <a:lnTo>
                      <a:pt x="323" y="383"/>
                    </a:lnTo>
                    <a:lnTo>
                      <a:pt x="323" y="378"/>
                    </a:lnTo>
                    <a:lnTo>
                      <a:pt x="318" y="378"/>
                    </a:lnTo>
                    <a:lnTo>
                      <a:pt x="318" y="383"/>
                    </a:lnTo>
                    <a:lnTo>
                      <a:pt x="318" y="388"/>
                    </a:lnTo>
                    <a:lnTo>
                      <a:pt x="318" y="393"/>
                    </a:lnTo>
                    <a:lnTo>
                      <a:pt x="318" y="398"/>
                    </a:lnTo>
                    <a:lnTo>
                      <a:pt x="313" y="403"/>
                    </a:lnTo>
                    <a:lnTo>
                      <a:pt x="313" y="408"/>
                    </a:lnTo>
                    <a:lnTo>
                      <a:pt x="307" y="408"/>
                    </a:lnTo>
                    <a:lnTo>
                      <a:pt x="302" y="408"/>
                    </a:lnTo>
                    <a:lnTo>
                      <a:pt x="297" y="408"/>
                    </a:lnTo>
                    <a:lnTo>
                      <a:pt x="292" y="403"/>
                    </a:lnTo>
                    <a:lnTo>
                      <a:pt x="292" y="408"/>
                    </a:lnTo>
                    <a:lnTo>
                      <a:pt x="287" y="408"/>
                    </a:lnTo>
                    <a:lnTo>
                      <a:pt x="292" y="413"/>
                    </a:lnTo>
                    <a:lnTo>
                      <a:pt x="292" y="418"/>
                    </a:lnTo>
                    <a:lnTo>
                      <a:pt x="287" y="418"/>
                    </a:lnTo>
                    <a:lnTo>
                      <a:pt x="287" y="423"/>
                    </a:lnTo>
                    <a:lnTo>
                      <a:pt x="287" y="418"/>
                    </a:lnTo>
                    <a:lnTo>
                      <a:pt x="282" y="423"/>
                    </a:lnTo>
                    <a:lnTo>
                      <a:pt x="277" y="423"/>
                    </a:lnTo>
                    <a:lnTo>
                      <a:pt x="277" y="428"/>
                    </a:lnTo>
                    <a:lnTo>
                      <a:pt x="267" y="428"/>
                    </a:lnTo>
                    <a:lnTo>
                      <a:pt x="262" y="428"/>
                    </a:lnTo>
                    <a:lnTo>
                      <a:pt x="257" y="428"/>
                    </a:lnTo>
                    <a:lnTo>
                      <a:pt x="252" y="428"/>
                    </a:lnTo>
                    <a:lnTo>
                      <a:pt x="252" y="433"/>
                    </a:lnTo>
                    <a:lnTo>
                      <a:pt x="247" y="433"/>
                    </a:lnTo>
                    <a:lnTo>
                      <a:pt x="242" y="433"/>
                    </a:lnTo>
                    <a:lnTo>
                      <a:pt x="242" y="438"/>
                    </a:lnTo>
                    <a:lnTo>
                      <a:pt x="237" y="438"/>
                    </a:lnTo>
                    <a:lnTo>
                      <a:pt x="232" y="443"/>
                    </a:lnTo>
                    <a:lnTo>
                      <a:pt x="227" y="443"/>
                    </a:lnTo>
                    <a:lnTo>
                      <a:pt x="222" y="443"/>
                    </a:lnTo>
                    <a:lnTo>
                      <a:pt x="222" y="448"/>
                    </a:lnTo>
                    <a:lnTo>
                      <a:pt x="217" y="448"/>
                    </a:lnTo>
                    <a:lnTo>
                      <a:pt x="212" y="453"/>
                    </a:lnTo>
                    <a:lnTo>
                      <a:pt x="212" y="458"/>
                    </a:lnTo>
                    <a:lnTo>
                      <a:pt x="207" y="458"/>
                    </a:lnTo>
                    <a:lnTo>
                      <a:pt x="197" y="458"/>
                    </a:lnTo>
                    <a:lnTo>
                      <a:pt x="192" y="458"/>
                    </a:lnTo>
                    <a:lnTo>
                      <a:pt x="181" y="458"/>
                    </a:lnTo>
                    <a:lnTo>
                      <a:pt x="176" y="458"/>
                    </a:lnTo>
                    <a:lnTo>
                      <a:pt x="171" y="458"/>
                    </a:lnTo>
                    <a:lnTo>
                      <a:pt x="166" y="458"/>
                    </a:lnTo>
                    <a:lnTo>
                      <a:pt x="161" y="458"/>
                    </a:lnTo>
                    <a:lnTo>
                      <a:pt x="146" y="458"/>
                    </a:lnTo>
                    <a:lnTo>
                      <a:pt x="151" y="458"/>
                    </a:lnTo>
                    <a:lnTo>
                      <a:pt x="151" y="453"/>
                    </a:lnTo>
                    <a:lnTo>
                      <a:pt x="146" y="448"/>
                    </a:lnTo>
                    <a:lnTo>
                      <a:pt x="141" y="448"/>
                    </a:lnTo>
                    <a:lnTo>
                      <a:pt x="136" y="448"/>
                    </a:lnTo>
                    <a:lnTo>
                      <a:pt x="131" y="448"/>
                    </a:lnTo>
                    <a:lnTo>
                      <a:pt x="131" y="443"/>
                    </a:lnTo>
                    <a:lnTo>
                      <a:pt x="126" y="448"/>
                    </a:lnTo>
                    <a:lnTo>
                      <a:pt x="121" y="448"/>
                    </a:lnTo>
                    <a:lnTo>
                      <a:pt x="116" y="443"/>
                    </a:lnTo>
                    <a:lnTo>
                      <a:pt x="111" y="438"/>
                    </a:lnTo>
                    <a:lnTo>
                      <a:pt x="106" y="438"/>
                    </a:lnTo>
                    <a:lnTo>
                      <a:pt x="101" y="438"/>
                    </a:lnTo>
                    <a:lnTo>
                      <a:pt x="101" y="443"/>
                    </a:lnTo>
                    <a:lnTo>
                      <a:pt x="96" y="443"/>
                    </a:lnTo>
                    <a:lnTo>
                      <a:pt x="91" y="443"/>
                    </a:lnTo>
                    <a:lnTo>
                      <a:pt x="91" y="438"/>
                    </a:lnTo>
                    <a:lnTo>
                      <a:pt x="86" y="438"/>
                    </a:lnTo>
                    <a:lnTo>
                      <a:pt x="86" y="433"/>
                    </a:lnTo>
                    <a:lnTo>
                      <a:pt x="76" y="433"/>
                    </a:lnTo>
                    <a:lnTo>
                      <a:pt x="76" y="438"/>
                    </a:lnTo>
                    <a:lnTo>
                      <a:pt x="76" y="443"/>
                    </a:lnTo>
                    <a:lnTo>
                      <a:pt x="71" y="443"/>
                    </a:lnTo>
                    <a:lnTo>
                      <a:pt x="66" y="443"/>
                    </a:lnTo>
                    <a:lnTo>
                      <a:pt x="66" y="448"/>
                    </a:lnTo>
                    <a:lnTo>
                      <a:pt x="61" y="448"/>
                    </a:lnTo>
                    <a:lnTo>
                      <a:pt x="61" y="443"/>
                    </a:lnTo>
                    <a:lnTo>
                      <a:pt x="61" y="448"/>
                    </a:lnTo>
                    <a:lnTo>
                      <a:pt x="55" y="448"/>
                    </a:lnTo>
                    <a:lnTo>
                      <a:pt x="55" y="443"/>
                    </a:lnTo>
                    <a:lnTo>
                      <a:pt x="50" y="443"/>
                    </a:lnTo>
                    <a:lnTo>
                      <a:pt x="50" y="438"/>
                    </a:lnTo>
                    <a:lnTo>
                      <a:pt x="55" y="438"/>
                    </a:lnTo>
                    <a:lnTo>
                      <a:pt x="55" y="433"/>
                    </a:lnTo>
                    <a:lnTo>
                      <a:pt x="61" y="428"/>
                    </a:lnTo>
                    <a:lnTo>
                      <a:pt x="66" y="428"/>
                    </a:lnTo>
                    <a:lnTo>
                      <a:pt x="71" y="428"/>
                    </a:lnTo>
                    <a:lnTo>
                      <a:pt x="76" y="423"/>
                    </a:lnTo>
                    <a:lnTo>
                      <a:pt x="81" y="423"/>
                    </a:lnTo>
                    <a:lnTo>
                      <a:pt x="86" y="418"/>
                    </a:lnTo>
                    <a:lnTo>
                      <a:pt x="91" y="418"/>
                    </a:lnTo>
                    <a:lnTo>
                      <a:pt x="91" y="413"/>
                    </a:lnTo>
                    <a:lnTo>
                      <a:pt x="91" y="408"/>
                    </a:lnTo>
                    <a:lnTo>
                      <a:pt x="96" y="408"/>
                    </a:lnTo>
                    <a:lnTo>
                      <a:pt x="96" y="403"/>
                    </a:lnTo>
                    <a:lnTo>
                      <a:pt x="101" y="403"/>
                    </a:lnTo>
                    <a:lnTo>
                      <a:pt x="96" y="403"/>
                    </a:lnTo>
                    <a:lnTo>
                      <a:pt x="91" y="398"/>
                    </a:lnTo>
                    <a:lnTo>
                      <a:pt x="86" y="393"/>
                    </a:lnTo>
                    <a:lnTo>
                      <a:pt x="86" y="388"/>
                    </a:lnTo>
                    <a:lnTo>
                      <a:pt x="81" y="393"/>
                    </a:lnTo>
                    <a:lnTo>
                      <a:pt x="81" y="398"/>
                    </a:lnTo>
                    <a:lnTo>
                      <a:pt x="76" y="398"/>
                    </a:lnTo>
                    <a:lnTo>
                      <a:pt x="81" y="398"/>
                    </a:lnTo>
                    <a:lnTo>
                      <a:pt x="81" y="393"/>
                    </a:lnTo>
                    <a:lnTo>
                      <a:pt x="76" y="398"/>
                    </a:lnTo>
                    <a:lnTo>
                      <a:pt x="71" y="398"/>
                    </a:lnTo>
                    <a:lnTo>
                      <a:pt x="71" y="393"/>
                    </a:lnTo>
                    <a:lnTo>
                      <a:pt x="71" y="398"/>
                    </a:lnTo>
                    <a:lnTo>
                      <a:pt x="66" y="398"/>
                    </a:lnTo>
                    <a:lnTo>
                      <a:pt x="66" y="393"/>
                    </a:lnTo>
                    <a:lnTo>
                      <a:pt x="61" y="393"/>
                    </a:lnTo>
                    <a:lnTo>
                      <a:pt x="55" y="393"/>
                    </a:lnTo>
                    <a:lnTo>
                      <a:pt x="45" y="393"/>
                    </a:lnTo>
                    <a:close/>
                    <a:moveTo>
                      <a:pt x="675" y="388"/>
                    </a:moveTo>
                    <a:lnTo>
                      <a:pt x="670" y="388"/>
                    </a:lnTo>
                    <a:lnTo>
                      <a:pt x="665" y="388"/>
                    </a:lnTo>
                    <a:lnTo>
                      <a:pt x="665" y="383"/>
                    </a:lnTo>
                    <a:lnTo>
                      <a:pt x="660" y="378"/>
                    </a:lnTo>
                    <a:lnTo>
                      <a:pt x="655" y="373"/>
                    </a:lnTo>
                    <a:lnTo>
                      <a:pt x="655" y="368"/>
                    </a:lnTo>
                    <a:lnTo>
                      <a:pt x="650" y="368"/>
                    </a:lnTo>
                    <a:lnTo>
                      <a:pt x="645" y="373"/>
                    </a:lnTo>
                    <a:lnTo>
                      <a:pt x="645" y="378"/>
                    </a:lnTo>
                    <a:lnTo>
                      <a:pt x="645" y="383"/>
                    </a:lnTo>
                    <a:lnTo>
                      <a:pt x="640" y="383"/>
                    </a:lnTo>
                    <a:lnTo>
                      <a:pt x="640" y="378"/>
                    </a:lnTo>
                    <a:lnTo>
                      <a:pt x="640" y="373"/>
                    </a:lnTo>
                    <a:lnTo>
                      <a:pt x="640" y="363"/>
                    </a:lnTo>
                    <a:lnTo>
                      <a:pt x="635" y="363"/>
                    </a:lnTo>
                    <a:lnTo>
                      <a:pt x="635" y="358"/>
                    </a:lnTo>
                    <a:lnTo>
                      <a:pt x="630" y="353"/>
                    </a:lnTo>
                    <a:lnTo>
                      <a:pt x="630" y="348"/>
                    </a:lnTo>
                    <a:lnTo>
                      <a:pt x="630" y="353"/>
                    </a:lnTo>
                    <a:lnTo>
                      <a:pt x="635" y="353"/>
                    </a:lnTo>
                    <a:lnTo>
                      <a:pt x="635" y="348"/>
                    </a:lnTo>
                    <a:lnTo>
                      <a:pt x="630" y="342"/>
                    </a:lnTo>
                    <a:lnTo>
                      <a:pt x="625" y="342"/>
                    </a:lnTo>
                    <a:lnTo>
                      <a:pt x="625" y="337"/>
                    </a:lnTo>
                    <a:lnTo>
                      <a:pt x="625" y="332"/>
                    </a:lnTo>
                    <a:lnTo>
                      <a:pt x="625" y="337"/>
                    </a:lnTo>
                    <a:lnTo>
                      <a:pt x="620" y="332"/>
                    </a:lnTo>
                    <a:lnTo>
                      <a:pt x="620" y="327"/>
                    </a:lnTo>
                    <a:lnTo>
                      <a:pt x="615" y="327"/>
                    </a:lnTo>
                    <a:lnTo>
                      <a:pt x="610" y="327"/>
                    </a:lnTo>
                    <a:lnTo>
                      <a:pt x="610" y="332"/>
                    </a:lnTo>
                    <a:lnTo>
                      <a:pt x="615" y="337"/>
                    </a:lnTo>
                    <a:lnTo>
                      <a:pt x="610" y="342"/>
                    </a:lnTo>
                    <a:lnTo>
                      <a:pt x="610" y="337"/>
                    </a:lnTo>
                    <a:lnTo>
                      <a:pt x="605" y="332"/>
                    </a:lnTo>
                    <a:lnTo>
                      <a:pt x="600" y="332"/>
                    </a:lnTo>
                    <a:lnTo>
                      <a:pt x="600" y="327"/>
                    </a:lnTo>
                    <a:lnTo>
                      <a:pt x="600" y="322"/>
                    </a:lnTo>
                    <a:lnTo>
                      <a:pt x="595" y="322"/>
                    </a:lnTo>
                    <a:lnTo>
                      <a:pt x="590" y="322"/>
                    </a:lnTo>
                    <a:lnTo>
                      <a:pt x="595" y="322"/>
                    </a:lnTo>
                    <a:lnTo>
                      <a:pt x="600" y="317"/>
                    </a:lnTo>
                    <a:lnTo>
                      <a:pt x="605" y="317"/>
                    </a:lnTo>
                    <a:lnTo>
                      <a:pt x="610" y="322"/>
                    </a:lnTo>
                    <a:lnTo>
                      <a:pt x="615" y="317"/>
                    </a:lnTo>
                    <a:lnTo>
                      <a:pt x="610" y="312"/>
                    </a:lnTo>
                    <a:lnTo>
                      <a:pt x="610" y="307"/>
                    </a:lnTo>
                    <a:lnTo>
                      <a:pt x="610" y="302"/>
                    </a:lnTo>
                    <a:lnTo>
                      <a:pt x="615" y="302"/>
                    </a:lnTo>
                    <a:lnTo>
                      <a:pt x="615" y="307"/>
                    </a:lnTo>
                    <a:lnTo>
                      <a:pt x="620" y="317"/>
                    </a:lnTo>
                    <a:lnTo>
                      <a:pt x="625" y="327"/>
                    </a:lnTo>
                    <a:lnTo>
                      <a:pt x="625" y="332"/>
                    </a:lnTo>
                    <a:lnTo>
                      <a:pt x="635" y="342"/>
                    </a:lnTo>
                    <a:lnTo>
                      <a:pt x="640" y="348"/>
                    </a:lnTo>
                    <a:lnTo>
                      <a:pt x="640" y="353"/>
                    </a:lnTo>
                    <a:lnTo>
                      <a:pt x="645" y="358"/>
                    </a:lnTo>
                    <a:lnTo>
                      <a:pt x="645" y="363"/>
                    </a:lnTo>
                    <a:lnTo>
                      <a:pt x="655" y="368"/>
                    </a:lnTo>
                    <a:lnTo>
                      <a:pt x="660" y="373"/>
                    </a:lnTo>
                    <a:lnTo>
                      <a:pt x="665" y="378"/>
                    </a:lnTo>
                    <a:lnTo>
                      <a:pt x="665" y="383"/>
                    </a:lnTo>
                    <a:lnTo>
                      <a:pt x="675" y="388"/>
                    </a:lnTo>
                    <a:close/>
                    <a:moveTo>
                      <a:pt x="685" y="242"/>
                    </a:moveTo>
                    <a:lnTo>
                      <a:pt x="680" y="247"/>
                    </a:lnTo>
                    <a:lnTo>
                      <a:pt x="680" y="252"/>
                    </a:lnTo>
                    <a:lnTo>
                      <a:pt x="680" y="257"/>
                    </a:lnTo>
                    <a:lnTo>
                      <a:pt x="680" y="267"/>
                    </a:lnTo>
                    <a:lnTo>
                      <a:pt x="675" y="272"/>
                    </a:lnTo>
                    <a:lnTo>
                      <a:pt x="675" y="277"/>
                    </a:lnTo>
                    <a:lnTo>
                      <a:pt x="670" y="287"/>
                    </a:lnTo>
                    <a:lnTo>
                      <a:pt x="665" y="292"/>
                    </a:lnTo>
                    <a:lnTo>
                      <a:pt x="660" y="297"/>
                    </a:lnTo>
                    <a:lnTo>
                      <a:pt x="655" y="302"/>
                    </a:lnTo>
                    <a:lnTo>
                      <a:pt x="650" y="307"/>
                    </a:lnTo>
                    <a:lnTo>
                      <a:pt x="645" y="307"/>
                    </a:lnTo>
                    <a:lnTo>
                      <a:pt x="645" y="302"/>
                    </a:lnTo>
                    <a:lnTo>
                      <a:pt x="645" y="297"/>
                    </a:lnTo>
                    <a:lnTo>
                      <a:pt x="650" y="297"/>
                    </a:lnTo>
                    <a:lnTo>
                      <a:pt x="650" y="292"/>
                    </a:lnTo>
                    <a:lnTo>
                      <a:pt x="655" y="292"/>
                    </a:lnTo>
                    <a:lnTo>
                      <a:pt x="655" y="287"/>
                    </a:lnTo>
                    <a:lnTo>
                      <a:pt x="660" y="287"/>
                    </a:lnTo>
                    <a:lnTo>
                      <a:pt x="660" y="282"/>
                    </a:lnTo>
                    <a:lnTo>
                      <a:pt x="655" y="287"/>
                    </a:lnTo>
                    <a:lnTo>
                      <a:pt x="650" y="287"/>
                    </a:lnTo>
                    <a:lnTo>
                      <a:pt x="655" y="282"/>
                    </a:lnTo>
                    <a:lnTo>
                      <a:pt x="660" y="282"/>
                    </a:lnTo>
                    <a:lnTo>
                      <a:pt x="665" y="277"/>
                    </a:lnTo>
                    <a:lnTo>
                      <a:pt x="670" y="272"/>
                    </a:lnTo>
                    <a:lnTo>
                      <a:pt x="675" y="267"/>
                    </a:lnTo>
                    <a:lnTo>
                      <a:pt x="675" y="262"/>
                    </a:lnTo>
                    <a:lnTo>
                      <a:pt x="675" y="257"/>
                    </a:lnTo>
                    <a:lnTo>
                      <a:pt x="675" y="252"/>
                    </a:lnTo>
                    <a:lnTo>
                      <a:pt x="680" y="252"/>
                    </a:lnTo>
                    <a:lnTo>
                      <a:pt x="680" y="247"/>
                    </a:lnTo>
                    <a:lnTo>
                      <a:pt x="680" y="242"/>
                    </a:lnTo>
                    <a:lnTo>
                      <a:pt x="685" y="242"/>
                    </a:lnTo>
                    <a:close/>
                    <a:moveTo>
                      <a:pt x="212" y="458"/>
                    </a:moveTo>
                    <a:lnTo>
                      <a:pt x="217" y="458"/>
                    </a:lnTo>
                    <a:lnTo>
                      <a:pt x="232" y="453"/>
                    </a:lnTo>
                    <a:lnTo>
                      <a:pt x="237" y="453"/>
                    </a:lnTo>
                    <a:lnTo>
                      <a:pt x="242" y="453"/>
                    </a:lnTo>
                    <a:lnTo>
                      <a:pt x="257" y="453"/>
                    </a:lnTo>
                    <a:lnTo>
                      <a:pt x="262" y="448"/>
                    </a:lnTo>
                    <a:lnTo>
                      <a:pt x="262" y="443"/>
                    </a:lnTo>
                    <a:lnTo>
                      <a:pt x="267" y="443"/>
                    </a:lnTo>
                    <a:lnTo>
                      <a:pt x="267" y="438"/>
                    </a:lnTo>
                    <a:lnTo>
                      <a:pt x="267" y="443"/>
                    </a:lnTo>
                    <a:lnTo>
                      <a:pt x="272" y="443"/>
                    </a:lnTo>
                    <a:lnTo>
                      <a:pt x="282" y="443"/>
                    </a:lnTo>
                    <a:lnTo>
                      <a:pt x="287" y="443"/>
                    </a:lnTo>
                    <a:lnTo>
                      <a:pt x="292" y="443"/>
                    </a:lnTo>
                    <a:lnTo>
                      <a:pt x="297" y="438"/>
                    </a:lnTo>
                    <a:lnTo>
                      <a:pt x="297" y="443"/>
                    </a:lnTo>
                    <a:lnTo>
                      <a:pt x="302" y="438"/>
                    </a:lnTo>
                    <a:lnTo>
                      <a:pt x="307" y="438"/>
                    </a:lnTo>
                    <a:lnTo>
                      <a:pt x="307" y="443"/>
                    </a:lnTo>
                    <a:lnTo>
                      <a:pt x="302" y="443"/>
                    </a:lnTo>
                    <a:lnTo>
                      <a:pt x="287" y="448"/>
                    </a:lnTo>
                    <a:lnTo>
                      <a:pt x="282" y="448"/>
                    </a:lnTo>
                    <a:lnTo>
                      <a:pt x="272" y="453"/>
                    </a:lnTo>
                    <a:lnTo>
                      <a:pt x="267" y="453"/>
                    </a:lnTo>
                    <a:lnTo>
                      <a:pt x="262" y="453"/>
                    </a:lnTo>
                    <a:lnTo>
                      <a:pt x="257" y="453"/>
                    </a:lnTo>
                    <a:lnTo>
                      <a:pt x="252" y="453"/>
                    </a:lnTo>
                    <a:lnTo>
                      <a:pt x="247" y="453"/>
                    </a:lnTo>
                    <a:lnTo>
                      <a:pt x="242" y="453"/>
                    </a:lnTo>
                    <a:lnTo>
                      <a:pt x="232" y="458"/>
                    </a:lnTo>
                    <a:lnTo>
                      <a:pt x="217" y="458"/>
                    </a:lnTo>
                    <a:lnTo>
                      <a:pt x="212" y="458"/>
                    </a:lnTo>
                    <a:close/>
                    <a:moveTo>
                      <a:pt x="5" y="443"/>
                    </a:moveTo>
                    <a:lnTo>
                      <a:pt x="0" y="438"/>
                    </a:lnTo>
                    <a:lnTo>
                      <a:pt x="5" y="438"/>
                    </a:lnTo>
                    <a:lnTo>
                      <a:pt x="5" y="443"/>
                    </a:lnTo>
                    <a:lnTo>
                      <a:pt x="10" y="448"/>
                    </a:lnTo>
                    <a:lnTo>
                      <a:pt x="10" y="453"/>
                    </a:lnTo>
                    <a:lnTo>
                      <a:pt x="10" y="458"/>
                    </a:lnTo>
                    <a:lnTo>
                      <a:pt x="15" y="458"/>
                    </a:lnTo>
                    <a:lnTo>
                      <a:pt x="20" y="458"/>
                    </a:lnTo>
                    <a:lnTo>
                      <a:pt x="20" y="463"/>
                    </a:lnTo>
                    <a:lnTo>
                      <a:pt x="25" y="463"/>
                    </a:lnTo>
                    <a:lnTo>
                      <a:pt x="30" y="463"/>
                    </a:lnTo>
                    <a:lnTo>
                      <a:pt x="35" y="463"/>
                    </a:lnTo>
                    <a:lnTo>
                      <a:pt x="35" y="458"/>
                    </a:lnTo>
                    <a:lnTo>
                      <a:pt x="40" y="463"/>
                    </a:lnTo>
                    <a:lnTo>
                      <a:pt x="35" y="463"/>
                    </a:lnTo>
                    <a:lnTo>
                      <a:pt x="40" y="463"/>
                    </a:lnTo>
                    <a:lnTo>
                      <a:pt x="45" y="463"/>
                    </a:lnTo>
                    <a:lnTo>
                      <a:pt x="50" y="463"/>
                    </a:lnTo>
                    <a:lnTo>
                      <a:pt x="55" y="463"/>
                    </a:lnTo>
                    <a:lnTo>
                      <a:pt x="66" y="463"/>
                    </a:lnTo>
                    <a:lnTo>
                      <a:pt x="71" y="463"/>
                    </a:lnTo>
                    <a:lnTo>
                      <a:pt x="76" y="463"/>
                    </a:lnTo>
                    <a:lnTo>
                      <a:pt x="81" y="463"/>
                    </a:lnTo>
                    <a:lnTo>
                      <a:pt x="86" y="463"/>
                    </a:lnTo>
                    <a:lnTo>
                      <a:pt x="91" y="463"/>
                    </a:lnTo>
                    <a:lnTo>
                      <a:pt x="96" y="463"/>
                    </a:lnTo>
                    <a:lnTo>
                      <a:pt x="81" y="463"/>
                    </a:lnTo>
                    <a:lnTo>
                      <a:pt x="76" y="463"/>
                    </a:lnTo>
                    <a:lnTo>
                      <a:pt x="71" y="463"/>
                    </a:lnTo>
                    <a:lnTo>
                      <a:pt x="66" y="463"/>
                    </a:lnTo>
                    <a:lnTo>
                      <a:pt x="61" y="463"/>
                    </a:lnTo>
                    <a:lnTo>
                      <a:pt x="55" y="463"/>
                    </a:lnTo>
                    <a:lnTo>
                      <a:pt x="50" y="468"/>
                    </a:lnTo>
                    <a:lnTo>
                      <a:pt x="40" y="468"/>
                    </a:lnTo>
                    <a:lnTo>
                      <a:pt x="30" y="463"/>
                    </a:lnTo>
                    <a:lnTo>
                      <a:pt x="25" y="463"/>
                    </a:lnTo>
                    <a:lnTo>
                      <a:pt x="15" y="463"/>
                    </a:lnTo>
                    <a:lnTo>
                      <a:pt x="15" y="458"/>
                    </a:lnTo>
                    <a:lnTo>
                      <a:pt x="10" y="453"/>
                    </a:lnTo>
                    <a:lnTo>
                      <a:pt x="5" y="453"/>
                    </a:lnTo>
                    <a:lnTo>
                      <a:pt x="5" y="448"/>
                    </a:lnTo>
                    <a:lnTo>
                      <a:pt x="5" y="443"/>
                    </a:lnTo>
                    <a:close/>
                    <a:moveTo>
                      <a:pt x="514" y="348"/>
                    </a:moveTo>
                    <a:lnTo>
                      <a:pt x="509" y="348"/>
                    </a:lnTo>
                    <a:lnTo>
                      <a:pt x="504" y="348"/>
                    </a:lnTo>
                    <a:lnTo>
                      <a:pt x="504" y="342"/>
                    </a:lnTo>
                    <a:lnTo>
                      <a:pt x="499" y="342"/>
                    </a:lnTo>
                    <a:lnTo>
                      <a:pt x="499" y="337"/>
                    </a:lnTo>
                    <a:lnTo>
                      <a:pt x="504" y="337"/>
                    </a:lnTo>
                    <a:lnTo>
                      <a:pt x="509" y="337"/>
                    </a:lnTo>
                    <a:lnTo>
                      <a:pt x="509" y="342"/>
                    </a:lnTo>
                    <a:lnTo>
                      <a:pt x="509" y="348"/>
                    </a:lnTo>
                    <a:lnTo>
                      <a:pt x="514" y="348"/>
                    </a:lnTo>
                    <a:lnTo>
                      <a:pt x="514" y="342"/>
                    </a:lnTo>
                    <a:lnTo>
                      <a:pt x="509" y="337"/>
                    </a:lnTo>
                    <a:lnTo>
                      <a:pt x="514" y="337"/>
                    </a:lnTo>
                    <a:lnTo>
                      <a:pt x="514" y="342"/>
                    </a:lnTo>
                    <a:lnTo>
                      <a:pt x="514" y="348"/>
                    </a:lnTo>
                    <a:lnTo>
                      <a:pt x="514" y="353"/>
                    </a:lnTo>
                    <a:lnTo>
                      <a:pt x="519" y="353"/>
                    </a:lnTo>
                    <a:lnTo>
                      <a:pt x="514" y="353"/>
                    </a:lnTo>
                    <a:lnTo>
                      <a:pt x="514" y="358"/>
                    </a:lnTo>
                    <a:lnTo>
                      <a:pt x="509" y="358"/>
                    </a:lnTo>
                    <a:lnTo>
                      <a:pt x="514" y="353"/>
                    </a:lnTo>
                    <a:lnTo>
                      <a:pt x="514" y="348"/>
                    </a:lnTo>
                    <a:close/>
                    <a:moveTo>
                      <a:pt x="499" y="358"/>
                    </a:moveTo>
                    <a:lnTo>
                      <a:pt x="499" y="353"/>
                    </a:lnTo>
                    <a:lnTo>
                      <a:pt x="499" y="348"/>
                    </a:lnTo>
                    <a:lnTo>
                      <a:pt x="499" y="342"/>
                    </a:lnTo>
                    <a:lnTo>
                      <a:pt x="499" y="348"/>
                    </a:lnTo>
                    <a:lnTo>
                      <a:pt x="499" y="342"/>
                    </a:lnTo>
                    <a:lnTo>
                      <a:pt x="504" y="348"/>
                    </a:lnTo>
                    <a:lnTo>
                      <a:pt x="499" y="348"/>
                    </a:lnTo>
                    <a:lnTo>
                      <a:pt x="504" y="348"/>
                    </a:lnTo>
                    <a:lnTo>
                      <a:pt x="504" y="353"/>
                    </a:lnTo>
                    <a:lnTo>
                      <a:pt x="504" y="348"/>
                    </a:lnTo>
                    <a:lnTo>
                      <a:pt x="504" y="353"/>
                    </a:lnTo>
                    <a:lnTo>
                      <a:pt x="504" y="358"/>
                    </a:lnTo>
                    <a:lnTo>
                      <a:pt x="509" y="358"/>
                    </a:lnTo>
                    <a:lnTo>
                      <a:pt x="504" y="358"/>
                    </a:lnTo>
                    <a:lnTo>
                      <a:pt x="499" y="358"/>
                    </a:lnTo>
                    <a:close/>
                    <a:moveTo>
                      <a:pt x="615" y="342"/>
                    </a:moveTo>
                    <a:lnTo>
                      <a:pt x="615" y="348"/>
                    </a:lnTo>
                    <a:lnTo>
                      <a:pt x="610" y="348"/>
                    </a:lnTo>
                    <a:lnTo>
                      <a:pt x="615" y="353"/>
                    </a:lnTo>
                    <a:lnTo>
                      <a:pt x="610" y="353"/>
                    </a:lnTo>
                    <a:lnTo>
                      <a:pt x="610" y="348"/>
                    </a:lnTo>
                    <a:lnTo>
                      <a:pt x="605" y="348"/>
                    </a:lnTo>
                    <a:lnTo>
                      <a:pt x="600" y="348"/>
                    </a:lnTo>
                    <a:lnTo>
                      <a:pt x="600" y="342"/>
                    </a:lnTo>
                    <a:lnTo>
                      <a:pt x="605" y="342"/>
                    </a:lnTo>
                    <a:lnTo>
                      <a:pt x="610" y="342"/>
                    </a:lnTo>
                    <a:lnTo>
                      <a:pt x="615" y="342"/>
                    </a:lnTo>
                    <a:close/>
                    <a:moveTo>
                      <a:pt x="544" y="342"/>
                    </a:moveTo>
                    <a:lnTo>
                      <a:pt x="539" y="342"/>
                    </a:lnTo>
                    <a:lnTo>
                      <a:pt x="539" y="337"/>
                    </a:lnTo>
                    <a:lnTo>
                      <a:pt x="544" y="337"/>
                    </a:lnTo>
                    <a:lnTo>
                      <a:pt x="544" y="332"/>
                    </a:lnTo>
                    <a:lnTo>
                      <a:pt x="549" y="327"/>
                    </a:lnTo>
                    <a:lnTo>
                      <a:pt x="549" y="332"/>
                    </a:lnTo>
                    <a:lnTo>
                      <a:pt x="549" y="337"/>
                    </a:lnTo>
                    <a:lnTo>
                      <a:pt x="544" y="337"/>
                    </a:lnTo>
                    <a:lnTo>
                      <a:pt x="544" y="342"/>
                    </a:lnTo>
                    <a:lnTo>
                      <a:pt x="544" y="348"/>
                    </a:lnTo>
                    <a:lnTo>
                      <a:pt x="544" y="342"/>
                    </a:lnTo>
                    <a:close/>
                    <a:moveTo>
                      <a:pt x="40" y="453"/>
                    </a:moveTo>
                    <a:lnTo>
                      <a:pt x="45" y="448"/>
                    </a:lnTo>
                    <a:lnTo>
                      <a:pt x="45" y="443"/>
                    </a:lnTo>
                    <a:lnTo>
                      <a:pt x="45" y="438"/>
                    </a:lnTo>
                    <a:lnTo>
                      <a:pt x="50" y="438"/>
                    </a:lnTo>
                    <a:lnTo>
                      <a:pt x="50" y="433"/>
                    </a:lnTo>
                    <a:lnTo>
                      <a:pt x="55" y="433"/>
                    </a:lnTo>
                    <a:lnTo>
                      <a:pt x="61" y="428"/>
                    </a:lnTo>
                    <a:lnTo>
                      <a:pt x="61" y="433"/>
                    </a:lnTo>
                    <a:lnTo>
                      <a:pt x="55" y="433"/>
                    </a:lnTo>
                    <a:lnTo>
                      <a:pt x="50" y="433"/>
                    </a:lnTo>
                    <a:lnTo>
                      <a:pt x="50" y="438"/>
                    </a:lnTo>
                    <a:lnTo>
                      <a:pt x="45" y="448"/>
                    </a:lnTo>
                    <a:lnTo>
                      <a:pt x="45" y="453"/>
                    </a:lnTo>
                    <a:lnTo>
                      <a:pt x="40" y="453"/>
                    </a:lnTo>
                    <a:close/>
                    <a:moveTo>
                      <a:pt x="111" y="458"/>
                    </a:moveTo>
                    <a:lnTo>
                      <a:pt x="116" y="458"/>
                    </a:lnTo>
                    <a:lnTo>
                      <a:pt x="121" y="458"/>
                    </a:lnTo>
                    <a:lnTo>
                      <a:pt x="131" y="458"/>
                    </a:lnTo>
                    <a:lnTo>
                      <a:pt x="136" y="458"/>
                    </a:lnTo>
                    <a:lnTo>
                      <a:pt x="141" y="458"/>
                    </a:lnTo>
                    <a:lnTo>
                      <a:pt x="136" y="458"/>
                    </a:lnTo>
                    <a:lnTo>
                      <a:pt x="126" y="458"/>
                    </a:lnTo>
                    <a:lnTo>
                      <a:pt x="116" y="458"/>
                    </a:lnTo>
                    <a:lnTo>
                      <a:pt x="111" y="458"/>
                    </a:lnTo>
                    <a:close/>
                    <a:moveTo>
                      <a:pt x="504" y="332"/>
                    </a:moveTo>
                    <a:lnTo>
                      <a:pt x="499" y="332"/>
                    </a:lnTo>
                    <a:lnTo>
                      <a:pt x="504" y="332"/>
                    </a:lnTo>
                    <a:lnTo>
                      <a:pt x="499" y="332"/>
                    </a:lnTo>
                    <a:lnTo>
                      <a:pt x="499" y="327"/>
                    </a:lnTo>
                    <a:lnTo>
                      <a:pt x="504" y="327"/>
                    </a:lnTo>
                    <a:lnTo>
                      <a:pt x="504" y="332"/>
                    </a:lnTo>
                    <a:lnTo>
                      <a:pt x="509" y="332"/>
                    </a:lnTo>
                    <a:lnTo>
                      <a:pt x="504" y="332"/>
                    </a:lnTo>
                    <a:close/>
                    <a:moveTo>
                      <a:pt x="559" y="368"/>
                    </a:moveTo>
                    <a:lnTo>
                      <a:pt x="554" y="363"/>
                    </a:lnTo>
                    <a:lnTo>
                      <a:pt x="559" y="363"/>
                    </a:lnTo>
                    <a:lnTo>
                      <a:pt x="559" y="368"/>
                    </a:lnTo>
                    <a:close/>
                    <a:moveTo>
                      <a:pt x="625" y="363"/>
                    </a:moveTo>
                    <a:lnTo>
                      <a:pt x="620" y="363"/>
                    </a:lnTo>
                    <a:lnTo>
                      <a:pt x="620" y="358"/>
                    </a:lnTo>
                    <a:lnTo>
                      <a:pt x="615" y="353"/>
                    </a:lnTo>
                    <a:lnTo>
                      <a:pt x="620" y="358"/>
                    </a:lnTo>
                    <a:lnTo>
                      <a:pt x="620" y="363"/>
                    </a:lnTo>
                    <a:lnTo>
                      <a:pt x="625" y="363"/>
                    </a:lnTo>
                    <a:close/>
                    <a:moveTo>
                      <a:pt x="605" y="307"/>
                    </a:moveTo>
                    <a:lnTo>
                      <a:pt x="610" y="302"/>
                    </a:lnTo>
                    <a:lnTo>
                      <a:pt x="605" y="307"/>
                    </a:lnTo>
                    <a:close/>
                    <a:moveTo>
                      <a:pt x="101" y="463"/>
                    </a:moveTo>
                    <a:lnTo>
                      <a:pt x="101" y="458"/>
                    </a:lnTo>
                    <a:lnTo>
                      <a:pt x="106" y="458"/>
                    </a:lnTo>
                    <a:lnTo>
                      <a:pt x="111" y="458"/>
                    </a:lnTo>
                    <a:lnTo>
                      <a:pt x="106" y="463"/>
                    </a:lnTo>
                    <a:lnTo>
                      <a:pt x="101" y="463"/>
                    </a:lnTo>
                    <a:close/>
                    <a:moveTo>
                      <a:pt x="45" y="448"/>
                    </a:moveTo>
                    <a:lnTo>
                      <a:pt x="50" y="448"/>
                    </a:lnTo>
                    <a:lnTo>
                      <a:pt x="45" y="453"/>
                    </a:lnTo>
                    <a:lnTo>
                      <a:pt x="45" y="448"/>
                    </a:lnTo>
                    <a:close/>
                    <a:moveTo>
                      <a:pt x="40" y="458"/>
                    </a:moveTo>
                    <a:lnTo>
                      <a:pt x="40" y="453"/>
                    </a:lnTo>
                    <a:lnTo>
                      <a:pt x="40" y="458"/>
                    </a:lnTo>
                    <a:close/>
                    <a:moveTo>
                      <a:pt x="484" y="332"/>
                    </a:moveTo>
                    <a:lnTo>
                      <a:pt x="489" y="337"/>
                    </a:lnTo>
                    <a:lnTo>
                      <a:pt x="484" y="332"/>
                    </a:lnTo>
                    <a:close/>
                    <a:moveTo>
                      <a:pt x="605" y="302"/>
                    </a:moveTo>
                    <a:lnTo>
                      <a:pt x="600" y="302"/>
                    </a:lnTo>
                    <a:lnTo>
                      <a:pt x="605" y="302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633">
                <a:extLst>
                  <a:ext uri="{FF2B5EF4-FFF2-40B4-BE49-F238E27FC236}">
                    <a16:creationId xmlns:a16="http://schemas.microsoft.com/office/drawing/2014/main" id="{995CA569-2E48-031C-8D61-45C4CDB4BC61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1495998" y="2562330"/>
                <a:ext cx="548786" cy="869441"/>
              </a:xfrm>
              <a:custGeom>
                <a:avLst/>
                <a:gdLst>
                  <a:gd name="T0" fmla="*/ 2147483647 w 352"/>
                  <a:gd name="T1" fmla="*/ 2147483647 h 585"/>
                  <a:gd name="T2" fmla="*/ 2147483647 w 352"/>
                  <a:gd name="T3" fmla="*/ 2147483647 h 585"/>
                  <a:gd name="T4" fmla="*/ 2147483647 w 352"/>
                  <a:gd name="T5" fmla="*/ 2147483647 h 585"/>
                  <a:gd name="T6" fmla="*/ 2147483647 w 352"/>
                  <a:gd name="T7" fmla="*/ 2147483647 h 585"/>
                  <a:gd name="T8" fmla="*/ 2147483647 w 352"/>
                  <a:gd name="T9" fmla="*/ 2147483647 h 585"/>
                  <a:gd name="T10" fmla="*/ 2147483647 w 352"/>
                  <a:gd name="T11" fmla="*/ 2147483647 h 585"/>
                  <a:gd name="T12" fmla="*/ 2147483647 w 352"/>
                  <a:gd name="T13" fmla="*/ 2147483647 h 585"/>
                  <a:gd name="T14" fmla="*/ 2147483647 w 352"/>
                  <a:gd name="T15" fmla="*/ 2147483647 h 585"/>
                  <a:gd name="T16" fmla="*/ 2147483647 w 352"/>
                  <a:gd name="T17" fmla="*/ 2147483647 h 585"/>
                  <a:gd name="T18" fmla="*/ 2147483647 w 352"/>
                  <a:gd name="T19" fmla="*/ 2147483647 h 585"/>
                  <a:gd name="T20" fmla="*/ 2147483647 w 352"/>
                  <a:gd name="T21" fmla="*/ 2147483647 h 585"/>
                  <a:gd name="T22" fmla="*/ 2147483647 w 352"/>
                  <a:gd name="T23" fmla="*/ 2147483647 h 585"/>
                  <a:gd name="T24" fmla="*/ 2147483647 w 352"/>
                  <a:gd name="T25" fmla="*/ 2147483647 h 585"/>
                  <a:gd name="T26" fmla="*/ 2147483647 w 352"/>
                  <a:gd name="T27" fmla="*/ 2147483647 h 585"/>
                  <a:gd name="T28" fmla="*/ 2147483647 w 352"/>
                  <a:gd name="T29" fmla="*/ 2147483647 h 585"/>
                  <a:gd name="T30" fmla="*/ 2147483647 w 352"/>
                  <a:gd name="T31" fmla="*/ 2147483647 h 585"/>
                  <a:gd name="T32" fmla="*/ 2147483647 w 352"/>
                  <a:gd name="T33" fmla="*/ 2147483647 h 585"/>
                  <a:gd name="T34" fmla="*/ 2147483647 w 352"/>
                  <a:gd name="T35" fmla="*/ 2147483647 h 585"/>
                  <a:gd name="T36" fmla="*/ 2147483647 w 352"/>
                  <a:gd name="T37" fmla="*/ 2147483647 h 585"/>
                  <a:gd name="T38" fmla="*/ 2147483647 w 352"/>
                  <a:gd name="T39" fmla="*/ 2147483647 h 585"/>
                  <a:gd name="T40" fmla="*/ 2147483647 w 352"/>
                  <a:gd name="T41" fmla="*/ 2147483647 h 585"/>
                  <a:gd name="T42" fmla="*/ 2147483647 w 352"/>
                  <a:gd name="T43" fmla="*/ 2147483647 h 585"/>
                  <a:gd name="T44" fmla="*/ 2147483647 w 352"/>
                  <a:gd name="T45" fmla="*/ 2147483647 h 585"/>
                  <a:gd name="T46" fmla="*/ 2147483647 w 352"/>
                  <a:gd name="T47" fmla="*/ 2147483647 h 585"/>
                  <a:gd name="T48" fmla="*/ 2147483647 w 352"/>
                  <a:gd name="T49" fmla="*/ 2147483647 h 585"/>
                  <a:gd name="T50" fmla="*/ 2147483647 w 352"/>
                  <a:gd name="T51" fmla="*/ 2147483647 h 585"/>
                  <a:gd name="T52" fmla="*/ 2147483647 w 352"/>
                  <a:gd name="T53" fmla="*/ 2147483647 h 585"/>
                  <a:gd name="T54" fmla="*/ 2147483647 w 352"/>
                  <a:gd name="T55" fmla="*/ 2147483647 h 585"/>
                  <a:gd name="T56" fmla="*/ 2147483647 w 352"/>
                  <a:gd name="T57" fmla="*/ 2147483647 h 585"/>
                  <a:gd name="T58" fmla="*/ 2147483647 w 352"/>
                  <a:gd name="T59" fmla="*/ 2147483647 h 585"/>
                  <a:gd name="T60" fmla="*/ 2147483647 w 352"/>
                  <a:gd name="T61" fmla="*/ 2147483647 h 585"/>
                  <a:gd name="T62" fmla="*/ 2147483647 w 352"/>
                  <a:gd name="T63" fmla="*/ 2147483647 h 585"/>
                  <a:gd name="T64" fmla="*/ 2147483647 w 352"/>
                  <a:gd name="T65" fmla="*/ 2147483647 h 585"/>
                  <a:gd name="T66" fmla="*/ 2147483647 w 352"/>
                  <a:gd name="T67" fmla="*/ 2147483647 h 585"/>
                  <a:gd name="T68" fmla="*/ 2147483647 w 352"/>
                  <a:gd name="T69" fmla="*/ 2147483647 h 585"/>
                  <a:gd name="T70" fmla="*/ 2147483647 w 352"/>
                  <a:gd name="T71" fmla="*/ 0 h 585"/>
                  <a:gd name="T72" fmla="*/ 2147483647 w 352"/>
                  <a:gd name="T73" fmla="*/ 2147483647 h 585"/>
                  <a:gd name="T74" fmla="*/ 2147483647 w 352"/>
                  <a:gd name="T75" fmla="*/ 2147483647 h 585"/>
                  <a:gd name="T76" fmla="*/ 2147483647 w 352"/>
                  <a:gd name="T77" fmla="*/ 2147483647 h 585"/>
                  <a:gd name="T78" fmla="*/ 2147483647 w 352"/>
                  <a:gd name="T79" fmla="*/ 2147483647 h 585"/>
                  <a:gd name="T80" fmla="*/ 2147483647 w 352"/>
                  <a:gd name="T81" fmla="*/ 2147483647 h 585"/>
                  <a:gd name="T82" fmla="*/ 2147483647 w 352"/>
                  <a:gd name="T83" fmla="*/ 2147483647 h 585"/>
                  <a:gd name="T84" fmla="*/ 2147483647 w 352"/>
                  <a:gd name="T85" fmla="*/ 2147483647 h 585"/>
                  <a:gd name="T86" fmla="*/ 2147483647 w 352"/>
                  <a:gd name="T87" fmla="*/ 2147483647 h 585"/>
                  <a:gd name="T88" fmla="*/ 2147483647 w 352"/>
                  <a:gd name="T89" fmla="*/ 2147483647 h 585"/>
                  <a:gd name="T90" fmla="*/ 2147483647 w 352"/>
                  <a:gd name="T91" fmla="*/ 2147483647 h 585"/>
                  <a:gd name="T92" fmla="*/ 2147483647 w 352"/>
                  <a:gd name="T93" fmla="*/ 2147483647 h 585"/>
                  <a:gd name="T94" fmla="*/ 2147483647 w 352"/>
                  <a:gd name="T95" fmla="*/ 2147483647 h 585"/>
                  <a:gd name="T96" fmla="*/ 2147483647 w 352"/>
                  <a:gd name="T97" fmla="*/ 2147483647 h 585"/>
                  <a:gd name="T98" fmla="*/ 2147483647 w 352"/>
                  <a:gd name="T99" fmla="*/ 2147483647 h 585"/>
                  <a:gd name="T100" fmla="*/ 2147483647 w 352"/>
                  <a:gd name="T101" fmla="*/ 2147483647 h 585"/>
                  <a:gd name="T102" fmla="*/ 2147483647 w 352"/>
                  <a:gd name="T103" fmla="*/ 2147483647 h 585"/>
                  <a:gd name="T104" fmla="*/ 2147483647 w 352"/>
                  <a:gd name="T105" fmla="*/ 2147483647 h 585"/>
                  <a:gd name="T106" fmla="*/ 2147483647 w 352"/>
                  <a:gd name="T107" fmla="*/ 2147483647 h 585"/>
                  <a:gd name="T108" fmla="*/ 2147483647 w 352"/>
                  <a:gd name="T109" fmla="*/ 2147483647 h 585"/>
                  <a:gd name="T110" fmla="*/ 2147483647 w 352"/>
                  <a:gd name="T111" fmla="*/ 2147483647 h 585"/>
                  <a:gd name="T112" fmla="*/ 2147483647 w 352"/>
                  <a:gd name="T113" fmla="*/ 2147483647 h 585"/>
                  <a:gd name="T114" fmla="*/ 2147483647 w 352"/>
                  <a:gd name="T115" fmla="*/ 2147483647 h 585"/>
                  <a:gd name="T116" fmla="*/ 2147483647 w 352"/>
                  <a:gd name="T117" fmla="*/ 2147483647 h 585"/>
                  <a:gd name="T118" fmla="*/ 2147483647 w 352"/>
                  <a:gd name="T119" fmla="*/ 2147483647 h 58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52"/>
                  <a:gd name="T181" fmla="*/ 0 h 585"/>
                  <a:gd name="T182" fmla="*/ 352 w 352"/>
                  <a:gd name="T183" fmla="*/ 585 h 585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52" h="585">
                    <a:moveTo>
                      <a:pt x="297" y="504"/>
                    </a:moveTo>
                    <a:lnTo>
                      <a:pt x="292" y="504"/>
                    </a:lnTo>
                    <a:lnTo>
                      <a:pt x="292" y="509"/>
                    </a:lnTo>
                    <a:lnTo>
                      <a:pt x="287" y="514"/>
                    </a:lnTo>
                    <a:lnTo>
                      <a:pt x="282" y="509"/>
                    </a:lnTo>
                    <a:lnTo>
                      <a:pt x="277" y="509"/>
                    </a:lnTo>
                    <a:lnTo>
                      <a:pt x="272" y="514"/>
                    </a:lnTo>
                    <a:lnTo>
                      <a:pt x="277" y="519"/>
                    </a:lnTo>
                    <a:lnTo>
                      <a:pt x="277" y="524"/>
                    </a:lnTo>
                    <a:lnTo>
                      <a:pt x="272" y="524"/>
                    </a:lnTo>
                    <a:lnTo>
                      <a:pt x="267" y="524"/>
                    </a:lnTo>
                    <a:lnTo>
                      <a:pt x="262" y="524"/>
                    </a:lnTo>
                    <a:lnTo>
                      <a:pt x="257" y="529"/>
                    </a:lnTo>
                    <a:lnTo>
                      <a:pt x="257" y="534"/>
                    </a:lnTo>
                    <a:lnTo>
                      <a:pt x="252" y="534"/>
                    </a:lnTo>
                    <a:lnTo>
                      <a:pt x="247" y="534"/>
                    </a:lnTo>
                    <a:lnTo>
                      <a:pt x="242" y="534"/>
                    </a:lnTo>
                    <a:lnTo>
                      <a:pt x="231" y="534"/>
                    </a:lnTo>
                    <a:lnTo>
                      <a:pt x="226" y="534"/>
                    </a:lnTo>
                    <a:lnTo>
                      <a:pt x="221" y="539"/>
                    </a:lnTo>
                    <a:lnTo>
                      <a:pt x="221" y="545"/>
                    </a:lnTo>
                    <a:lnTo>
                      <a:pt x="216" y="550"/>
                    </a:lnTo>
                    <a:lnTo>
                      <a:pt x="211" y="550"/>
                    </a:lnTo>
                    <a:lnTo>
                      <a:pt x="206" y="545"/>
                    </a:lnTo>
                    <a:lnTo>
                      <a:pt x="201" y="539"/>
                    </a:lnTo>
                    <a:lnTo>
                      <a:pt x="201" y="534"/>
                    </a:lnTo>
                    <a:lnTo>
                      <a:pt x="196" y="534"/>
                    </a:lnTo>
                    <a:lnTo>
                      <a:pt x="196" y="539"/>
                    </a:lnTo>
                    <a:lnTo>
                      <a:pt x="196" y="545"/>
                    </a:lnTo>
                    <a:lnTo>
                      <a:pt x="201" y="550"/>
                    </a:lnTo>
                    <a:lnTo>
                      <a:pt x="196" y="555"/>
                    </a:lnTo>
                    <a:lnTo>
                      <a:pt x="191" y="550"/>
                    </a:lnTo>
                    <a:lnTo>
                      <a:pt x="191" y="545"/>
                    </a:lnTo>
                    <a:lnTo>
                      <a:pt x="186" y="539"/>
                    </a:lnTo>
                    <a:lnTo>
                      <a:pt x="186" y="545"/>
                    </a:lnTo>
                    <a:lnTo>
                      <a:pt x="186" y="550"/>
                    </a:lnTo>
                    <a:lnTo>
                      <a:pt x="191" y="550"/>
                    </a:lnTo>
                    <a:lnTo>
                      <a:pt x="191" y="555"/>
                    </a:lnTo>
                    <a:lnTo>
                      <a:pt x="186" y="560"/>
                    </a:lnTo>
                    <a:lnTo>
                      <a:pt x="181" y="555"/>
                    </a:lnTo>
                    <a:lnTo>
                      <a:pt x="176" y="555"/>
                    </a:lnTo>
                    <a:lnTo>
                      <a:pt x="171" y="555"/>
                    </a:lnTo>
                    <a:lnTo>
                      <a:pt x="166" y="555"/>
                    </a:lnTo>
                    <a:lnTo>
                      <a:pt x="166" y="560"/>
                    </a:lnTo>
                    <a:lnTo>
                      <a:pt x="171" y="560"/>
                    </a:lnTo>
                    <a:lnTo>
                      <a:pt x="176" y="560"/>
                    </a:lnTo>
                    <a:lnTo>
                      <a:pt x="181" y="560"/>
                    </a:lnTo>
                    <a:lnTo>
                      <a:pt x="181" y="565"/>
                    </a:lnTo>
                    <a:lnTo>
                      <a:pt x="186" y="565"/>
                    </a:lnTo>
                    <a:lnTo>
                      <a:pt x="186" y="570"/>
                    </a:lnTo>
                    <a:lnTo>
                      <a:pt x="186" y="575"/>
                    </a:lnTo>
                    <a:lnTo>
                      <a:pt x="181" y="575"/>
                    </a:lnTo>
                    <a:lnTo>
                      <a:pt x="176" y="575"/>
                    </a:lnTo>
                    <a:lnTo>
                      <a:pt x="176" y="570"/>
                    </a:lnTo>
                    <a:lnTo>
                      <a:pt x="171" y="570"/>
                    </a:lnTo>
                    <a:lnTo>
                      <a:pt x="171" y="575"/>
                    </a:lnTo>
                    <a:lnTo>
                      <a:pt x="176" y="580"/>
                    </a:lnTo>
                    <a:lnTo>
                      <a:pt x="171" y="585"/>
                    </a:lnTo>
                    <a:lnTo>
                      <a:pt x="166" y="585"/>
                    </a:lnTo>
                    <a:lnTo>
                      <a:pt x="161" y="585"/>
                    </a:lnTo>
                    <a:lnTo>
                      <a:pt x="161" y="580"/>
                    </a:lnTo>
                    <a:lnTo>
                      <a:pt x="156" y="575"/>
                    </a:lnTo>
                    <a:lnTo>
                      <a:pt x="151" y="575"/>
                    </a:lnTo>
                    <a:lnTo>
                      <a:pt x="151" y="570"/>
                    </a:lnTo>
                    <a:lnTo>
                      <a:pt x="146" y="565"/>
                    </a:lnTo>
                    <a:lnTo>
                      <a:pt x="141" y="565"/>
                    </a:lnTo>
                    <a:lnTo>
                      <a:pt x="136" y="565"/>
                    </a:lnTo>
                    <a:lnTo>
                      <a:pt x="131" y="565"/>
                    </a:lnTo>
                    <a:lnTo>
                      <a:pt x="126" y="565"/>
                    </a:lnTo>
                    <a:lnTo>
                      <a:pt x="126" y="570"/>
                    </a:lnTo>
                    <a:lnTo>
                      <a:pt x="126" y="565"/>
                    </a:lnTo>
                    <a:lnTo>
                      <a:pt x="121" y="565"/>
                    </a:lnTo>
                    <a:lnTo>
                      <a:pt x="121" y="560"/>
                    </a:lnTo>
                    <a:lnTo>
                      <a:pt x="116" y="555"/>
                    </a:lnTo>
                    <a:lnTo>
                      <a:pt x="111" y="550"/>
                    </a:lnTo>
                    <a:lnTo>
                      <a:pt x="111" y="555"/>
                    </a:lnTo>
                    <a:lnTo>
                      <a:pt x="111" y="550"/>
                    </a:lnTo>
                    <a:lnTo>
                      <a:pt x="111" y="545"/>
                    </a:lnTo>
                    <a:lnTo>
                      <a:pt x="105" y="550"/>
                    </a:lnTo>
                    <a:lnTo>
                      <a:pt x="105" y="545"/>
                    </a:lnTo>
                    <a:lnTo>
                      <a:pt x="111" y="545"/>
                    </a:lnTo>
                    <a:lnTo>
                      <a:pt x="111" y="539"/>
                    </a:lnTo>
                    <a:lnTo>
                      <a:pt x="105" y="539"/>
                    </a:lnTo>
                    <a:lnTo>
                      <a:pt x="105" y="545"/>
                    </a:lnTo>
                    <a:lnTo>
                      <a:pt x="100" y="545"/>
                    </a:lnTo>
                    <a:lnTo>
                      <a:pt x="100" y="539"/>
                    </a:lnTo>
                    <a:lnTo>
                      <a:pt x="95" y="539"/>
                    </a:lnTo>
                    <a:lnTo>
                      <a:pt x="90" y="539"/>
                    </a:lnTo>
                    <a:lnTo>
                      <a:pt x="90" y="534"/>
                    </a:lnTo>
                    <a:lnTo>
                      <a:pt x="95" y="534"/>
                    </a:lnTo>
                    <a:lnTo>
                      <a:pt x="90" y="529"/>
                    </a:lnTo>
                    <a:lnTo>
                      <a:pt x="90" y="524"/>
                    </a:lnTo>
                    <a:lnTo>
                      <a:pt x="90" y="519"/>
                    </a:lnTo>
                    <a:lnTo>
                      <a:pt x="85" y="514"/>
                    </a:lnTo>
                    <a:lnTo>
                      <a:pt x="85" y="509"/>
                    </a:lnTo>
                    <a:lnTo>
                      <a:pt x="80" y="509"/>
                    </a:lnTo>
                    <a:lnTo>
                      <a:pt x="85" y="509"/>
                    </a:lnTo>
                    <a:lnTo>
                      <a:pt x="90" y="509"/>
                    </a:lnTo>
                    <a:lnTo>
                      <a:pt x="85" y="504"/>
                    </a:lnTo>
                    <a:lnTo>
                      <a:pt x="90" y="504"/>
                    </a:lnTo>
                    <a:lnTo>
                      <a:pt x="90" y="499"/>
                    </a:lnTo>
                    <a:lnTo>
                      <a:pt x="85" y="499"/>
                    </a:lnTo>
                    <a:lnTo>
                      <a:pt x="80" y="499"/>
                    </a:lnTo>
                    <a:lnTo>
                      <a:pt x="80" y="494"/>
                    </a:lnTo>
                    <a:lnTo>
                      <a:pt x="80" y="489"/>
                    </a:lnTo>
                    <a:lnTo>
                      <a:pt x="80" y="484"/>
                    </a:lnTo>
                    <a:lnTo>
                      <a:pt x="75" y="484"/>
                    </a:lnTo>
                    <a:lnTo>
                      <a:pt x="75" y="479"/>
                    </a:lnTo>
                    <a:lnTo>
                      <a:pt x="80" y="479"/>
                    </a:lnTo>
                    <a:lnTo>
                      <a:pt x="75" y="479"/>
                    </a:lnTo>
                    <a:lnTo>
                      <a:pt x="70" y="479"/>
                    </a:lnTo>
                    <a:lnTo>
                      <a:pt x="75" y="479"/>
                    </a:lnTo>
                    <a:lnTo>
                      <a:pt x="75" y="474"/>
                    </a:lnTo>
                    <a:lnTo>
                      <a:pt x="70" y="474"/>
                    </a:lnTo>
                    <a:lnTo>
                      <a:pt x="75" y="469"/>
                    </a:lnTo>
                    <a:lnTo>
                      <a:pt x="70" y="464"/>
                    </a:lnTo>
                    <a:lnTo>
                      <a:pt x="65" y="464"/>
                    </a:lnTo>
                    <a:lnTo>
                      <a:pt x="70" y="464"/>
                    </a:lnTo>
                    <a:lnTo>
                      <a:pt x="70" y="459"/>
                    </a:lnTo>
                    <a:lnTo>
                      <a:pt x="65" y="459"/>
                    </a:lnTo>
                    <a:lnTo>
                      <a:pt x="65" y="454"/>
                    </a:lnTo>
                    <a:lnTo>
                      <a:pt x="70" y="454"/>
                    </a:lnTo>
                    <a:lnTo>
                      <a:pt x="65" y="449"/>
                    </a:lnTo>
                    <a:lnTo>
                      <a:pt x="70" y="449"/>
                    </a:lnTo>
                    <a:lnTo>
                      <a:pt x="65" y="444"/>
                    </a:lnTo>
                    <a:lnTo>
                      <a:pt x="65" y="439"/>
                    </a:lnTo>
                    <a:lnTo>
                      <a:pt x="65" y="434"/>
                    </a:lnTo>
                    <a:lnTo>
                      <a:pt x="65" y="439"/>
                    </a:lnTo>
                    <a:lnTo>
                      <a:pt x="65" y="434"/>
                    </a:lnTo>
                    <a:lnTo>
                      <a:pt x="65" y="429"/>
                    </a:lnTo>
                    <a:lnTo>
                      <a:pt x="60" y="424"/>
                    </a:lnTo>
                    <a:lnTo>
                      <a:pt x="60" y="419"/>
                    </a:lnTo>
                    <a:lnTo>
                      <a:pt x="60" y="414"/>
                    </a:lnTo>
                    <a:lnTo>
                      <a:pt x="55" y="408"/>
                    </a:lnTo>
                    <a:lnTo>
                      <a:pt x="55" y="403"/>
                    </a:lnTo>
                    <a:lnTo>
                      <a:pt x="55" y="398"/>
                    </a:lnTo>
                    <a:lnTo>
                      <a:pt x="55" y="393"/>
                    </a:lnTo>
                    <a:lnTo>
                      <a:pt x="60" y="388"/>
                    </a:lnTo>
                    <a:lnTo>
                      <a:pt x="60" y="383"/>
                    </a:lnTo>
                    <a:lnTo>
                      <a:pt x="60" y="378"/>
                    </a:lnTo>
                    <a:lnTo>
                      <a:pt x="60" y="373"/>
                    </a:lnTo>
                    <a:lnTo>
                      <a:pt x="55" y="368"/>
                    </a:lnTo>
                    <a:lnTo>
                      <a:pt x="50" y="368"/>
                    </a:lnTo>
                    <a:lnTo>
                      <a:pt x="55" y="363"/>
                    </a:lnTo>
                    <a:lnTo>
                      <a:pt x="50" y="363"/>
                    </a:lnTo>
                    <a:lnTo>
                      <a:pt x="55" y="363"/>
                    </a:lnTo>
                    <a:lnTo>
                      <a:pt x="55" y="358"/>
                    </a:lnTo>
                    <a:lnTo>
                      <a:pt x="50" y="353"/>
                    </a:lnTo>
                    <a:lnTo>
                      <a:pt x="50" y="348"/>
                    </a:lnTo>
                    <a:lnTo>
                      <a:pt x="45" y="343"/>
                    </a:lnTo>
                    <a:lnTo>
                      <a:pt x="40" y="343"/>
                    </a:lnTo>
                    <a:lnTo>
                      <a:pt x="40" y="338"/>
                    </a:lnTo>
                    <a:lnTo>
                      <a:pt x="40" y="333"/>
                    </a:lnTo>
                    <a:lnTo>
                      <a:pt x="40" y="328"/>
                    </a:lnTo>
                    <a:lnTo>
                      <a:pt x="35" y="328"/>
                    </a:lnTo>
                    <a:lnTo>
                      <a:pt x="30" y="323"/>
                    </a:lnTo>
                    <a:lnTo>
                      <a:pt x="30" y="318"/>
                    </a:lnTo>
                    <a:lnTo>
                      <a:pt x="30" y="313"/>
                    </a:lnTo>
                    <a:lnTo>
                      <a:pt x="35" y="308"/>
                    </a:lnTo>
                    <a:lnTo>
                      <a:pt x="35" y="313"/>
                    </a:lnTo>
                    <a:lnTo>
                      <a:pt x="40" y="308"/>
                    </a:lnTo>
                    <a:lnTo>
                      <a:pt x="35" y="303"/>
                    </a:lnTo>
                    <a:lnTo>
                      <a:pt x="35" y="298"/>
                    </a:lnTo>
                    <a:lnTo>
                      <a:pt x="35" y="293"/>
                    </a:lnTo>
                    <a:lnTo>
                      <a:pt x="35" y="288"/>
                    </a:lnTo>
                    <a:lnTo>
                      <a:pt x="40" y="288"/>
                    </a:lnTo>
                    <a:lnTo>
                      <a:pt x="40" y="283"/>
                    </a:lnTo>
                    <a:lnTo>
                      <a:pt x="40" y="277"/>
                    </a:lnTo>
                    <a:lnTo>
                      <a:pt x="40" y="272"/>
                    </a:lnTo>
                    <a:lnTo>
                      <a:pt x="35" y="272"/>
                    </a:lnTo>
                    <a:lnTo>
                      <a:pt x="30" y="267"/>
                    </a:lnTo>
                    <a:lnTo>
                      <a:pt x="25" y="267"/>
                    </a:lnTo>
                    <a:lnTo>
                      <a:pt x="25" y="262"/>
                    </a:lnTo>
                    <a:lnTo>
                      <a:pt x="30" y="262"/>
                    </a:lnTo>
                    <a:lnTo>
                      <a:pt x="30" y="257"/>
                    </a:lnTo>
                    <a:lnTo>
                      <a:pt x="30" y="252"/>
                    </a:lnTo>
                    <a:lnTo>
                      <a:pt x="25" y="247"/>
                    </a:lnTo>
                    <a:lnTo>
                      <a:pt x="20" y="242"/>
                    </a:lnTo>
                    <a:lnTo>
                      <a:pt x="15" y="237"/>
                    </a:lnTo>
                    <a:lnTo>
                      <a:pt x="15" y="232"/>
                    </a:lnTo>
                    <a:lnTo>
                      <a:pt x="15" y="227"/>
                    </a:lnTo>
                    <a:lnTo>
                      <a:pt x="5" y="217"/>
                    </a:lnTo>
                    <a:lnTo>
                      <a:pt x="5" y="212"/>
                    </a:lnTo>
                    <a:lnTo>
                      <a:pt x="0" y="207"/>
                    </a:lnTo>
                    <a:lnTo>
                      <a:pt x="0" y="202"/>
                    </a:lnTo>
                    <a:lnTo>
                      <a:pt x="5" y="197"/>
                    </a:lnTo>
                    <a:lnTo>
                      <a:pt x="0" y="197"/>
                    </a:lnTo>
                    <a:lnTo>
                      <a:pt x="5" y="192"/>
                    </a:lnTo>
                    <a:lnTo>
                      <a:pt x="5" y="197"/>
                    </a:lnTo>
                    <a:lnTo>
                      <a:pt x="10" y="197"/>
                    </a:lnTo>
                    <a:lnTo>
                      <a:pt x="10" y="187"/>
                    </a:lnTo>
                    <a:lnTo>
                      <a:pt x="5" y="187"/>
                    </a:lnTo>
                    <a:lnTo>
                      <a:pt x="0" y="187"/>
                    </a:lnTo>
                    <a:lnTo>
                      <a:pt x="5" y="182"/>
                    </a:lnTo>
                    <a:lnTo>
                      <a:pt x="10" y="177"/>
                    </a:lnTo>
                    <a:lnTo>
                      <a:pt x="5" y="177"/>
                    </a:lnTo>
                    <a:lnTo>
                      <a:pt x="5" y="172"/>
                    </a:lnTo>
                    <a:lnTo>
                      <a:pt x="0" y="172"/>
                    </a:lnTo>
                    <a:lnTo>
                      <a:pt x="0" y="167"/>
                    </a:lnTo>
                    <a:lnTo>
                      <a:pt x="15" y="162"/>
                    </a:lnTo>
                    <a:lnTo>
                      <a:pt x="10" y="162"/>
                    </a:lnTo>
                    <a:lnTo>
                      <a:pt x="5" y="157"/>
                    </a:lnTo>
                    <a:lnTo>
                      <a:pt x="5" y="151"/>
                    </a:lnTo>
                    <a:lnTo>
                      <a:pt x="0" y="151"/>
                    </a:lnTo>
                    <a:lnTo>
                      <a:pt x="5" y="146"/>
                    </a:lnTo>
                    <a:lnTo>
                      <a:pt x="5" y="141"/>
                    </a:lnTo>
                    <a:lnTo>
                      <a:pt x="10" y="141"/>
                    </a:lnTo>
                    <a:lnTo>
                      <a:pt x="15" y="136"/>
                    </a:lnTo>
                    <a:lnTo>
                      <a:pt x="15" y="131"/>
                    </a:lnTo>
                    <a:lnTo>
                      <a:pt x="15" y="126"/>
                    </a:lnTo>
                    <a:lnTo>
                      <a:pt x="20" y="121"/>
                    </a:lnTo>
                    <a:lnTo>
                      <a:pt x="20" y="116"/>
                    </a:lnTo>
                    <a:lnTo>
                      <a:pt x="25" y="116"/>
                    </a:lnTo>
                    <a:lnTo>
                      <a:pt x="30" y="116"/>
                    </a:lnTo>
                    <a:lnTo>
                      <a:pt x="35" y="111"/>
                    </a:lnTo>
                    <a:lnTo>
                      <a:pt x="40" y="111"/>
                    </a:lnTo>
                    <a:lnTo>
                      <a:pt x="45" y="111"/>
                    </a:lnTo>
                    <a:lnTo>
                      <a:pt x="40" y="106"/>
                    </a:lnTo>
                    <a:lnTo>
                      <a:pt x="45" y="101"/>
                    </a:lnTo>
                    <a:lnTo>
                      <a:pt x="50" y="96"/>
                    </a:lnTo>
                    <a:lnTo>
                      <a:pt x="50" y="91"/>
                    </a:lnTo>
                    <a:lnTo>
                      <a:pt x="50" y="86"/>
                    </a:lnTo>
                    <a:lnTo>
                      <a:pt x="55" y="86"/>
                    </a:lnTo>
                    <a:lnTo>
                      <a:pt x="55" y="81"/>
                    </a:lnTo>
                    <a:lnTo>
                      <a:pt x="60" y="81"/>
                    </a:lnTo>
                    <a:lnTo>
                      <a:pt x="60" y="76"/>
                    </a:lnTo>
                    <a:lnTo>
                      <a:pt x="65" y="76"/>
                    </a:lnTo>
                    <a:lnTo>
                      <a:pt x="65" y="61"/>
                    </a:lnTo>
                    <a:lnTo>
                      <a:pt x="70" y="56"/>
                    </a:lnTo>
                    <a:lnTo>
                      <a:pt x="70" y="51"/>
                    </a:lnTo>
                    <a:lnTo>
                      <a:pt x="70" y="46"/>
                    </a:lnTo>
                    <a:lnTo>
                      <a:pt x="75" y="51"/>
                    </a:lnTo>
                    <a:lnTo>
                      <a:pt x="75" y="46"/>
                    </a:lnTo>
                    <a:lnTo>
                      <a:pt x="75" y="41"/>
                    </a:lnTo>
                    <a:lnTo>
                      <a:pt x="80" y="36"/>
                    </a:lnTo>
                    <a:lnTo>
                      <a:pt x="80" y="31"/>
                    </a:lnTo>
                    <a:lnTo>
                      <a:pt x="85" y="36"/>
                    </a:lnTo>
                    <a:lnTo>
                      <a:pt x="90" y="36"/>
                    </a:lnTo>
                    <a:lnTo>
                      <a:pt x="90" y="31"/>
                    </a:lnTo>
                    <a:lnTo>
                      <a:pt x="90" y="26"/>
                    </a:lnTo>
                    <a:lnTo>
                      <a:pt x="90" y="20"/>
                    </a:lnTo>
                    <a:lnTo>
                      <a:pt x="95" y="26"/>
                    </a:lnTo>
                    <a:lnTo>
                      <a:pt x="100" y="26"/>
                    </a:lnTo>
                    <a:lnTo>
                      <a:pt x="105" y="26"/>
                    </a:lnTo>
                    <a:lnTo>
                      <a:pt x="111" y="20"/>
                    </a:lnTo>
                    <a:lnTo>
                      <a:pt x="111" y="15"/>
                    </a:lnTo>
                    <a:lnTo>
                      <a:pt x="121" y="15"/>
                    </a:lnTo>
                    <a:lnTo>
                      <a:pt x="116" y="10"/>
                    </a:lnTo>
                    <a:lnTo>
                      <a:pt x="121" y="5"/>
                    </a:lnTo>
                    <a:lnTo>
                      <a:pt x="121" y="0"/>
                    </a:lnTo>
                    <a:lnTo>
                      <a:pt x="126" y="5"/>
                    </a:lnTo>
                    <a:lnTo>
                      <a:pt x="131" y="0"/>
                    </a:lnTo>
                    <a:lnTo>
                      <a:pt x="131" y="10"/>
                    </a:lnTo>
                    <a:lnTo>
                      <a:pt x="141" y="5"/>
                    </a:lnTo>
                    <a:lnTo>
                      <a:pt x="141" y="10"/>
                    </a:lnTo>
                    <a:lnTo>
                      <a:pt x="146" y="15"/>
                    </a:lnTo>
                    <a:lnTo>
                      <a:pt x="151" y="15"/>
                    </a:lnTo>
                    <a:lnTo>
                      <a:pt x="156" y="20"/>
                    </a:lnTo>
                    <a:lnTo>
                      <a:pt x="161" y="20"/>
                    </a:lnTo>
                    <a:lnTo>
                      <a:pt x="166" y="20"/>
                    </a:lnTo>
                    <a:lnTo>
                      <a:pt x="161" y="26"/>
                    </a:lnTo>
                    <a:lnTo>
                      <a:pt x="166" y="31"/>
                    </a:lnTo>
                    <a:lnTo>
                      <a:pt x="161" y="41"/>
                    </a:lnTo>
                    <a:lnTo>
                      <a:pt x="161" y="46"/>
                    </a:lnTo>
                    <a:lnTo>
                      <a:pt x="166" y="46"/>
                    </a:lnTo>
                    <a:lnTo>
                      <a:pt x="171" y="51"/>
                    </a:lnTo>
                    <a:lnTo>
                      <a:pt x="176" y="51"/>
                    </a:lnTo>
                    <a:lnTo>
                      <a:pt x="176" y="56"/>
                    </a:lnTo>
                    <a:lnTo>
                      <a:pt x="176" y="61"/>
                    </a:lnTo>
                    <a:lnTo>
                      <a:pt x="186" y="61"/>
                    </a:lnTo>
                    <a:lnTo>
                      <a:pt x="191" y="61"/>
                    </a:lnTo>
                    <a:lnTo>
                      <a:pt x="191" y="66"/>
                    </a:lnTo>
                    <a:lnTo>
                      <a:pt x="196" y="71"/>
                    </a:lnTo>
                    <a:lnTo>
                      <a:pt x="196" y="66"/>
                    </a:lnTo>
                    <a:lnTo>
                      <a:pt x="201" y="66"/>
                    </a:lnTo>
                    <a:lnTo>
                      <a:pt x="201" y="71"/>
                    </a:lnTo>
                    <a:lnTo>
                      <a:pt x="206" y="71"/>
                    </a:lnTo>
                    <a:lnTo>
                      <a:pt x="206" y="76"/>
                    </a:lnTo>
                    <a:lnTo>
                      <a:pt x="211" y="81"/>
                    </a:lnTo>
                    <a:lnTo>
                      <a:pt x="216" y="81"/>
                    </a:lnTo>
                    <a:lnTo>
                      <a:pt x="216" y="71"/>
                    </a:lnTo>
                    <a:lnTo>
                      <a:pt x="221" y="71"/>
                    </a:lnTo>
                    <a:lnTo>
                      <a:pt x="226" y="66"/>
                    </a:lnTo>
                    <a:lnTo>
                      <a:pt x="231" y="71"/>
                    </a:lnTo>
                    <a:lnTo>
                      <a:pt x="226" y="76"/>
                    </a:lnTo>
                    <a:lnTo>
                      <a:pt x="226" y="81"/>
                    </a:lnTo>
                    <a:lnTo>
                      <a:pt x="231" y="81"/>
                    </a:lnTo>
                    <a:lnTo>
                      <a:pt x="231" y="86"/>
                    </a:lnTo>
                    <a:lnTo>
                      <a:pt x="236" y="86"/>
                    </a:lnTo>
                    <a:lnTo>
                      <a:pt x="236" y="91"/>
                    </a:lnTo>
                    <a:lnTo>
                      <a:pt x="242" y="91"/>
                    </a:lnTo>
                    <a:lnTo>
                      <a:pt x="242" y="86"/>
                    </a:lnTo>
                    <a:lnTo>
                      <a:pt x="242" y="81"/>
                    </a:lnTo>
                    <a:lnTo>
                      <a:pt x="247" y="91"/>
                    </a:lnTo>
                    <a:lnTo>
                      <a:pt x="252" y="96"/>
                    </a:lnTo>
                    <a:lnTo>
                      <a:pt x="247" y="101"/>
                    </a:lnTo>
                    <a:lnTo>
                      <a:pt x="242" y="101"/>
                    </a:lnTo>
                    <a:lnTo>
                      <a:pt x="242" y="106"/>
                    </a:lnTo>
                    <a:lnTo>
                      <a:pt x="242" y="111"/>
                    </a:lnTo>
                    <a:lnTo>
                      <a:pt x="242" y="116"/>
                    </a:lnTo>
                    <a:lnTo>
                      <a:pt x="252" y="111"/>
                    </a:lnTo>
                    <a:lnTo>
                      <a:pt x="257" y="116"/>
                    </a:lnTo>
                    <a:lnTo>
                      <a:pt x="257" y="126"/>
                    </a:lnTo>
                    <a:lnTo>
                      <a:pt x="252" y="126"/>
                    </a:lnTo>
                    <a:lnTo>
                      <a:pt x="247" y="126"/>
                    </a:lnTo>
                    <a:lnTo>
                      <a:pt x="247" y="131"/>
                    </a:lnTo>
                    <a:lnTo>
                      <a:pt x="236" y="131"/>
                    </a:lnTo>
                    <a:lnTo>
                      <a:pt x="236" y="136"/>
                    </a:lnTo>
                    <a:lnTo>
                      <a:pt x="236" y="141"/>
                    </a:lnTo>
                    <a:lnTo>
                      <a:pt x="242" y="141"/>
                    </a:lnTo>
                    <a:lnTo>
                      <a:pt x="242" y="151"/>
                    </a:lnTo>
                    <a:lnTo>
                      <a:pt x="242" y="157"/>
                    </a:lnTo>
                    <a:lnTo>
                      <a:pt x="242" y="162"/>
                    </a:lnTo>
                    <a:lnTo>
                      <a:pt x="242" y="167"/>
                    </a:lnTo>
                    <a:lnTo>
                      <a:pt x="247" y="162"/>
                    </a:lnTo>
                    <a:lnTo>
                      <a:pt x="257" y="162"/>
                    </a:lnTo>
                    <a:lnTo>
                      <a:pt x="257" y="167"/>
                    </a:lnTo>
                    <a:lnTo>
                      <a:pt x="257" y="172"/>
                    </a:lnTo>
                    <a:lnTo>
                      <a:pt x="262" y="177"/>
                    </a:lnTo>
                    <a:lnTo>
                      <a:pt x="267" y="182"/>
                    </a:lnTo>
                    <a:lnTo>
                      <a:pt x="267" y="187"/>
                    </a:lnTo>
                    <a:lnTo>
                      <a:pt x="272" y="182"/>
                    </a:lnTo>
                    <a:lnTo>
                      <a:pt x="277" y="182"/>
                    </a:lnTo>
                    <a:lnTo>
                      <a:pt x="282" y="187"/>
                    </a:lnTo>
                    <a:lnTo>
                      <a:pt x="277" y="187"/>
                    </a:lnTo>
                    <a:lnTo>
                      <a:pt x="282" y="192"/>
                    </a:lnTo>
                    <a:lnTo>
                      <a:pt x="287" y="192"/>
                    </a:lnTo>
                    <a:lnTo>
                      <a:pt x="292" y="197"/>
                    </a:lnTo>
                    <a:lnTo>
                      <a:pt x="297" y="197"/>
                    </a:lnTo>
                    <a:lnTo>
                      <a:pt x="302" y="197"/>
                    </a:lnTo>
                    <a:lnTo>
                      <a:pt x="297" y="202"/>
                    </a:lnTo>
                    <a:lnTo>
                      <a:pt x="302" y="202"/>
                    </a:lnTo>
                    <a:lnTo>
                      <a:pt x="292" y="207"/>
                    </a:lnTo>
                    <a:lnTo>
                      <a:pt x="297" y="217"/>
                    </a:lnTo>
                    <a:lnTo>
                      <a:pt x="302" y="217"/>
                    </a:lnTo>
                    <a:lnTo>
                      <a:pt x="307" y="222"/>
                    </a:lnTo>
                    <a:lnTo>
                      <a:pt x="307" y="227"/>
                    </a:lnTo>
                    <a:lnTo>
                      <a:pt x="302" y="227"/>
                    </a:lnTo>
                    <a:lnTo>
                      <a:pt x="302" y="232"/>
                    </a:lnTo>
                    <a:lnTo>
                      <a:pt x="297" y="237"/>
                    </a:lnTo>
                    <a:lnTo>
                      <a:pt x="302" y="237"/>
                    </a:lnTo>
                    <a:lnTo>
                      <a:pt x="307" y="242"/>
                    </a:lnTo>
                    <a:lnTo>
                      <a:pt x="307" y="252"/>
                    </a:lnTo>
                    <a:lnTo>
                      <a:pt x="302" y="252"/>
                    </a:lnTo>
                    <a:lnTo>
                      <a:pt x="302" y="257"/>
                    </a:lnTo>
                    <a:lnTo>
                      <a:pt x="302" y="262"/>
                    </a:lnTo>
                    <a:lnTo>
                      <a:pt x="312" y="257"/>
                    </a:lnTo>
                    <a:lnTo>
                      <a:pt x="307" y="262"/>
                    </a:lnTo>
                    <a:lnTo>
                      <a:pt x="302" y="267"/>
                    </a:lnTo>
                    <a:lnTo>
                      <a:pt x="307" y="272"/>
                    </a:lnTo>
                    <a:lnTo>
                      <a:pt x="312" y="272"/>
                    </a:lnTo>
                    <a:lnTo>
                      <a:pt x="317" y="272"/>
                    </a:lnTo>
                    <a:lnTo>
                      <a:pt x="322" y="272"/>
                    </a:lnTo>
                    <a:lnTo>
                      <a:pt x="327" y="272"/>
                    </a:lnTo>
                    <a:lnTo>
                      <a:pt x="322" y="277"/>
                    </a:lnTo>
                    <a:lnTo>
                      <a:pt x="322" y="288"/>
                    </a:lnTo>
                    <a:lnTo>
                      <a:pt x="322" y="293"/>
                    </a:lnTo>
                    <a:lnTo>
                      <a:pt x="327" y="293"/>
                    </a:lnTo>
                    <a:lnTo>
                      <a:pt x="322" y="298"/>
                    </a:lnTo>
                    <a:lnTo>
                      <a:pt x="327" y="298"/>
                    </a:lnTo>
                    <a:lnTo>
                      <a:pt x="332" y="303"/>
                    </a:lnTo>
                    <a:lnTo>
                      <a:pt x="332" y="308"/>
                    </a:lnTo>
                    <a:lnTo>
                      <a:pt x="337" y="313"/>
                    </a:lnTo>
                    <a:lnTo>
                      <a:pt x="332" y="313"/>
                    </a:lnTo>
                    <a:lnTo>
                      <a:pt x="337" y="318"/>
                    </a:lnTo>
                    <a:lnTo>
                      <a:pt x="342" y="318"/>
                    </a:lnTo>
                    <a:lnTo>
                      <a:pt x="337" y="323"/>
                    </a:lnTo>
                    <a:lnTo>
                      <a:pt x="342" y="328"/>
                    </a:lnTo>
                    <a:lnTo>
                      <a:pt x="347" y="328"/>
                    </a:lnTo>
                    <a:lnTo>
                      <a:pt x="352" y="338"/>
                    </a:lnTo>
                    <a:lnTo>
                      <a:pt x="347" y="338"/>
                    </a:lnTo>
                    <a:lnTo>
                      <a:pt x="342" y="338"/>
                    </a:lnTo>
                    <a:lnTo>
                      <a:pt x="332" y="338"/>
                    </a:lnTo>
                    <a:lnTo>
                      <a:pt x="332" y="343"/>
                    </a:lnTo>
                    <a:lnTo>
                      <a:pt x="327" y="338"/>
                    </a:lnTo>
                    <a:lnTo>
                      <a:pt x="327" y="343"/>
                    </a:lnTo>
                    <a:lnTo>
                      <a:pt x="327" y="348"/>
                    </a:lnTo>
                    <a:lnTo>
                      <a:pt x="327" y="353"/>
                    </a:lnTo>
                    <a:lnTo>
                      <a:pt x="322" y="353"/>
                    </a:lnTo>
                    <a:lnTo>
                      <a:pt x="317" y="353"/>
                    </a:lnTo>
                    <a:lnTo>
                      <a:pt x="307" y="348"/>
                    </a:lnTo>
                    <a:lnTo>
                      <a:pt x="307" y="353"/>
                    </a:lnTo>
                    <a:lnTo>
                      <a:pt x="302" y="348"/>
                    </a:lnTo>
                    <a:lnTo>
                      <a:pt x="297" y="353"/>
                    </a:lnTo>
                    <a:lnTo>
                      <a:pt x="302" y="358"/>
                    </a:lnTo>
                    <a:lnTo>
                      <a:pt x="297" y="363"/>
                    </a:lnTo>
                    <a:lnTo>
                      <a:pt x="292" y="363"/>
                    </a:lnTo>
                    <a:lnTo>
                      <a:pt x="292" y="358"/>
                    </a:lnTo>
                    <a:lnTo>
                      <a:pt x="287" y="363"/>
                    </a:lnTo>
                    <a:lnTo>
                      <a:pt x="292" y="368"/>
                    </a:lnTo>
                    <a:lnTo>
                      <a:pt x="287" y="363"/>
                    </a:lnTo>
                    <a:lnTo>
                      <a:pt x="282" y="368"/>
                    </a:lnTo>
                    <a:lnTo>
                      <a:pt x="287" y="373"/>
                    </a:lnTo>
                    <a:lnTo>
                      <a:pt x="287" y="378"/>
                    </a:lnTo>
                    <a:lnTo>
                      <a:pt x="287" y="383"/>
                    </a:lnTo>
                    <a:lnTo>
                      <a:pt x="292" y="383"/>
                    </a:lnTo>
                    <a:lnTo>
                      <a:pt x="282" y="388"/>
                    </a:lnTo>
                    <a:lnTo>
                      <a:pt x="277" y="388"/>
                    </a:lnTo>
                    <a:lnTo>
                      <a:pt x="272" y="393"/>
                    </a:lnTo>
                    <a:lnTo>
                      <a:pt x="272" y="403"/>
                    </a:lnTo>
                    <a:lnTo>
                      <a:pt x="272" y="408"/>
                    </a:lnTo>
                    <a:lnTo>
                      <a:pt x="277" y="408"/>
                    </a:lnTo>
                    <a:lnTo>
                      <a:pt x="282" y="408"/>
                    </a:lnTo>
                    <a:lnTo>
                      <a:pt x="282" y="414"/>
                    </a:lnTo>
                    <a:lnTo>
                      <a:pt x="277" y="414"/>
                    </a:lnTo>
                    <a:lnTo>
                      <a:pt x="277" y="419"/>
                    </a:lnTo>
                    <a:lnTo>
                      <a:pt x="277" y="424"/>
                    </a:lnTo>
                    <a:lnTo>
                      <a:pt x="282" y="429"/>
                    </a:lnTo>
                    <a:lnTo>
                      <a:pt x="287" y="434"/>
                    </a:lnTo>
                    <a:lnTo>
                      <a:pt x="287" y="439"/>
                    </a:lnTo>
                    <a:lnTo>
                      <a:pt x="287" y="444"/>
                    </a:lnTo>
                    <a:lnTo>
                      <a:pt x="287" y="449"/>
                    </a:lnTo>
                    <a:lnTo>
                      <a:pt x="292" y="454"/>
                    </a:lnTo>
                    <a:lnTo>
                      <a:pt x="292" y="459"/>
                    </a:lnTo>
                    <a:lnTo>
                      <a:pt x="297" y="464"/>
                    </a:lnTo>
                    <a:lnTo>
                      <a:pt x="292" y="464"/>
                    </a:lnTo>
                    <a:lnTo>
                      <a:pt x="287" y="464"/>
                    </a:lnTo>
                    <a:lnTo>
                      <a:pt x="292" y="474"/>
                    </a:lnTo>
                    <a:lnTo>
                      <a:pt x="297" y="479"/>
                    </a:lnTo>
                    <a:lnTo>
                      <a:pt x="297" y="484"/>
                    </a:lnTo>
                    <a:lnTo>
                      <a:pt x="292" y="499"/>
                    </a:lnTo>
                    <a:lnTo>
                      <a:pt x="297" y="504"/>
                    </a:lnTo>
                    <a:close/>
                  </a:path>
                </a:pathLst>
              </a:custGeom>
              <a:solidFill>
                <a:srgbClr val="84BB5B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639">
                <a:extLst>
                  <a:ext uri="{FF2B5EF4-FFF2-40B4-BE49-F238E27FC236}">
                    <a16:creationId xmlns:a16="http://schemas.microsoft.com/office/drawing/2014/main" id="{AE8FD1C8-8754-B356-55AD-4C938806D5EB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2531411" y="2599434"/>
                <a:ext cx="875028" cy="833170"/>
              </a:xfrm>
              <a:custGeom>
                <a:avLst/>
                <a:gdLst>
                  <a:gd name="T0" fmla="*/ 2147483647 w 564"/>
                  <a:gd name="T1" fmla="*/ 2147483647 h 560"/>
                  <a:gd name="T2" fmla="*/ 2147483647 w 564"/>
                  <a:gd name="T3" fmla="*/ 2147483647 h 560"/>
                  <a:gd name="T4" fmla="*/ 2147483647 w 564"/>
                  <a:gd name="T5" fmla="*/ 2147483647 h 560"/>
                  <a:gd name="T6" fmla="*/ 2147483647 w 564"/>
                  <a:gd name="T7" fmla="*/ 2147483647 h 560"/>
                  <a:gd name="T8" fmla="*/ 2147483647 w 564"/>
                  <a:gd name="T9" fmla="*/ 2147483647 h 560"/>
                  <a:gd name="T10" fmla="*/ 2147483647 w 564"/>
                  <a:gd name="T11" fmla="*/ 2147483647 h 560"/>
                  <a:gd name="T12" fmla="*/ 2147483647 w 564"/>
                  <a:gd name="T13" fmla="*/ 2147483647 h 560"/>
                  <a:gd name="T14" fmla="*/ 2147483647 w 564"/>
                  <a:gd name="T15" fmla="*/ 2147483647 h 560"/>
                  <a:gd name="T16" fmla="*/ 2147483647 w 564"/>
                  <a:gd name="T17" fmla="*/ 2147483647 h 560"/>
                  <a:gd name="T18" fmla="*/ 2147483647 w 564"/>
                  <a:gd name="T19" fmla="*/ 2147483647 h 560"/>
                  <a:gd name="T20" fmla="*/ 2147483647 w 564"/>
                  <a:gd name="T21" fmla="*/ 2147483647 h 560"/>
                  <a:gd name="T22" fmla="*/ 2147483647 w 564"/>
                  <a:gd name="T23" fmla="*/ 2147483647 h 560"/>
                  <a:gd name="T24" fmla="*/ 2147483647 w 564"/>
                  <a:gd name="T25" fmla="*/ 2147483647 h 560"/>
                  <a:gd name="T26" fmla="*/ 2147483647 w 564"/>
                  <a:gd name="T27" fmla="*/ 2147483647 h 560"/>
                  <a:gd name="T28" fmla="*/ 2147483647 w 564"/>
                  <a:gd name="T29" fmla="*/ 2147483647 h 560"/>
                  <a:gd name="T30" fmla="*/ 2147483647 w 564"/>
                  <a:gd name="T31" fmla="*/ 2147483647 h 560"/>
                  <a:gd name="T32" fmla="*/ 2147483647 w 564"/>
                  <a:gd name="T33" fmla="*/ 2147483647 h 560"/>
                  <a:gd name="T34" fmla="*/ 2147483647 w 564"/>
                  <a:gd name="T35" fmla="*/ 2147483647 h 560"/>
                  <a:gd name="T36" fmla="*/ 2147483647 w 564"/>
                  <a:gd name="T37" fmla="*/ 2147483647 h 560"/>
                  <a:gd name="T38" fmla="*/ 2147483647 w 564"/>
                  <a:gd name="T39" fmla="*/ 2147483647 h 560"/>
                  <a:gd name="T40" fmla="*/ 2147483647 w 564"/>
                  <a:gd name="T41" fmla="*/ 2147483647 h 560"/>
                  <a:gd name="T42" fmla="*/ 2147483647 w 564"/>
                  <a:gd name="T43" fmla="*/ 2147483647 h 560"/>
                  <a:gd name="T44" fmla="*/ 2147483647 w 564"/>
                  <a:gd name="T45" fmla="*/ 2147483647 h 560"/>
                  <a:gd name="T46" fmla="*/ 2147483647 w 564"/>
                  <a:gd name="T47" fmla="*/ 2147483647 h 560"/>
                  <a:gd name="T48" fmla="*/ 2147483647 w 564"/>
                  <a:gd name="T49" fmla="*/ 2147483647 h 560"/>
                  <a:gd name="T50" fmla="*/ 2147483647 w 564"/>
                  <a:gd name="T51" fmla="*/ 2147483647 h 560"/>
                  <a:gd name="T52" fmla="*/ 0 w 564"/>
                  <a:gd name="T53" fmla="*/ 2147483647 h 560"/>
                  <a:gd name="T54" fmla="*/ 2147483647 w 564"/>
                  <a:gd name="T55" fmla="*/ 2147483647 h 560"/>
                  <a:gd name="T56" fmla="*/ 2147483647 w 564"/>
                  <a:gd name="T57" fmla="*/ 2147483647 h 560"/>
                  <a:gd name="T58" fmla="*/ 2147483647 w 564"/>
                  <a:gd name="T59" fmla="*/ 2147483647 h 560"/>
                  <a:gd name="T60" fmla="*/ 2147483647 w 564"/>
                  <a:gd name="T61" fmla="*/ 2147483647 h 560"/>
                  <a:gd name="T62" fmla="*/ 2147483647 w 564"/>
                  <a:gd name="T63" fmla="*/ 2147483647 h 560"/>
                  <a:gd name="T64" fmla="*/ 2147483647 w 564"/>
                  <a:gd name="T65" fmla="*/ 2147483647 h 560"/>
                  <a:gd name="T66" fmla="*/ 2147483647 w 564"/>
                  <a:gd name="T67" fmla="*/ 2147483647 h 560"/>
                  <a:gd name="T68" fmla="*/ 2147483647 w 564"/>
                  <a:gd name="T69" fmla="*/ 2147483647 h 560"/>
                  <a:gd name="T70" fmla="*/ 2147483647 w 564"/>
                  <a:gd name="T71" fmla="*/ 2147483647 h 560"/>
                  <a:gd name="T72" fmla="*/ 2147483647 w 564"/>
                  <a:gd name="T73" fmla="*/ 2147483647 h 560"/>
                  <a:gd name="T74" fmla="*/ 2147483647 w 564"/>
                  <a:gd name="T75" fmla="*/ 2147483647 h 560"/>
                  <a:gd name="T76" fmla="*/ 2147483647 w 564"/>
                  <a:gd name="T77" fmla="*/ 2147483647 h 560"/>
                  <a:gd name="T78" fmla="*/ 2147483647 w 564"/>
                  <a:gd name="T79" fmla="*/ 2147483647 h 560"/>
                  <a:gd name="T80" fmla="*/ 2147483647 w 564"/>
                  <a:gd name="T81" fmla="*/ 2147483647 h 560"/>
                  <a:gd name="T82" fmla="*/ 2147483647 w 564"/>
                  <a:gd name="T83" fmla="*/ 2147483647 h 560"/>
                  <a:gd name="T84" fmla="*/ 2147483647 w 564"/>
                  <a:gd name="T85" fmla="*/ 2147483647 h 560"/>
                  <a:gd name="T86" fmla="*/ 2147483647 w 564"/>
                  <a:gd name="T87" fmla="*/ 2147483647 h 560"/>
                  <a:gd name="T88" fmla="*/ 2147483647 w 564"/>
                  <a:gd name="T89" fmla="*/ 2147483647 h 560"/>
                  <a:gd name="T90" fmla="*/ 2147483647 w 564"/>
                  <a:gd name="T91" fmla="*/ 2147483647 h 560"/>
                  <a:gd name="T92" fmla="*/ 2147483647 w 564"/>
                  <a:gd name="T93" fmla="*/ 2147483647 h 560"/>
                  <a:gd name="T94" fmla="*/ 2147483647 w 564"/>
                  <a:gd name="T95" fmla="*/ 2147483647 h 560"/>
                  <a:gd name="T96" fmla="*/ 2147483647 w 564"/>
                  <a:gd name="T97" fmla="*/ 2147483647 h 560"/>
                  <a:gd name="T98" fmla="*/ 2147483647 w 564"/>
                  <a:gd name="T99" fmla="*/ 2147483647 h 560"/>
                  <a:gd name="T100" fmla="*/ 2147483647 w 564"/>
                  <a:gd name="T101" fmla="*/ 2147483647 h 560"/>
                  <a:gd name="T102" fmla="*/ 2147483647 w 564"/>
                  <a:gd name="T103" fmla="*/ 2147483647 h 560"/>
                  <a:gd name="T104" fmla="*/ 2147483647 w 564"/>
                  <a:gd name="T105" fmla="*/ 2147483647 h 560"/>
                  <a:gd name="T106" fmla="*/ 2147483647 w 564"/>
                  <a:gd name="T107" fmla="*/ 2147483647 h 560"/>
                  <a:gd name="T108" fmla="*/ 2147483647 w 564"/>
                  <a:gd name="T109" fmla="*/ 2147483647 h 560"/>
                  <a:gd name="T110" fmla="*/ 2147483647 w 564"/>
                  <a:gd name="T111" fmla="*/ 2147483647 h 560"/>
                  <a:gd name="T112" fmla="*/ 2147483647 w 564"/>
                  <a:gd name="T113" fmla="*/ 2147483647 h 56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64"/>
                  <a:gd name="T172" fmla="*/ 0 h 560"/>
                  <a:gd name="T173" fmla="*/ 564 w 564"/>
                  <a:gd name="T174" fmla="*/ 560 h 56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64" h="560">
                    <a:moveTo>
                      <a:pt x="539" y="212"/>
                    </a:moveTo>
                    <a:lnTo>
                      <a:pt x="529" y="227"/>
                    </a:lnTo>
                    <a:lnTo>
                      <a:pt x="529" y="242"/>
                    </a:lnTo>
                    <a:lnTo>
                      <a:pt x="534" y="247"/>
                    </a:lnTo>
                    <a:lnTo>
                      <a:pt x="544" y="247"/>
                    </a:lnTo>
                    <a:lnTo>
                      <a:pt x="554" y="242"/>
                    </a:lnTo>
                    <a:lnTo>
                      <a:pt x="554" y="252"/>
                    </a:lnTo>
                    <a:lnTo>
                      <a:pt x="549" y="252"/>
                    </a:lnTo>
                    <a:lnTo>
                      <a:pt x="549" y="257"/>
                    </a:lnTo>
                    <a:lnTo>
                      <a:pt x="549" y="272"/>
                    </a:lnTo>
                    <a:lnTo>
                      <a:pt x="554" y="272"/>
                    </a:lnTo>
                    <a:lnTo>
                      <a:pt x="554" y="277"/>
                    </a:lnTo>
                    <a:lnTo>
                      <a:pt x="554" y="272"/>
                    </a:lnTo>
                    <a:lnTo>
                      <a:pt x="559" y="277"/>
                    </a:lnTo>
                    <a:lnTo>
                      <a:pt x="559" y="272"/>
                    </a:lnTo>
                    <a:lnTo>
                      <a:pt x="564" y="277"/>
                    </a:lnTo>
                    <a:lnTo>
                      <a:pt x="559" y="277"/>
                    </a:lnTo>
                    <a:lnTo>
                      <a:pt x="559" y="282"/>
                    </a:lnTo>
                    <a:lnTo>
                      <a:pt x="549" y="287"/>
                    </a:lnTo>
                    <a:lnTo>
                      <a:pt x="539" y="293"/>
                    </a:lnTo>
                    <a:lnTo>
                      <a:pt x="539" y="287"/>
                    </a:lnTo>
                    <a:lnTo>
                      <a:pt x="534" y="293"/>
                    </a:lnTo>
                    <a:lnTo>
                      <a:pt x="529" y="287"/>
                    </a:lnTo>
                    <a:lnTo>
                      <a:pt x="529" y="293"/>
                    </a:lnTo>
                    <a:lnTo>
                      <a:pt x="534" y="298"/>
                    </a:lnTo>
                    <a:lnTo>
                      <a:pt x="529" y="298"/>
                    </a:lnTo>
                    <a:lnTo>
                      <a:pt x="524" y="303"/>
                    </a:lnTo>
                    <a:lnTo>
                      <a:pt x="519" y="298"/>
                    </a:lnTo>
                    <a:lnTo>
                      <a:pt x="519" y="303"/>
                    </a:lnTo>
                    <a:lnTo>
                      <a:pt x="514" y="303"/>
                    </a:lnTo>
                    <a:lnTo>
                      <a:pt x="509" y="303"/>
                    </a:lnTo>
                    <a:lnTo>
                      <a:pt x="509" y="308"/>
                    </a:lnTo>
                    <a:lnTo>
                      <a:pt x="509" y="313"/>
                    </a:lnTo>
                    <a:lnTo>
                      <a:pt x="504" y="303"/>
                    </a:lnTo>
                    <a:lnTo>
                      <a:pt x="499" y="298"/>
                    </a:lnTo>
                    <a:lnTo>
                      <a:pt x="499" y="293"/>
                    </a:lnTo>
                    <a:lnTo>
                      <a:pt x="494" y="298"/>
                    </a:lnTo>
                    <a:lnTo>
                      <a:pt x="494" y="293"/>
                    </a:lnTo>
                    <a:lnTo>
                      <a:pt x="489" y="293"/>
                    </a:lnTo>
                    <a:lnTo>
                      <a:pt x="494" y="287"/>
                    </a:lnTo>
                    <a:lnTo>
                      <a:pt x="489" y="287"/>
                    </a:lnTo>
                    <a:lnTo>
                      <a:pt x="484" y="287"/>
                    </a:lnTo>
                    <a:lnTo>
                      <a:pt x="484" y="293"/>
                    </a:lnTo>
                    <a:lnTo>
                      <a:pt x="479" y="298"/>
                    </a:lnTo>
                    <a:lnTo>
                      <a:pt x="479" y="293"/>
                    </a:lnTo>
                    <a:lnTo>
                      <a:pt x="474" y="293"/>
                    </a:lnTo>
                    <a:lnTo>
                      <a:pt x="474" y="287"/>
                    </a:lnTo>
                    <a:lnTo>
                      <a:pt x="468" y="282"/>
                    </a:lnTo>
                    <a:lnTo>
                      <a:pt x="458" y="282"/>
                    </a:lnTo>
                    <a:lnTo>
                      <a:pt x="458" y="287"/>
                    </a:lnTo>
                    <a:lnTo>
                      <a:pt x="453" y="282"/>
                    </a:lnTo>
                    <a:lnTo>
                      <a:pt x="453" y="287"/>
                    </a:lnTo>
                    <a:lnTo>
                      <a:pt x="453" y="293"/>
                    </a:lnTo>
                    <a:lnTo>
                      <a:pt x="448" y="293"/>
                    </a:lnTo>
                    <a:lnTo>
                      <a:pt x="448" y="313"/>
                    </a:lnTo>
                    <a:lnTo>
                      <a:pt x="443" y="313"/>
                    </a:lnTo>
                    <a:lnTo>
                      <a:pt x="443" y="318"/>
                    </a:lnTo>
                    <a:lnTo>
                      <a:pt x="438" y="323"/>
                    </a:lnTo>
                    <a:lnTo>
                      <a:pt x="438" y="328"/>
                    </a:lnTo>
                    <a:lnTo>
                      <a:pt x="443" y="328"/>
                    </a:lnTo>
                    <a:lnTo>
                      <a:pt x="443" y="333"/>
                    </a:lnTo>
                    <a:lnTo>
                      <a:pt x="443" y="338"/>
                    </a:lnTo>
                    <a:lnTo>
                      <a:pt x="438" y="338"/>
                    </a:lnTo>
                    <a:lnTo>
                      <a:pt x="443" y="343"/>
                    </a:lnTo>
                    <a:lnTo>
                      <a:pt x="433" y="343"/>
                    </a:lnTo>
                    <a:lnTo>
                      <a:pt x="433" y="338"/>
                    </a:lnTo>
                    <a:lnTo>
                      <a:pt x="428" y="343"/>
                    </a:lnTo>
                    <a:lnTo>
                      <a:pt x="423" y="338"/>
                    </a:lnTo>
                    <a:lnTo>
                      <a:pt x="418" y="348"/>
                    </a:lnTo>
                    <a:lnTo>
                      <a:pt x="413" y="348"/>
                    </a:lnTo>
                    <a:lnTo>
                      <a:pt x="413" y="358"/>
                    </a:lnTo>
                    <a:lnTo>
                      <a:pt x="408" y="358"/>
                    </a:lnTo>
                    <a:lnTo>
                      <a:pt x="408" y="353"/>
                    </a:lnTo>
                    <a:lnTo>
                      <a:pt x="408" y="348"/>
                    </a:lnTo>
                    <a:lnTo>
                      <a:pt x="388" y="348"/>
                    </a:lnTo>
                    <a:lnTo>
                      <a:pt x="383" y="343"/>
                    </a:lnTo>
                    <a:lnTo>
                      <a:pt x="383" y="348"/>
                    </a:lnTo>
                    <a:lnTo>
                      <a:pt x="378" y="353"/>
                    </a:lnTo>
                    <a:lnTo>
                      <a:pt x="378" y="358"/>
                    </a:lnTo>
                    <a:lnTo>
                      <a:pt x="373" y="353"/>
                    </a:lnTo>
                    <a:lnTo>
                      <a:pt x="368" y="358"/>
                    </a:lnTo>
                    <a:lnTo>
                      <a:pt x="368" y="363"/>
                    </a:lnTo>
                    <a:lnTo>
                      <a:pt x="373" y="363"/>
                    </a:lnTo>
                    <a:lnTo>
                      <a:pt x="368" y="363"/>
                    </a:lnTo>
                    <a:lnTo>
                      <a:pt x="363" y="368"/>
                    </a:lnTo>
                    <a:lnTo>
                      <a:pt x="358" y="363"/>
                    </a:lnTo>
                    <a:lnTo>
                      <a:pt x="353" y="363"/>
                    </a:lnTo>
                    <a:lnTo>
                      <a:pt x="353" y="368"/>
                    </a:lnTo>
                    <a:lnTo>
                      <a:pt x="348" y="368"/>
                    </a:lnTo>
                    <a:lnTo>
                      <a:pt x="348" y="373"/>
                    </a:lnTo>
                    <a:lnTo>
                      <a:pt x="353" y="373"/>
                    </a:lnTo>
                    <a:lnTo>
                      <a:pt x="348" y="383"/>
                    </a:lnTo>
                    <a:lnTo>
                      <a:pt x="353" y="383"/>
                    </a:lnTo>
                    <a:lnTo>
                      <a:pt x="353" y="388"/>
                    </a:lnTo>
                    <a:lnTo>
                      <a:pt x="348" y="393"/>
                    </a:lnTo>
                    <a:lnTo>
                      <a:pt x="348" y="398"/>
                    </a:lnTo>
                    <a:lnTo>
                      <a:pt x="342" y="403"/>
                    </a:lnTo>
                    <a:lnTo>
                      <a:pt x="332" y="413"/>
                    </a:lnTo>
                    <a:lnTo>
                      <a:pt x="337" y="419"/>
                    </a:lnTo>
                    <a:lnTo>
                      <a:pt x="332" y="413"/>
                    </a:lnTo>
                    <a:lnTo>
                      <a:pt x="332" y="419"/>
                    </a:lnTo>
                    <a:lnTo>
                      <a:pt x="332" y="424"/>
                    </a:lnTo>
                    <a:lnTo>
                      <a:pt x="332" y="419"/>
                    </a:lnTo>
                    <a:lnTo>
                      <a:pt x="332" y="424"/>
                    </a:lnTo>
                    <a:lnTo>
                      <a:pt x="327" y="424"/>
                    </a:lnTo>
                    <a:lnTo>
                      <a:pt x="322" y="424"/>
                    </a:lnTo>
                    <a:lnTo>
                      <a:pt x="322" y="429"/>
                    </a:lnTo>
                    <a:lnTo>
                      <a:pt x="317" y="429"/>
                    </a:lnTo>
                    <a:lnTo>
                      <a:pt x="317" y="424"/>
                    </a:lnTo>
                    <a:lnTo>
                      <a:pt x="317" y="419"/>
                    </a:lnTo>
                    <a:lnTo>
                      <a:pt x="312" y="424"/>
                    </a:lnTo>
                    <a:lnTo>
                      <a:pt x="307" y="424"/>
                    </a:lnTo>
                    <a:lnTo>
                      <a:pt x="302" y="424"/>
                    </a:lnTo>
                    <a:lnTo>
                      <a:pt x="297" y="424"/>
                    </a:lnTo>
                    <a:lnTo>
                      <a:pt x="297" y="429"/>
                    </a:lnTo>
                    <a:lnTo>
                      <a:pt x="297" y="424"/>
                    </a:lnTo>
                    <a:lnTo>
                      <a:pt x="292" y="429"/>
                    </a:lnTo>
                    <a:lnTo>
                      <a:pt x="292" y="434"/>
                    </a:lnTo>
                    <a:lnTo>
                      <a:pt x="287" y="434"/>
                    </a:lnTo>
                    <a:lnTo>
                      <a:pt x="287" y="439"/>
                    </a:lnTo>
                    <a:lnTo>
                      <a:pt x="282" y="439"/>
                    </a:lnTo>
                    <a:lnTo>
                      <a:pt x="277" y="439"/>
                    </a:lnTo>
                    <a:lnTo>
                      <a:pt x="272" y="434"/>
                    </a:lnTo>
                    <a:lnTo>
                      <a:pt x="267" y="434"/>
                    </a:lnTo>
                    <a:lnTo>
                      <a:pt x="262" y="439"/>
                    </a:lnTo>
                    <a:lnTo>
                      <a:pt x="262" y="434"/>
                    </a:lnTo>
                    <a:lnTo>
                      <a:pt x="257" y="439"/>
                    </a:lnTo>
                    <a:lnTo>
                      <a:pt x="252" y="439"/>
                    </a:lnTo>
                    <a:lnTo>
                      <a:pt x="247" y="439"/>
                    </a:lnTo>
                    <a:lnTo>
                      <a:pt x="247" y="444"/>
                    </a:lnTo>
                    <a:lnTo>
                      <a:pt x="242" y="444"/>
                    </a:lnTo>
                    <a:lnTo>
                      <a:pt x="237" y="449"/>
                    </a:lnTo>
                    <a:lnTo>
                      <a:pt x="232" y="444"/>
                    </a:lnTo>
                    <a:lnTo>
                      <a:pt x="227" y="444"/>
                    </a:lnTo>
                    <a:lnTo>
                      <a:pt x="216" y="444"/>
                    </a:lnTo>
                    <a:lnTo>
                      <a:pt x="216" y="449"/>
                    </a:lnTo>
                    <a:lnTo>
                      <a:pt x="211" y="449"/>
                    </a:lnTo>
                    <a:lnTo>
                      <a:pt x="211" y="444"/>
                    </a:lnTo>
                    <a:lnTo>
                      <a:pt x="196" y="454"/>
                    </a:lnTo>
                    <a:lnTo>
                      <a:pt x="201" y="459"/>
                    </a:lnTo>
                    <a:lnTo>
                      <a:pt x="196" y="459"/>
                    </a:lnTo>
                    <a:lnTo>
                      <a:pt x="196" y="464"/>
                    </a:lnTo>
                    <a:lnTo>
                      <a:pt x="196" y="469"/>
                    </a:lnTo>
                    <a:lnTo>
                      <a:pt x="191" y="464"/>
                    </a:lnTo>
                    <a:lnTo>
                      <a:pt x="186" y="469"/>
                    </a:lnTo>
                    <a:lnTo>
                      <a:pt x="196" y="474"/>
                    </a:lnTo>
                    <a:lnTo>
                      <a:pt x="196" y="479"/>
                    </a:lnTo>
                    <a:lnTo>
                      <a:pt x="196" y="484"/>
                    </a:lnTo>
                    <a:lnTo>
                      <a:pt x="191" y="484"/>
                    </a:lnTo>
                    <a:lnTo>
                      <a:pt x="191" y="494"/>
                    </a:lnTo>
                    <a:lnTo>
                      <a:pt x="196" y="494"/>
                    </a:lnTo>
                    <a:lnTo>
                      <a:pt x="201" y="504"/>
                    </a:lnTo>
                    <a:lnTo>
                      <a:pt x="186" y="509"/>
                    </a:lnTo>
                    <a:lnTo>
                      <a:pt x="186" y="514"/>
                    </a:lnTo>
                    <a:lnTo>
                      <a:pt x="181" y="509"/>
                    </a:lnTo>
                    <a:lnTo>
                      <a:pt x="171" y="509"/>
                    </a:lnTo>
                    <a:lnTo>
                      <a:pt x="171" y="524"/>
                    </a:lnTo>
                    <a:lnTo>
                      <a:pt x="171" y="529"/>
                    </a:lnTo>
                    <a:lnTo>
                      <a:pt x="161" y="529"/>
                    </a:lnTo>
                    <a:lnTo>
                      <a:pt x="161" y="534"/>
                    </a:lnTo>
                    <a:lnTo>
                      <a:pt x="151" y="534"/>
                    </a:lnTo>
                    <a:lnTo>
                      <a:pt x="151" y="544"/>
                    </a:lnTo>
                    <a:lnTo>
                      <a:pt x="151" y="550"/>
                    </a:lnTo>
                    <a:lnTo>
                      <a:pt x="136" y="544"/>
                    </a:lnTo>
                    <a:lnTo>
                      <a:pt x="136" y="550"/>
                    </a:lnTo>
                    <a:lnTo>
                      <a:pt x="131" y="555"/>
                    </a:lnTo>
                    <a:lnTo>
                      <a:pt x="131" y="560"/>
                    </a:lnTo>
                    <a:lnTo>
                      <a:pt x="126" y="555"/>
                    </a:lnTo>
                    <a:lnTo>
                      <a:pt x="121" y="555"/>
                    </a:lnTo>
                    <a:lnTo>
                      <a:pt x="111" y="555"/>
                    </a:lnTo>
                    <a:lnTo>
                      <a:pt x="111" y="560"/>
                    </a:lnTo>
                    <a:lnTo>
                      <a:pt x="106" y="560"/>
                    </a:lnTo>
                    <a:lnTo>
                      <a:pt x="106" y="555"/>
                    </a:lnTo>
                    <a:lnTo>
                      <a:pt x="111" y="555"/>
                    </a:lnTo>
                    <a:lnTo>
                      <a:pt x="111" y="550"/>
                    </a:lnTo>
                    <a:lnTo>
                      <a:pt x="106" y="550"/>
                    </a:lnTo>
                    <a:lnTo>
                      <a:pt x="106" y="544"/>
                    </a:lnTo>
                    <a:lnTo>
                      <a:pt x="111" y="550"/>
                    </a:lnTo>
                    <a:lnTo>
                      <a:pt x="111" y="539"/>
                    </a:lnTo>
                    <a:lnTo>
                      <a:pt x="106" y="539"/>
                    </a:lnTo>
                    <a:lnTo>
                      <a:pt x="106" y="529"/>
                    </a:lnTo>
                    <a:lnTo>
                      <a:pt x="101" y="529"/>
                    </a:lnTo>
                    <a:lnTo>
                      <a:pt x="96" y="534"/>
                    </a:lnTo>
                    <a:lnTo>
                      <a:pt x="96" y="529"/>
                    </a:lnTo>
                    <a:lnTo>
                      <a:pt x="96" y="524"/>
                    </a:lnTo>
                    <a:lnTo>
                      <a:pt x="101" y="519"/>
                    </a:lnTo>
                    <a:lnTo>
                      <a:pt x="96" y="519"/>
                    </a:lnTo>
                    <a:lnTo>
                      <a:pt x="101" y="519"/>
                    </a:lnTo>
                    <a:lnTo>
                      <a:pt x="101" y="514"/>
                    </a:lnTo>
                    <a:lnTo>
                      <a:pt x="96" y="514"/>
                    </a:lnTo>
                    <a:lnTo>
                      <a:pt x="90" y="514"/>
                    </a:lnTo>
                    <a:lnTo>
                      <a:pt x="85" y="509"/>
                    </a:lnTo>
                    <a:lnTo>
                      <a:pt x="80" y="509"/>
                    </a:lnTo>
                    <a:lnTo>
                      <a:pt x="75" y="509"/>
                    </a:lnTo>
                    <a:lnTo>
                      <a:pt x="70" y="504"/>
                    </a:lnTo>
                    <a:lnTo>
                      <a:pt x="70" y="499"/>
                    </a:lnTo>
                    <a:lnTo>
                      <a:pt x="70" y="494"/>
                    </a:lnTo>
                    <a:lnTo>
                      <a:pt x="65" y="489"/>
                    </a:lnTo>
                    <a:lnTo>
                      <a:pt x="55" y="489"/>
                    </a:lnTo>
                    <a:lnTo>
                      <a:pt x="50" y="489"/>
                    </a:lnTo>
                    <a:lnTo>
                      <a:pt x="45" y="474"/>
                    </a:lnTo>
                    <a:lnTo>
                      <a:pt x="35" y="474"/>
                    </a:lnTo>
                    <a:lnTo>
                      <a:pt x="35" y="469"/>
                    </a:lnTo>
                    <a:lnTo>
                      <a:pt x="35" y="464"/>
                    </a:lnTo>
                    <a:lnTo>
                      <a:pt x="30" y="459"/>
                    </a:lnTo>
                    <a:lnTo>
                      <a:pt x="25" y="459"/>
                    </a:lnTo>
                    <a:lnTo>
                      <a:pt x="25" y="464"/>
                    </a:lnTo>
                    <a:lnTo>
                      <a:pt x="20" y="459"/>
                    </a:lnTo>
                    <a:lnTo>
                      <a:pt x="20" y="454"/>
                    </a:lnTo>
                    <a:lnTo>
                      <a:pt x="15" y="449"/>
                    </a:lnTo>
                    <a:lnTo>
                      <a:pt x="20" y="439"/>
                    </a:lnTo>
                    <a:lnTo>
                      <a:pt x="15" y="434"/>
                    </a:lnTo>
                    <a:lnTo>
                      <a:pt x="15" y="429"/>
                    </a:lnTo>
                    <a:lnTo>
                      <a:pt x="10" y="434"/>
                    </a:lnTo>
                    <a:lnTo>
                      <a:pt x="5" y="434"/>
                    </a:lnTo>
                    <a:lnTo>
                      <a:pt x="0" y="424"/>
                    </a:lnTo>
                    <a:lnTo>
                      <a:pt x="5" y="424"/>
                    </a:lnTo>
                    <a:lnTo>
                      <a:pt x="5" y="419"/>
                    </a:lnTo>
                    <a:lnTo>
                      <a:pt x="5" y="413"/>
                    </a:lnTo>
                    <a:lnTo>
                      <a:pt x="10" y="413"/>
                    </a:lnTo>
                    <a:lnTo>
                      <a:pt x="10" y="408"/>
                    </a:lnTo>
                    <a:lnTo>
                      <a:pt x="15" y="403"/>
                    </a:lnTo>
                    <a:lnTo>
                      <a:pt x="15" y="398"/>
                    </a:lnTo>
                    <a:lnTo>
                      <a:pt x="10" y="398"/>
                    </a:lnTo>
                    <a:lnTo>
                      <a:pt x="15" y="393"/>
                    </a:lnTo>
                    <a:lnTo>
                      <a:pt x="15" y="388"/>
                    </a:lnTo>
                    <a:lnTo>
                      <a:pt x="10" y="393"/>
                    </a:lnTo>
                    <a:lnTo>
                      <a:pt x="10" y="388"/>
                    </a:lnTo>
                    <a:lnTo>
                      <a:pt x="10" y="383"/>
                    </a:lnTo>
                    <a:lnTo>
                      <a:pt x="5" y="383"/>
                    </a:lnTo>
                    <a:lnTo>
                      <a:pt x="5" y="378"/>
                    </a:lnTo>
                    <a:lnTo>
                      <a:pt x="5" y="373"/>
                    </a:lnTo>
                    <a:lnTo>
                      <a:pt x="10" y="373"/>
                    </a:lnTo>
                    <a:lnTo>
                      <a:pt x="15" y="378"/>
                    </a:lnTo>
                    <a:lnTo>
                      <a:pt x="10" y="378"/>
                    </a:lnTo>
                    <a:lnTo>
                      <a:pt x="20" y="383"/>
                    </a:lnTo>
                    <a:lnTo>
                      <a:pt x="25" y="383"/>
                    </a:lnTo>
                    <a:lnTo>
                      <a:pt x="30" y="383"/>
                    </a:lnTo>
                    <a:lnTo>
                      <a:pt x="35" y="378"/>
                    </a:lnTo>
                    <a:lnTo>
                      <a:pt x="40" y="378"/>
                    </a:lnTo>
                    <a:lnTo>
                      <a:pt x="35" y="373"/>
                    </a:lnTo>
                    <a:lnTo>
                      <a:pt x="40" y="373"/>
                    </a:lnTo>
                    <a:lnTo>
                      <a:pt x="40" y="368"/>
                    </a:lnTo>
                    <a:lnTo>
                      <a:pt x="45" y="358"/>
                    </a:lnTo>
                    <a:lnTo>
                      <a:pt x="45" y="353"/>
                    </a:lnTo>
                    <a:lnTo>
                      <a:pt x="45" y="348"/>
                    </a:lnTo>
                    <a:lnTo>
                      <a:pt x="40" y="343"/>
                    </a:lnTo>
                    <a:lnTo>
                      <a:pt x="45" y="338"/>
                    </a:lnTo>
                    <a:lnTo>
                      <a:pt x="50" y="343"/>
                    </a:lnTo>
                    <a:lnTo>
                      <a:pt x="55" y="333"/>
                    </a:lnTo>
                    <a:lnTo>
                      <a:pt x="60" y="333"/>
                    </a:lnTo>
                    <a:lnTo>
                      <a:pt x="60" y="343"/>
                    </a:lnTo>
                    <a:lnTo>
                      <a:pt x="60" y="348"/>
                    </a:lnTo>
                    <a:lnTo>
                      <a:pt x="65" y="348"/>
                    </a:lnTo>
                    <a:lnTo>
                      <a:pt x="70" y="343"/>
                    </a:lnTo>
                    <a:lnTo>
                      <a:pt x="65" y="338"/>
                    </a:lnTo>
                    <a:lnTo>
                      <a:pt x="65" y="333"/>
                    </a:lnTo>
                    <a:lnTo>
                      <a:pt x="70" y="338"/>
                    </a:lnTo>
                    <a:lnTo>
                      <a:pt x="70" y="333"/>
                    </a:lnTo>
                    <a:lnTo>
                      <a:pt x="70" y="328"/>
                    </a:lnTo>
                    <a:lnTo>
                      <a:pt x="75" y="328"/>
                    </a:lnTo>
                    <a:lnTo>
                      <a:pt x="80" y="328"/>
                    </a:lnTo>
                    <a:lnTo>
                      <a:pt x="80" y="338"/>
                    </a:lnTo>
                    <a:lnTo>
                      <a:pt x="90" y="338"/>
                    </a:lnTo>
                    <a:lnTo>
                      <a:pt x="116" y="338"/>
                    </a:lnTo>
                    <a:lnTo>
                      <a:pt x="116" y="343"/>
                    </a:lnTo>
                    <a:lnTo>
                      <a:pt x="121" y="343"/>
                    </a:lnTo>
                    <a:lnTo>
                      <a:pt x="116" y="323"/>
                    </a:lnTo>
                    <a:lnTo>
                      <a:pt x="121" y="323"/>
                    </a:lnTo>
                    <a:lnTo>
                      <a:pt x="116" y="318"/>
                    </a:lnTo>
                    <a:lnTo>
                      <a:pt x="121" y="313"/>
                    </a:lnTo>
                    <a:lnTo>
                      <a:pt x="126" y="303"/>
                    </a:lnTo>
                    <a:lnTo>
                      <a:pt x="136" y="313"/>
                    </a:lnTo>
                    <a:lnTo>
                      <a:pt x="141" y="303"/>
                    </a:lnTo>
                    <a:lnTo>
                      <a:pt x="146" y="303"/>
                    </a:lnTo>
                    <a:lnTo>
                      <a:pt x="146" y="298"/>
                    </a:lnTo>
                    <a:lnTo>
                      <a:pt x="151" y="298"/>
                    </a:lnTo>
                    <a:lnTo>
                      <a:pt x="156" y="298"/>
                    </a:lnTo>
                    <a:lnTo>
                      <a:pt x="166" y="303"/>
                    </a:lnTo>
                    <a:lnTo>
                      <a:pt x="171" y="298"/>
                    </a:lnTo>
                    <a:lnTo>
                      <a:pt x="176" y="293"/>
                    </a:lnTo>
                    <a:lnTo>
                      <a:pt x="186" y="293"/>
                    </a:lnTo>
                    <a:lnTo>
                      <a:pt x="191" y="287"/>
                    </a:lnTo>
                    <a:lnTo>
                      <a:pt x="196" y="287"/>
                    </a:lnTo>
                    <a:lnTo>
                      <a:pt x="196" y="282"/>
                    </a:lnTo>
                    <a:lnTo>
                      <a:pt x="196" y="277"/>
                    </a:lnTo>
                    <a:lnTo>
                      <a:pt x="201" y="277"/>
                    </a:lnTo>
                    <a:lnTo>
                      <a:pt x="201" y="272"/>
                    </a:lnTo>
                    <a:lnTo>
                      <a:pt x="196" y="267"/>
                    </a:lnTo>
                    <a:lnTo>
                      <a:pt x="201" y="262"/>
                    </a:lnTo>
                    <a:lnTo>
                      <a:pt x="206" y="262"/>
                    </a:lnTo>
                    <a:lnTo>
                      <a:pt x="211" y="262"/>
                    </a:lnTo>
                    <a:lnTo>
                      <a:pt x="206" y="252"/>
                    </a:lnTo>
                    <a:lnTo>
                      <a:pt x="211" y="247"/>
                    </a:lnTo>
                    <a:lnTo>
                      <a:pt x="216" y="247"/>
                    </a:lnTo>
                    <a:lnTo>
                      <a:pt x="216" y="237"/>
                    </a:lnTo>
                    <a:lnTo>
                      <a:pt x="216" y="232"/>
                    </a:lnTo>
                    <a:lnTo>
                      <a:pt x="216" y="222"/>
                    </a:lnTo>
                    <a:lnTo>
                      <a:pt x="222" y="227"/>
                    </a:lnTo>
                    <a:lnTo>
                      <a:pt x="227" y="227"/>
                    </a:lnTo>
                    <a:lnTo>
                      <a:pt x="227" y="222"/>
                    </a:lnTo>
                    <a:lnTo>
                      <a:pt x="222" y="217"/>
                    </a:lnTo>
                    <a:lnTo>
                      <a:pt x="216" y="217"/>
                    </a:lnTo>
                    <a:lnTo>
                      <a:pt x="222" y="207"/>
                    </a:lnTo>
                    <a:lnTo>
                      <a:pt x="222" y="192"/>
                    </a:lnTo>
                    <a:lnTo>
                      <a:pt x="222" y="187"/>
                    </a:lnTo>
                    <a:lnTo>
                      <a:pt x="227" y="187"/>
                    </a:lnTo>
                    <a:lnTo>
                      <a:pt x="227" y="182"/>
                    </a:lnTo>
                    <a:lnTo>
                      <a:pt x="222" y="182"/>
                    </a:lnTo>
                    <a:lnTo>
                      <a:pt x="222" y="177"/>
                    </a:lnTo>
                    <a:lnTo>
                      <a:pt x="222" y="172"/>
                    </a:lnTo>
                    <a:lnTo>
                      <a:pt x="216" y="167"/>
                    </a:lnTo>
                    <a:lnTo>
                      <a:pt x="216" y="162"/>
                    </a:lnTo>
                    <a:lnTo>
                      <a:pt x="211" y="156"/>
                    </a:lnTo>
                    <a:lnTo>
                      <a:pt x="216" y="151"/>
                    </a:lnTo>
                    <a:lnTo>
                      <a:pt x="211" y="146"/>
                    </a:lnTo>
                    <a:lnTo>
                      <a:pt x="216" y="136"/>
                    </a:lnTo>
                    <a:lnTo>
                      <a:pt x="222" y="131"/>
                    </a:lnTo>
                    <a:lnTo>
                      <a:pt x="227" y="126"/>
                    </a:lnTo>
                    <a:lnTo>
                      <a:pt x="232" y="121"/>
                    </a:lnTo>
                    <a:lnTo>
                      <a:pt x="237" y="116"/>
                    </a:lnTo>
                    <a:lnTo>
                      <a:pt x="227" y="116"/>
                    </a:lnTo>
                    <a:lnTo>
                      <a:pt x="227" y="111"/>
                    </a:lnTo>
                    <a:lnTo>
                      <a:pt x="222" y="111"/>
                    </a:lnTo>
                    <a:lnTo>
                      <a:pt x="216" y="111"/>
                    </a:lnTo>
                    <a:lnTo>
                      <a:pt x="216" y="106"/>
                    </a:lnTo>
                    <a:lnTo>
                      <a:pt x="216" y="101"/>
                    </a:lnTo>
                    <a:lnTo>
                      <a:pt x="222" y="101"/>
                    </a:lnTo>
                    <a:lnTo>
                      <a:pt x="227" y="96"/>
                    </a:lnTo>
                    <a:lnTo>
                      <a:pt x="237" y="96"/>
                    </a:lnTo>
                    <a:lnTo>
                      <a:pt x="242" y="96"/>
                    </a:lnTo>
                    <a:lnTo>
                      <a:pt x="242" y="101"/>
                    </a:lnTo>
                    <a:lnTo>
                      <a:pt x="242" y="111"/>
                    </a:lnTo>
                    <a:lnTo>
                      <a:pt x="247" y="111"/>
                    </a:lnTo>
                    <a:lnTo>
                      <a:pt x="247" y="121"/>
                    </a:lnTo>
                    <a:lnTo>
                      <a:pt x="252" y="126"/>
                    </a:lnTo>
                    <a:lnTo>
                      <a:pt x="257" y="126"/>
                    </a:lnTo>
                    <a:lnTo>
                      <a:pt x="262" y="131"/>
                    </a:lnTo>
                    <a:lnTo>
                      <a:pt x="262" y="126"/>
                    </a:lnTo>
                    <a:lnTo>
                      <a:pt x="262" y="121"/>
                    </a:lnTo>
                    <a:lnTo>
                      <a:pt x="267" y="121"/>
                    </a:lnTo>
                    <a:lnTo>
                      <a:pt x="267" y="116"/>
                    </a:lnTo>
                    <a:lnTo>
                      <a:pt x="272" y="116"/>
                    </a:lnTo>
                    <a:lnTo>
                      <a:pt x="267" y="111"/>
                    </a:lnTo>
                    <a:lnTo>
                      <a:pt x="277" y="111"/>
                    </a:lnTo>
                    <a:lnTo>
                      <a:pt x="277" y="116"/>
                    </a:lnTo>
                    <a:lnTo>
                      <a:pt x="277" y="121"/>
                    </a:lnTo>
                    <a:lnTo>
                      <a:pt x="287" y="121"/>
                    </a:lnTo>
                    <a:lnTo>
                      <a:pt x="297" y="116"/>
                    </a:lnTo>
                    <a:lnTo>
                      <a:pt x="302" y="106"/>
                    </a:lnTo>
                    <a:lnTo>
                      <a:pt x="302" y="96"/>
                    </a:lnTo>
                    <a:lnTo>
                      <a:pt x="302" y="91"/>
                    </a:lnTo>
                    <a:lnTo>
                      <a:pt x="302" y="86"/>
                    </a:lnTo>
                    <a:lnTo>
                      <a:pt x="312" y="81"/>
                    </a:lnTo>
                    <a:lnTo>
                      <a:pt x="317" y="86"/>
                    </a:lnTo>
                    <a:lnTo>
                      <a:pt x="322" y="81"/>
                    </a:lnTo>
                    <a:lnTo>
                      <a:pt x="322" y="76"/>
                    </a:lnTo>
                    <a:lnTo>
                      <a:pt x="322" y="71"/>
                    </a:lnTo>
                    <a:lnTo>
                      <a:pt x="317" y="66"/>
                    </a:lnTo>
                    <a:lnTo>
                      <a:pt x="312" y="66"/>
                    </a:lnTo>
                    <a:lnTo>
                      <a:pt x="322" y="56"/>
                    </a:lnTo>
                    <a:lnTo>
                      <a:pt x="327" y="56"/>
                    </a:lnTo>
                    <a:lnTo>
                      <a:pt x="322" y="51"/>
                    </a:lnTo>
                    <a:lnTo>
                      <a:pt x="317" y="51"/>
                    </a:lnTo>
                    <a:lnTo>
                      <a:pt x="317" y="56"/>
                    </a:lnTo>
                    <a:lnTo>
                      <a:pt x="312" y="56"/>
                    </a:lnTo>
                    <a:lnTo>
                      <a:pt x="312" y="41"/>
                    </a:lnTo>
                    <a:lnTo>
                      <a:pt x="317" y="36"/>
                    </a:lnTo>
                    <a:lnTo>
                      <a:pt x="312" y="31"/>
                    </a:lnTo>
                    <a:lnTo>
                      <a:pt x="312" y="36"/>
                    </a:lnTo>
                    <a:lnTo>
                      <a:pt x="307" y="25"/>
                    </a:lnTo>
                    <a:lnTo>
                      <a:pt x="312" y="25"/>
                    </a:lnTo>
                    <a:lnTo>
                      <a:pt x="312" y="15"/>
                    </a:lnTo>
                    <a:lnTo>
                      <a:pt x="317" y="10"/>
                    </a:lnTo>
                    <a:lnTo>
                      <a:pt x="322" y="15"/>
                    </a:lnTo>
                    <a:lnTo>
                      <a:pt x="327" y="15"/>
                    </a:lnTo>
                    <a:lnTo>
                      <a:pt x="327" y="5"/>
                    </a:lnTo>
                    <a:lnTo>
                      <a:pt x="332" y="5"/>
                    </a:lnTo>
                    <a:lnTo>
                      <a:pt x="332" y="0"/>
                    </a:lnTo>
                    <a:lnTo>
                      <a:pt x="337" y="0"/>
                    </a:lnTo>
                    <a:lnTo>
                      <a:pt x="332" y="5"/>
                    </a:lnTo>
                    <a:lnTo>
                      <a:pt x="342" y="10"/>
                    </a:lnTo>
                    <a:lnTo>
                      <a:pt x="368" y="10"/>
                    </a:lnTo>
                    <a:lnTo>
                      <a:pt x="373" y="15"/>
                    </a:lnTo>
                    <a:lnTo>
                      <a:pt x="368" y="20"/>
                    </a:lnTo>
                    <a:lnTo>
                      <a:pt x="363" y="25"/>
                    </a:lnTo>
                    <a:lnTo>
                      <a:pt x="368" y="25"/>
                    </a:lnTo>
                    <a:lnTo>
                      <a:pt x="368" y="31"/>
                    </a:lnTo>
                    <a:lnTo>
                      <a:pt x="378" y="36"/>
                    </a:lnTo>
                    <a:lnTo>
                      <a:pt x="383" y="36"/>
                    </a:lnTo>
                    <a:lnTo>
                      <a:pt x="383" y="31"/>
                    </a:lnTo>
                    <a:lnTo>
                      <a:pt x="388" y="36"/>
                    </a:lnTo>
                    <a:lnTo>
                      <a:pt x="393" y="41"/>
                    </a:lnTo>
                    <a:lnTo>
                      <a:pt x="398" y="51"/>
                    </a:lnTo>
                    <a:lnTo>
                      <a:pt x="408" y="51"/>
                    </a:lnTo>
                    <a:lnTo>
                      <a:pt x="408" y="66"/>
                    </a:lnTo>
                    <a:lnTo>
                      <a:pt x="413" y="71"/>
                    </a:lnTo>
                    <a:lnTo>
                      <a:pt x="408" y="76"/>
                    </a:lnTo>
                    <a:lnTo>
                      <a:pt x="403" y="76"/>
                    </a:lnTo>
                    <a:lnTo>
                      <a:pt x="408" y="81"/>
                    </a:lnTo>
                    <a:lnTo>
                      <a:pt x="418" y="86"/>
                    </a:lnTo>
                    <a:lnTo>
                      <a:pt x="423" y="91"/>
                    </a:lnTo>
                    <a:lnTo>
                      <a:pt x="433" y="91"/>
                    </a:lnTo>
                    <a:lnTo>
                      <a:pt x="438" y="96"/>
                    </a:lnTo>
                    <a:lnTo>
                      <a:pt x="443" y="96"/>
                    </a:lnTo>
                    <a:lnTo>
                      <a:pt x="448" y="96"/>
                    </a:lnTo>
                    <a:lnTo>
                      <a:pt x="453" y="111"/>
                    </a:lnTo>
                    <a:lnTo>
                      <a:pt x="463" y="111"/>
                    </a:lnTo>
                    <a:lnTo>
                      <a:pt x="474" y="116"/>
                    </a:lnTo>
                    <a:lnTo>
                      <a:pt x="484" y="116"/>
                    </a:lnTo>
                    <a:lnTo>
                      <a:pt x="484" y="121"/>
                    </a:lnTo>
                    <a:lnTo>
                      <a:pt x="484" y="126"/>
                    </a:lnTo>
                    <a:lnTo>
                      <a:pt x="489" y="126"/>
                    </a:lnTo>
                    <a:lnTo>
                      <a:pt x="489" y="131"/>
                    </a:lnTo>
                    <a:lnTo>
                      <a:pt x="494" y="131"/>
                    </a:lnTo>
                    <a:lnTo>
                      <a:pt x="494" y="136"/>
                    </a:lnTo>
                    <a:lnTo>
                      <a:pt x="494" y="141"/>
                    </a:lnTo>
                    <a:lnTo>
                      <a:pt x="499" y="141"/>
                    </a:lnTo>
                    <a:lnTo>
                      <a:pt x="499" y="146"/>
                    </a:lnTo>
                    <a:lnTo>
                      <a:pt x="494" y="151"/>
                    </a:lnTo>
                    <a:lnTo>
                      <a:pt x="494" y="156"/>
                    </a:lnTo>
                    <a:lnTo>
                      <a:pt x="489" y="162"/>
                    </a:lnTo>
                    <a:lnTo>
                      <a:pt x="489" y="167"/>
                    </a:lnTo>
                    <a:lnTo>
                      <a:pt x="489" y="172"/>
                    </a:lnTo>
                    <a:lnTo>
                      <a:pt x="489" y="177"/>
                    </a:lnTo>
                    <a:lnTo>
                      <a:pt x="494" y="177"/>
                    </a:lnTo>
                    <a:lnTo>
                      <a:pt x="494" y="182"/>
                    </a:lnTo>
                    <a:lnTo>
                      <a:pt x="499" y="182"/>
                    </a:lnTo>
                    <a:lnTo>
                      <a:pt x="499" y="187"/>
                    </a:lnTo>
                    <a:lnTo>
                      <a:pt x="504" y="182"/>
                    </a:lnTo>
                    <a:lnTo>
                      <a:pt x="509" y="187"/>
                    </a:lnTo>
                    <a:lnTo>
                      <a:pt x="509" y="192"/>
                    </a:lnTo>
                    <a:lnTo>
                      <a:pt x="504" y="192"/>
                    </a:lnTo>
                    <a:lnTo>
                      <a:pt x="499" y="192"/>
                    </a:lnTo>
                    <a:lnTo>
                      <a:pt x="494" y="192"/>
                    </a:lnTo>
                    <a:lnTo>
                      <a:pt x="489" y="192"/>
                    </a:lnTo>
                    <a:lnTo>
                      <a:pt x="484" y="192"/>
                    </a:lnTo>
                    <a:lnTo>
                      <a:pt x="479" y="192"/>
                    </a:lnTo>
                    <a:lnTo>
                      <a:pt x="474" y="192"/>
                    </a:lnTo>
                    <a:lnTo>
                      <a:pt x="468" y="192"/>
                    </a:lnTo>
                    <a:lnTo>
                      <a:pt x="463" y="197"/>
                    </a:lnTo>
                    <a:lnTo>
                      <a:pt x="463" y="202"/>
                    </a:lnTo>
                    <a:lnTo>
                      <a:pt x="463" y="212"/>
                    </a:lnTo>
                    <a:lnTo>
                      <a:pt x="463" y="217"/>
                    </a:lnTo>
                    <a:lnTo>
                      <a:pt x="474" y="217"/>
                    </a:lnTo>
                    <a:lnTo>
                      <a:pt x="479" y="217"/>
                    </a:lnTo>
                    <a:lnTo>
                      <a:pt x="484" y="222"/>
                    </a:lnTo>
                    <a:lnTo>
                      <a:pt x="489" y="222"/>
                    </a:lnTo>
                    <a:lnTo>
                      <a:pt x="494" y="227"/>
                    </a:lnTo>
                    <a:lnTo>
                      <a:pt x="504" y="222"/>
                    </a:lnTo>
                    <a:lnTo>
                      <a:pt x="509" y="222"/>
                    </a:lnTo>
                    <a:lnTo>
                      <a:pt x="509" y="217"/>
                    </a:lnTo>
                    <a:lnTo>
                      <a:pt x="514" y="217"/>
                    </a:lnTo>
                    <a:lnTo>
                      <a:pt x="519" y="222"/>
                    </a:lnTo>
                    <a:lnTo>
                      <a:pt x="524" y="222"/>
                    </a:lnTo>
                    <a:lnTo>
                      <a:pt x="529" y="217"/>
                    </a:lnTo>
                    <a:lnTo>
                      <a:pt x="539" y="212"/>
                    </a:lnTo>
                    <a:close/>
                  </a:path>
                </a:pathLst>
              </a:custGeom>
              <a:solidFill>
                <a:srgbClr val="84BB5B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645">
                <a:extLst>
                  <a:ext uri="{FF2B5EF4-FFF2-40B4-BE49-F238E27FC236}">
                    <a16:creationId xmlns:a16="http://schemas.microsoft.com/office/drawing/2014/main" id="{C3B037CA-EF98-2B58-F786-3EA77309C89E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1226963" y="3281834"/>
                <a:ext cx="674622" cy="502462"/>
              </a:xfrm>
              <a:custGeom>
                <a:avLst/>
                <a:gdLst>
                  <a:gd name="T0" fmla="*/ 2147483647 w 438"/>
                  <a:gd name="T1" fmla="*/ 2147483647 h 338"/>
                  <a:gd name="T2" fmla="*/ 2147483647 w 438"/>
                  <a:gd name="T3" fmla="*/ 2147483647 h 338"/>
                  <a:gd name="T4" fmla="*/ 2147483647 w 438"/>
                  <a:gd name="T5" fmla="*/ 2147483647 h 338"/>
                  <a:gd name="T6" fmla="*/ 2147483647 w 438"/>
                  <a:gd name="T7" fmla="*/ 2147483647 h 338"/>
                  <a:gd name="T8" fmla="*/ 2147483647 w 438"/>
                  <a:gd name="T9" fmla="*/ 2147483647 h 338"/>
                  <a:gd name="T10" fmla="*/ 2147483647 w 438"/>
                  <a:gd name="T11" fmla="*/ 2147483647 h 338"/>
                  <a:gd name="T12" fmla="*/ 2147483647 w 438"/>
                  <a:gd name="T13" fmla="*/ 2147483647 h 338"/>
                  <a:gd name="T14" fmla="*/ 2147483647 w 438"/>
                  <a:gd name="T15" fmla="*/ 2147483647 h 338"/>
                  <a:gd name="T16" fmla="*/ 2147483647 w 438"/>
                  <a:gd name="T17" fmla="*/ 2147483647 h 338"/>
                  <a:gd name="T18" fmla="*/ 2147483647 w 438"/>
                  <a:gd name="T19" fmla="*/ 2147483647 h 338"/>
                  <a:gd name="T20" fmla="*/ 2147483647 w 438"/>
                  <a:gd name="T21" fmla="*/ 2147483647 h 338"/>
                  <a:gd name="T22" fmla="*/ 2147483647 w 438"/>
                  <a:gd name="T23" fmla="*/ 2147483647 h 338"/>
                  <a:gd name="T24" fmla="*/ 2147483647 w 438"/>
                  <a:gd name="T25" fmla="*/ 2147483647 h 338"/>
                  <a:gd name="T26" fmla="*/ 2147483647 w 438"/>
                  <a:gd name="T27" fmla="*/ 2147483647 h 338"/>
                  <a:gd name="T28" fmla="*/ 2147483647 w 438"/>
                  <a:gd name="T29" fmla="*/ 2147483647 h 338"/>
                  <a:gd name="T30" fmla="*/ 2147483647 w 438"/>
                  <a:gd name="T31" fmla="*/ 2147483647 h 338"/>
                  <a:gd name="T32" fmla="*/ 2147483647 w 438"/>
                  <a:gd name="T33" fmla="*/ 2147483647 h 338"/>
                  <a:gd name="T34" fmla="*/ 2147483647 w 438"/>
                  <a:gd name="T35" fmla="*/ 2147483647 h 338"/>
                  <a:gd name="T36" fmla="*/ 2147483647 w 438"/>
                  <a:gd name="T37" fmla="*/ 2147483647 h 338"/>
                  <a:gd name="T38" fmla="*/ 2147483647 w 438"/>
                  <a:gd name="T39" fmla="*/ 2147483647 h 338"/>
                  <a:gd name="T40" fmla="*/ 2147483647 w 438"/>
                  <a:gd name="T41" fmla="*/ 2147483647 h 338"/>
                  <a:gd name="T42" fmla="*/ 2147483647 w 438"/>
                  <a:gd name="T43" fmla="*/ 2147483647 h 338"/>
                  <a:gd name="T44" fmla="*/ 2147483647 w 438"/>
                  <a:gd name="T45" fmla="*/ 2147483647 h 338"/>
                  <a:gd name="T46" fmla="*/ 2147483647 w 438"/>
                  <a:gd name="T47" fmla="*/ 2147483647 h 338"/>
                  <a:gd name="T48" fmla="*/ 2147483647 w 438"/>
                  <a:gd name="T49" fmla="*/ 2147483647 h 338"/>
                  <a:gd name="T50" fmla="*/ 2147483647 w 438"/>
                  <a:gd name="T51" fmla="*/ 2147483647 h 338"/>
                  <a:gd name="T52" fmla="*/ 2147483647 w 438"/>
                  <a:gd name="T53" fmla="*/ 2147483647 h 338"/>
                  <a:gd name="T54" fmla="*/ 2147483647 w 438"/>
                  <a:gd name="T55" fmla="*/ 2147483647 h 338"/>
                  <a:gd name="T56" fmla="*/ 2147483647 w 438"/>
                  <a:gd name="T57" fmla="*/ 2147483647 h 338"/>
                  <a:gd name="T58" fmla="*/ 2147483647 w 438"/>
                  <a:gd name="T59" fmla="*/ 2147483647 h 338"/>
                  <a:gd name="T60" fmla="*/ 2147483647 w 438"/>
                  <a:gd name="T61" fmla="*/ 2147483647 h 338"/>
                  <a:gd name="T62" fmla="*/ 2147483647 w 438"/>
                  <a:gd name="T63" fmla="*/ 2147483647 h 338"/>
                  <a:gd name="T64" fmla="*/ 2147483647 w 438"/>
                  <a:gd name="T65" fmla="*/ 2147483647 h 338"/>
                  <a:gd name="T66" fmla="*/ 2147483647 w 438"/>
                  <a:gd name="T67" fmla="*/ 2147483647 h 338"/>
                  <a:gd name="T68" fmla="*/ 2147483647 w 438"/>
                  <a:gd name="T69" fmla="*/ 2147483647 h 338"/>
                  <a:gd name="T70" fmla="*/ 2147483647 w 438"/>
                  <a:gd name="T71" fmla="*/ 2147483647 h 338"/>
                  <a:gd name="T72" fmla="*/ 2147483647 w 438"/>
                  <a:gd name="T73" fmla="*/ 2147483647 h 338"/>
                  <a:gd name="T74" fmla="*/ 2147483647 w 438"/>
                  <a:gd name="T75" fmla="*/ 2147483647 h 338"/>
                  <a:gd name="T76" fmla="*/ 2147483647 w 438"/>
                  <a:gd name="T77" fmla="*/ 2147483647 h 338"/>
                  <a:gd name="T78" fmla="*/ 2147483647 w 438"/>
                  <a:gd name="T79" fmla="*/ 2147483647 h 338"/>
                  <a:gd name="T80" fmla="*/ 2147483647 w 438"/>
                  <a:gd name="T81" fmla="*/ 2147483647 h 338"/>
                  <a:gd name="T82" fmla="*/ 2147483647 w 438"/>
                  <a:gd name="T83" fmla="*/ 2147483647 h 338"/>
                  <a:gd name="T84" fmla="*/ 2147483647 w 438"/>
                  <a:gd name="T85" fmla="*/ 2147483647 h 338"/>
                  <a:gd name="T86" fmla="*/ 2147483647 w 438"/>
                  <a:gd name="T87" fmla="*/ 2147483647 h 338"/>
                  <a:gd name="T88" fmla="*/ 2147483647 w 438"/>
                  <a:gd name="T89" fmla="*/ 2147483647 h 338"/>
                  <a:gd name="T90" fmla="*/ 2147483647 w 438"/>
                  <a:gd name="T91" fmla="*/ 2147483647 h 338"/>
                  <a:gd name="T92" fmla="*/ 2147483647 w 438"/>
                  <a:gd name="T93" fmla="*/ 2147483647 h 338"/>
                  <a:gd name="T94" fmla="*/ 2147483647 w 438"/>
                  <a:gd name="T95" fmla="*/ 2147483647 h 338"/>
                  <a:gd name="T96" fmla="*/ 2147483647 w 438"/>
                  <a:gd name="T97" fmla="*/ 2147483647 h 338"/>
                  <a:gd name="T98" fmla="*/ 2147483647 w 438"/>
                  <a:gd name="T99" fmla="*/ 2147483647 h 338"/>
                  <a:gd name="T100" fmla="*/ 2147483647 w 438"/>
                  <a:gd name="T101" fmla="*/ 2147483647 h 338"/>
                  <a:gd name="T102" fmla="*/ 2147483647 w 438"/>
                  <a:gd name="T103" fmla="*/ 2147483647 h 338"/>
                  <a:gd name="T104" fmla="*/ 2147483647 w 438"/>
                  <a:gd name="T105" fmla="*/ 2147483647 h 338"/>
                  <a:gd name="T106" fmla="*/ 2147483647 w 438"/>
                  <a:gd name="T107" fmla="*/ 2147483647 h 33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38"/>
                  <a:gd name="T163" fmla="*/ 0 h 338"/>
                  <a:gd name="T164" fmla="*/ 438 w 438"/>
                  <a:gd name="T165" fmla="*/ 338 h 33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38" h="338">
                    <a:moveTo>
                      <a:pt x="20" y="338"/>
                    </a:moveTo>
                    <a:lnTo>
                      <a:pt x="15" y="333"/>
                    </a:lnTo>
                    <a:lnTo>
                      <a:pt x="20" y="323"/>
                    </a:lnTo>
                    <a:lnTo>
                      <a:pt x="20" y="313"/>
                    </a:lnTo>
                    <a:lnTo>
                      <a:pt x="25" y="308"/>
                    </a:lnTo>
                    <a:lnTo>
                      <a:pt x="20" y="298"/>
                    </a:lnTo>
                    <a:lnTo>
                      <a:pt x="15" y="287"/>
                    </a:lnTo>
                    <a:lnTo>
                      <a:pt x="5" y="282"/>
                    </a:lnTo>
                    <a:lnTo>
                      <a:pt x="0" y="272"/>
                    </a:lnTo>
                    <a:lnTo>
                      <a:pt x="0" y="267"/>
                    </a:lnTo>
                    <a:lnTo>
                      <a:pt x="5" y="257"/>
                    </a:lnTo>
                    <a:lnTo>
                      <a:pt x="10" y="252"/>
                    </a:lnTo>
                    <a:lnTo>
                      <a:pt x="15" y="242"/>
                    </a:lnTo>
                    <a:lnTo>
                      <a:pt x="15" y="237"/>
                    </a:lnTo>
                    <a:lnTo>
                      <a:pt x="15" y="227"/>
                    </a:lnTo>
                    <a:lnTo>
                      <a:pt x="20" y="217"/>
                    </a:lnTo>
                    <a:lnTo>
                      <a:pt x="25" y="212"/>
                    </a:lnTo>
                    <a:lnTo>
                      <a:pt x="25" y="207"/>
                    </a:lnTo>
                    <a:lnTo>
                      <a:pt x="30" y="207"/>
                    </a:lnTo>
                    <a:lnTo>
                      <a:pt x="30" y="202"/>
                    </a:lnTo>
                    <a:lnTo>
                      <a:pt x="25" y="202"/>
                    </a:lnTo>
                    <a:lnTo>
                      <a:pt x="25" y="197"/>
                    </a:lnTo>
                    <a:lnTo>
                      <a:pt x="25" y="192"/>
                    </a:lnTo>
                    <a:lnTo>
                      <a:pt x="30" y="192"/>
                    </a:lnTo>
                    <a:lnTo>
                      <a:pt x="30" y="187"/>
                    </a:lnTo>
                    <a:lnTo>
                      <a:pt x="40" y="177"/>
                    </a:lnTo>
                    <a:lnTo>
                      <a:pt x="45" y="166"/>
                    </a:lnTo>
                    <a:lnTo>
                      <a:pt x="50" y="156"/>
                    </a:lnTo>
                    <a:lnTo>
                      <a:pt x="50" y="151"/>
                    </a:lnTo>
                    <a:lnTo>
                      <a:pt x="60" y="146"/>
                    </a:lnTo>
                    <a:lnTo>
                      <a:pt x="65" y="141"/>
                    </a:lnTo>
                    <a:lnTo>
                      <a:pt x="75" y="141"/>
                    </a:lnTo>
                    <a:lnTo>
                      <a:pt x="75" y="136"/>
                    </a:lnTo>
                    <a:lnTo>
                      <a:pt x="80" y="136"/>
                    </a:lnTo>
                    <a:lnTo>
                      <a:pt x="86" y="136"/>
                    </a:lnTo>
                    <a:lnTo>
                      <a:pt x="96" y="136"/>
                    </a:lnTo>
                    <a:lnTo>
                      <a:pt x="101" y="141"/>
                    </a:lnTo>
                    <a:lnTo>
                      <a:pt x="106" y="136"/>
                    </a:lnTo>
                    <a:lnTo>
                      <a:pt x="101" y="131"/>
                    </a:lnTo>
                    <a:lnTo>
                      <a:pt x="101" y="126"/>
                    </a:lnTo>
                    <a:lnTo>
                      <a:pt x="101" y="121"/>
                    </a:lnTo>
                    <a:lnTo>
                      <a:pt x="96" y="121"/>
                    </a:lnTo>
                    <a:lnTo>
                      <a:pt x="96" y="116"/>
                    </a:lnTo>
                    <a:lnTo>
                      <a:pt x="96" y="106"/>
                    </a:lnTo>
                    <a:lnTo>
                      <a:pt x="96" y="101"/>
                    </a:lnTo>
                    <a:lnTo>
                      <a:pt x="91" y="96"/>
                    </a:lnTo>
                    <a:lnTo>
                      <a:pt x="91" y="86"/>
                    </a:lnTo>
                    <a:lnTo>
                      <a:pt x="86" y="81"/>
                    </a:lnTo>
                    <a:lnTo>
                      <a:pt x="86" y="76"/>
                    </a:lnTo>
                    <a:lnTo>
                      <a:pt x="86" y="71"/>
                    </a:lnTo>
                    <a:lnTo>
                      <a:pt x="86" y="66"/>
                    </a:lnTo>
                    <a:lnTo>
                      <a:pt x="91" y="61"/>
                    </a:lnTo>
                    <a:lnTo>
                      <a:pt x="96" y="61"/>
                    </a:lnTo>
                    <a:lnTo>
                      <a:pt x="101" y="61"/>
                    </a:lnTo>
                    <a:lnTo>
                      <a:pt x="106" y="61"/>
                    </a:lnTo>
                    <a:lnTo>
                      <a:pt x="111" y="66"/>
                    </a:lnTo>
                    <a:lnTo>
                      <a:pt x="111" y="61"/>
                    </a:lnTo>
                    <a:lnTo>
                      <a:pt x="116" y="56"/>
                    </a:lnTo>
                    <a:lnTo>
                      <a:pt x="121" y="56"/>
                    </a:lnTo>
                    <a:lnTo>
                      <a:pt x="131" y="61"/>
                    </a:lnTo>
                    <a:lnTo>
                      <a:pt x="131" y="66"/>
                    </a:lnTo>
                    <a:lnTo>
                      <a:pt x="131" y="71"/>
                    </a:lnTo>
                    <a:lnTo>
                      <a:pt x="136" y="71"/>
                    </a:lnTo>
                    <a:lnTo>
                      <a:pt x="141" y="71"/>
                    </a:lnTo>
                    <a:lnTo>
                      <a:pt x="146" y="71"/>
                    </a:lnTo>
                    <a:lnTo>
                      <a:pt x="151" y="66"/>
                    </a:lnTo>
                    <a:lnTo>
                      <a:pt x="151" y="61"/>
                    </a:lnTo>
                    <a:lnTo>
                      <a:pt x="156" y="61"/>
                    </a:lnTo>
                    <a:lnTo>
                      <a:pt x="161" y="61"/>
                    </a:lnTo>
                    <a:lnTo>
                      <a:pt x="161" y="56"/>
                    </a:lnTo>
                    <a:lnTo>
                      <a:pt x="161" y="51"/>
                    </a:lnTo>
                    <a:lnTo>
                      <a:pt x="166" y="51"/>
                    </a:lnTo>
                    <a:lnTo>
                      <a:pt x="166" y="61"/>
                    </a:lnTo>
                    <a:lnTo>
                      <a:pt x="166" y="66"/>
                    </a:lnTo>
                    <a:lnTo>
                      <a:pt x="166" y="71"/>
                    </a:lnTo>
                    <a:lnTo>
                      <a:pt x="171" y="76"/>
                    </a:lnTo>
                    <a:lnTo>
                      <a:pt x="176" y="76"/>
                    </a:lnTo>
                    <a:lnTo>
                      <a:pt x="181" y="76"/>
                    </a:lnTo>
                    <a:lnTo>
                      <a:pt x="181" y="71"/>
                    </a:lnTo>
                    <a:lnTo>
                      <a:pt x="176" y="66"/>
                    </a:lnTo>
                    <a:lnTo>
                      <a:pt x="176" y="61"/>
                    </a:lnTo>
                    <a:lnTo>
                      <a:pt x="181" y="56"/>
                    </a:lnTo>
                    <a:lnTo>
                      <a:pt x="181" y="61"/>
                    </a:lnTo>
                    <a:lnTo>
                      <a:pt x="186" y="71"/>
                    </a:lnTo>
                    <a:lnTo>
                      <a:pt x="186" y="76"/>
                    </a:lnTo>
                    <a:lnTo>
                      <a:pt x="191" y="76"/>
                    </a:lnTo>
                    <a:lnTo>
                      <a:pt x="196" y="81"/>
                    </a:lnTo>
                    <a:lnTo>
                      <a:pt x="201" y="76"/>
                    </a:lnTo>
                    <a:lnTo>
                      <a:pt x="206" y="71"/>
                    </a:lnTo>
                    <a:lnTo>
                      <a:pt x="212" y="71"/>
                    </a:lnTo>
                    <a:lnTo>
                      <a:pt x="212" y="76"/>
                    </a:lnTo>
                    <a:lnTo>
                      <a:pt x="217" y="76"/>
                    </a:lnTo>
                    <a:lnTo>
                      <a:pt x="222" y="76"/>
                    </a:lnTo>
                    <a:lnTo>
                      <a:pt x="227" y="71"/>
                    </a:lnTo>
                    <a:lnTo>
                      <a:pt x="227" y="66"/>
                    </a:lnTo>
                    <a:lnTo>
                      <a:pt x="242" y="61"/>
                    </a:lnTo>
                    <a:lnTo>
                      <a:pt x="247" y="61"/>
                    </a:lnTo>
                    <a:lnTo>
                      <a:pt x="252" y="66"/>
                    </a:lnTo>
                    <a:lnTo>
                      <a:pt x="252" y="71"/>
                    </a:lnTo>
                    <a:lnTo>
                      <a:pt x="257" y="71"/>
                    </a:lnTo>
                    <a:lnTo>
                      <a:pt x="262" y="76"/>
                    </a:lnTo>
                    <a:lnTo>
                      <a:pt x="262" y="81"/>
                    </a:lnTo>
                    <a:lnTo>
                      <a:pt x="267" y="81"/>
                    </a:lnTo>
                    <a:lnTo>
                      <a:pt x="272" y="81"/>
                    </a:lnTo>
                    <a:lnTo>
                      <a:pt x="277" y="76"/>
                    </a:lnTo>
                    <a:lnTo>
                      <a:pt x="272" y="71"/>
                    </a:lnTo>
                    <a:lnTo>
                      <a:pt x="272" y="66"/>
                    </a:lnTo>
                    <a:lnTo>
                      <a:pt x="277" y="66"/>
                    </a:lnTo>
                    <a:lnTo>
                      <a:pt x="277" y="71"/>
                    </a:lnTo>
                    <a:lnTo>
                      <a:pt x="282" y="71"/>
                    </a:lnTo>
                    <a:lnTo>
                      <a:pt x="287" y="71"/>
                    </a:lnTo>
                    <a:lnTo>
                      <a:pt x="287" y="66"/>
                    </a:lnTo>
                    <a:lnTo>
                      <a:pt x="287" y="61"/>
                    </a:lnTo>
                    <a:lnTo>
                      <a:pt x="282" y="61"/>
                    </a:lnTo>
                    <a:lnTo>
                      <a:pt x="282" y="56"/>
                    </a:lnTo>
                    <a:lnTo>
                      <a:pt x="277" y="56"/>
                    </a:lnTo>
                    <a:lnTo>
                      <a:pt x="272" y="56"/>
                    </a:lnTo>
                    <a:lnTo>
                      <a:pt x="267" y="56"/>
                    </a:lnTo>
                    <a:lnTo>
                      <a:pt x="267" y="51"/>
                    </a:lnTo>
                    <a:lnTo>
                      <a:pt x="272" y="51"/>
                    </a:lnTo>
                    <a:lnTo>
                      <a:pt x="277" y="51"/>
                    </a:lnTo>
                    <a:lnTo>
                      <a:pt x="282" y="51"/>
                    </a:lnTo>
                    <a:lnTo>
                      <a:pt x="287" y="56"/>
                    </a:lnTo>
                    <a:lnTo>
                      <a:pt x="292" y="51"/>
                    </a:lnTo>
                    <a:lnTo>
                      <a:pt x="292" y="46"/>
                    </a:lnTo>
                    <a:lnTo>
                      <a:pt x="287" y="46"/>
                    </a:lnTo>
                    <a:lnTo>
                      <a:pt x="287" y="41"/>
                    </a:lnTo>
                    <a:lnTo>
                      <a:pt x="287" y="35"/>
                    </a:lnTo>
                    <a:lnTo>
                      <a:pt x="292" y="41"/>
                    </a:lnTo>
                    <a:lnTo>
                      <a:pt x="292" y="46"/>
                    </a:lnTo>
                    <a:lnTo>
                      <a:pt x="297" y="51"/>
                    </a:lnTo>
                    <a:lnTo>
                      <a:pt x="302" y="46"/>
                    </a:lnTo>
                    <a:lnTo>
                      <a:pt x="297" y="41"/>
                    </a:lnTo>
                    <a:lnTo>
                      <a:pt x="297" y="35"/>
                    </a:lnTo>
                    <a:lnTo>
                      <a:pt x="297" y="30"/>
                    </a:lnTo>
                    <a:lnTo>
                      <a:pt x="302" y="30"/>
                    </a:lnTo>
                    <a:lnTo>
                      <a:pt x="302" y="35"/>
                    </a:lnTo>
                    <a:lnTo>
                      <a:pt x="307" y="41"/>
                    </a:lnTo>
                    <a:lnTo>
                      <a:pt x="312" y="46"/>
                    </a:lnTo>
                    <a:lnTo>
                      <a:pt x="317" y="46"/>
                    </a:lnTo>
                    <a:lnTo>
                      <a:pt x="322" y="41"/>
                    </a:lnTo>
                    <a:lnTo>
                      <a:pt x="322" y="35"/>
                    </a:lnTo>
                    <a:lnTo>
                      <a:pt x="327" y="30"/>
                    </a:lnTo>
                    <a:lnTo>
                      <a:pt x="332" y="30"/>
                    </a:lnTo>
                    <a:lnTo>
                      <a:pt x="343" y="30"/>
                    </a:lnTo>
                    <a:lnTo>
                      <a:pt x="348" y="30"/>
                    </a:lnTo>
                    <a:lnTo>
                      <a:pt x="353" y="30"/>
                    </a:lnTo>
                    <a:lnTo>
                      <a:pt x="358" y="30"/>
                    </a:lnTo>
                    <a:lnTo>
                      <a:pt x="358" y="25"/>
                    </a:lnTo>
                    <a:lnTo>
                      <a:pt x="363" y="20"/>
                    </a:lnTo>
                    <a:lnTo>
                      <a:pt x="368" y="20"/>
                    </a:lnTo>
                    <a:lnTo>
                      <a:pt x="373" y="20"/>
                    </a:lnTo>
                    <a:lnTo>
                      <a:pt x="378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78" y="5"/>
                    </a:lnTo>
                    <a:lnTo>
                      <a:pt x="383" y="5"/>
                    </a:lnTo>
                    <a:lnTo>
                      <a:pt x="388" y="10"/>
                    </a:lnTo>
                    <a:lnTo>
                      <a:pt x="393" y="5"/>
                    </a:lnTo>
                    <a:lnTo>
                      <a:pt x="393" y="0"/>
                    </a:lnTo>
                    <a:lnTo>
                      <a:pt x="398" y="0"/>
                    </a:lnTo>
                    <a:lnTo>
                      <a:pt x="398" y="5"/>
                    </a:lnTo>
                    <a:lnTo>
                      <a:pt x="408" y="5"/>
                    </a:lnTo>
                    <a:lnTo>
                      <a:pt x="413" y="5"/>
                    </a:lnTo>
                    <a:lnTo>
                      <a:pt x="418" y="15"/>
                    </a:lnTo>
                    <a:lnTo>
                      <a:pt x="423" y="20"/>
                    </a:lnTo>
                    <a:lnTo>
                      <a:pt x="423" y="25"/>
                    </a:lnTo>
                    <a:lnTo>
                      <a:pt x="428" y="30"/>
                    </a:lnTo>
                    <a:lnTo>
                      <a:pt x="433" y="35"/>
                    </a:lnTo>
                    <a:lnTo>
                      <a:pt x="438" y="35"/>
                    </a:lnTo>
                    <a:lnTo>
                      <a:pt x="433" y="41"/>
                    </a:lnTo>
                    <a:lnTo>
                      <a:pt x="428" y="41"/>
                    </a:lnTo>
                    <a:lnTo>
                      <a:pt x="423" y="46"/>
                    </a:lnTo>
                    <a:lnTo>
                      <a:pt x="423" y="51"/>
                    </a:lnTo>
                    <a:lnTo>
                      <a:pt x="423" y="56"/>
                    </a:lnTo>
                    <a:lnTo>
                      <a:pt x="418" y="56"/>
                    </a:lnTo>
                    <a:lnTo>
                      <a:pt x="413" y="56"/>
                    </a:lnTo>
                    <a:lnTo>
                      <a:pt x="413" y="61"/>
                    </a:lnTo>
                    <a:lnTo>
                      <a:pt x="408" y="56"/>
                    </a:lnTo>
                    <a:lnTo>
                      <a:pt x="403" y="51"/>
                    </a:lnTo>
                    <a:lnTo>
                      <a:pt x="398" y="51"/>
                    </a:lnTo>
                    <a:lnTo>
                      <a:pt x="398" y="61"/>
                    </a:lnTo>
                    <a:lnTo>
                      <a:pt x="398" y="66"/>
                    </a:lnTo>
                    <a:lnTo>
                      <a:pt x="398" y="71"/>
                    </a:lnTo>
                    <a:lnTo>
                      <a:pt x="393" y="71"/>
                    </a:lnTo>
                    <a:lnTo>
                      <a:pt x="388" y="76"/>
                    </a:lnTo>
                    <a:lnTo>
                      <a:pt x="383" y="71"/>
                    </a:lnTo>
                    <a:lnTo>
                      <a:pt x="378" y="71"/>
                    </a:lnTo>
                    <a:lnTo>
                      <a:pt x="373" y="76"/>
                    </a:lnTo>
                    <a:lnTo>
                      <a:pt x="368" y="76"/>
                    </a:lnTo>
                    <a:lnTo>
                      <a:pt x="363" y="71"/>
                    </a:lnTo>
                    <a:lnTo>
                      <a:pt x="358" y="66"/>
                    </a:lnTo>
                    <a:lnTo>
                      <a:pt x="353" y="66"/>
                    </a:lnTo>
                    <a:lnTo>
                      <a:pt x="353" y="71"/>
                    </a:lnTo>
                    <a:lnTo>
                      <a:pt x="353" y="76"/>
                    </a:lnTo>
                    <a:lnTo>
                      <a:pt x="353" y="81"/>
                    </a:lnTo>
                    <a:lnTo>
                      <a:pt x="348" y="81"/>
                    </a:lnTo>
                    <a:lnTo>
                      <a:pt x="348" y="86"/>
                    </a:lnTo>
                    <a:lnTo>
                      <a:pt x="343" y="86"/>
                    </a:lnTo>
                    <a:lnTo>
                      <a:pt x="343" y="91"/>
                    </a:lnTo>
                    <a:lnTo>
                      <a:pt x="337" y="86"/>
                    </a:lnTo>
                    <a:lnTo>
                      <a:pt x="332" y="86"/>
                    </a:lnTo>
                    <a:lnTo>
                      <a:pt x="327" y="86"/>
                    </a:lnTo>
                    <a:lnTo>
                      <a:pt x="327" y="81"/>
                    </a:lnTo>
                    <a:lnTo>
                      <a:pt x="322" y="76"/>
                    </a:lnTo>
                    <a:lnTo>
                      <a:pt x="317" y="81"/>
                    </a:lnTo>
                    <a:lnTo>
                      <a:pt x="312" y="81"/>
                    </a:lnTo>
                    <a:lnTo>
                      <a:pt x="307" y="81"/>
                    </a:lnTo>
                    <a:lnTo>
                      <a:pt x="307" y="86"/>
                    </a:lnTo>
                    <a:lnTo>
                      <a:pt x="302" y="86"/>
                    </a:lnTo>
                    <a:lnTo>
                      <a:pt x="297" y="86"/>
                    </a:lnTo>
                    <a:lnTo>
                      <a:pt x="297" y="91"/>
                    </a:lnTo>
                    <a:lnTo>
                      <a:pt x="302" y="91"/>
                    </a:lnTo>
                    <a:lnTo>
                      <a:pt x="302" y="96"/>
                    </a:lnTo>
                    <a:lnTo>
                      <a:pt x="307" y="96"/>
                    </a:lnTo>
                    <a:lnTo>
                      <a:pt x="312" y="101"/>
                    </a:lnTo>
                    <a:lnTo>
                      <a:pt x="317" y="101"/>
                    </a:lnTo>
                    <a:lnTo>
                      <a:pt x="322" y="106"/>
                    </a:lnTo>
                    <a:lnTo>
                      <a:pt x="322" y="111"/>
                    </a:lnTo>
                    <a:lnTo>
                      <a:pt x="317" y="116"/>
                    </a:lnTo>
                    <a:lnTo>
                      <a:pt x="312" y="121"/>
                    </a:lnTo>
                    <a:lnTo>
                      <a:pt x="312" y="116"/>
                    </a:lnTo>
                    <a:lnTo>
                      <a:pt x="307" y="111"/>
                    </a:lnTo>
                    <a:lnTo>
                      <a:pt x="302" y="111"/>
                    </a:lnTo>
                    <a:lnTo>
                      <a:pt x="302" y="106"/>
                    </a:lnTo>
                    <a:lnTo>
                      <a:pt x="297" y="106"/>
                    </a:lnTo>
                    <a:lnTo>
                      <a:pt x="297" y="101"/>
                    </a:lnTo>
                    <a:lnTo>
                      <a:pt x="292" y="106"/>
                    </a:lnTo>
                    <a:lnTo>
                      <a:pt x="292" y="111"/>
                    </a:lnTo>
                    <a:lnTo>
                      <a:pt x="297" y="111"/>
                    </a:lnTo>
                    <a:lnTo>
                      <a:pt x="297" y="116"/>
                    </a:lnTo>
                    <a:lnTo>
                      <a:pt x="292" y="116"/>
                    </a:lnTo>
                    <a:lnTo>
                      <a:pt x="292" y="121"/>
                    </a:lnTo>
                    <a:lnTo>
                      <a:pt x="287" y="121"/>
                    </a:lnTo>
                    <a:lnTo>
                      <a:pt x="287" y="126"/>
                    </a:lnTo>
                    <a:lnTo>
                      <a:pt x="287" y="131"/>
                    </a:lnTo>
                    <a:lnTo>
                      <a:pt x="292" y="131"/>
                    </a:lnTo>
                    <a:lnTo>
                      <a:pt x="287" y="131"/>
                    </a:lnTo>
                    <a:lnTo>
                      <a:pt x="287" y="136"/>
                    </a:lnTo>
                    <a:lnTo>
                      <a:pt x="282" y="136"/>
                    </a:lnTo>
                    <a:lnTo>
                      <a:pt x="282" y="141"/>
                    </a:lnTo>
                    <a:lnTo>
                      <a:pt x="277" y="141"/>
                    </a:lnTo>
                    <a:lnTo>
                      <a:pt x="277" y="146"/>
                    </a:lnTo>
                    <a:lnTo>
                      <a:pt x="272" y="146"/>
                    </a:lnTo>
                    <a:lnTo>
                      <a:pt x="267" y="146"/>
                    </a:lnTo>
                    <a:lnTo>
                      <a:pt x="262" y="146"/>
                    </a:lnTo>
                    <a:lnTo>
                      <a:pt x="262" y="151"/>
                    </a:lnTo>
                    <a:lnTo>
                      <a:pt x="257" y="151"/>
                    </a:lnTo>
                    <a:lnTo>
                      <a:pt x="257" y="156"/>
                    </a:lnTo>
                    <a:lnTo>
                      <a:pt x="252" y="156"/>
                    </a:lnTo>
                    <a:lnTo>
                      <a:pt x="252" y="161"/>
                    </a:lnTo>
                    <a:lnTo>
                      <a:pt x="252" y="156"/>
                    </a:lnTo>
                    <a:lnTo>
                      <a:pt x="247" y="156"/>
                    </a:lnTo>
                    <a:lnTo>
                      <a:pt x="247" y="161"/>
                    </a:lnTo>
                    <a:lnTo>
                      <a:pt x="242" y="161"/>
                    </a:lnTo>
                    <a:lnTo>
                      <a:pt x="247" y="161"/>
                    </a:lnTo>
                    <a:lnTo>
                      <a:pt x="242" y="161"/>
                    </a:lnTo>
                    <a:lnTo>
                      <a:pt x="242" y="166"/>
                    </a:lnTo>
                    <a:lnTo>
                      <a:pt x="242" y="172"/>
                    </a:lnTo>
                    <a:lnTo>
                      <a:pt x="242" y="177"/>
                    </a:lnTo>
                    <a:lnTo>
                      <a:pt x="237" y="177"/>
                    </a:lnTo>
                    <a:lnTo>
                      <a:pt x="237" y="182"/>
                    </a:lnTo>
                    <a:lnTo>
                      <a:pt x="237" y="187"/>
                    </a:lnTo>
                    <a:lnTo>
                      <a:pt x="237" y="192"/>
                    </a:lnTo>
                    <a:lnTo>
                      <a:pt x="232" y="197"/>
                    </a:lnTo>
                    <a:lnTo>
                      <a:pt x="232" y="202"/>
                    </a:lnTo>
                    <a:lnTo>
                      <a:pt x="227" y="202"/>
                    </a:lnTo>
                    <a:lnTo>
                      <a:pt x="227" y="207"/>
                    </a:lnTo>
                    <a:lnTo>
                      <a:pt x="227" y="217"/>
                    </a:lnTo>
                    <a:lnTo>
                      <a:pt x="227" y="222"/>
                    </a:lnTo>
                    <a:lnTo>
                      <a:pt x="222" y="222"/>
                    </a:lnTo>
                    <a:lnTo>
                      <a:pt x="217" y="222"/>
                    </a:lnTo>
                    <a:lnTo>
                      <a:pt x="212" y="227"/>
                    </a:lnTo>
                    <a:lnTo>
                      <a:pt x="206" y="227"/>
                    </a:lnTo>
                    <a:lnTo>
                      <a:pt x="196" y="232"/>
                    </a:lnTo>
                    <a:lnTo>
                      <a:pt x="191" y="232"/>
                    </a:lnTo>
                    <a:lnTo>
                      <a:pt x="186" y="232"/>
                    </a:lnTo>
                    <a:lnTo>
                      <a:pt x="181" y="232"/>
                    </a:lnTo>
                    <a:lnTo>
                      <a:pt x="181" y="237"/>
                    </a:lnTo>
                    <a:lnTo>
                      <a:pt x="176" y="237"/>
                    </a:lnTo>
                    <a:lnTo>
                      <a:pt x="171" y="237"/>
                    </a:lnTo>
                    <a:lnTo>
                      <a:pt x="166" y="237"/>
                    </a:lnTo>
                    <a:lnTo>
                      <a:pt x="166" y="242"/>
                    </a:lnTo>
                    <a:lnTo>
                      <a:pt x="166" y="247"/>
                    </a:lnTo>
                    <a:lnTo>
                      <a:pt x="156" y="247"/>
                    </a:lnTo>
                    <a:lnTo>
                      <a:pt x="151" y="252"/>
                    </a:lnTo>
                    <a:lnTo>
                      <a:pt x="151" y="247"/>
                    </a:lnTo>
                    <a:lnTo>
                      <a:pt x="151" y="252"/>
                    </a:lnTo>
                    <a:lnTo>
                      <a:pt x="146" y="252"/>
                    </a:lnTo>
                    <a:lnTo>
                      <a:pt x="141" y="252"/>
                    </a:lnTo>
                    <a:lnTo>
                      <a:pt x="136" y="252"/>
                    </a:lnTo>
                    <a:lnTo>
                      <a:pt x="131" y="252"/>
                    </a:lnTo>
                    <a:lnTo>
                      <a:pt x="126" y="257"/>
                    </a:lnTo>
                    <a:lnTo>
                      <a:pt x="121" y="257"/>
                    </a:lnTo>
                    <a:lnTo>
                      <a:pt x="116" y="257"/>
                    </a:lnTo>
                    <a:lnTo>
                      <a:pt x="116" y="262"/>
                    </a:lnTo>
                    <a:lnTo>
                      <a:pt x="111" y="262"/>
                    </a:lnTo>
                    <a:lnTo>
                      <a:pt x="106" y="262"/>
                    </a:lnTo>
                    <a:lnTo>
                      <a:pt x="101" y="267"/>
                    </a:lnTo>
                    <a:lnTo>
                      <a:pt x="96" y="267"/>
                    </a:lnTo>
                    <a:lnTo>
                      <a:pt x="80" y="272"/>
                    </a:lnTo>
                    <a:lnTo>
                      <a:pt x="75" y="272"/>
                    </a:lnTo>
                    <a:lnTo>
                      <a:pt x="70" y="282"/>
                    </a:lnTo>
                    <a:lnTo>
                      <a:pt x="65" y="282"/>
                    </a:lnTo>
                    <a:lnTo>
                      <a:pt x="60" y="287"/>
                    </a:lnTo>
                    <a:lnTo>
                      <a:pt x="65" y="287"/>
                    </a:lnTo>
                    <a:lnTo>
                      <a:pt x="65" y="292"/>
                    </a:lnTo>
                    <a:lnTo>
                      <a:pt x="60" y="292"/>
                    </a:lnTo>
                    <a:lnTo>
                      <a:pt x="60" y="298"/>
                    </a:lnTo>
                    <a:lnTo>
                      <a:pt x="60" y="303"/>
                    </a:lnTo>
                    <a:lnTo>
                      <a:pt x="60" y="308"/>
                    </a:lnTo>
                    <a:lnTo>
                      <a:pt x="55" y="308"/>
                    </a:lnTo>
                    <a:lnTo>
                      <a:pt x="60" y="308"/>
                    </a:lnTo>
                    <a:lnTo>
                      <a:pt x="60" y="313"/>
                    </a:lnTo>
                    <a:lnTo>
                      <a:pt x="55" y="313"/>
                    </a:lnTo>
                    <a:lnTo>
                      <a:pt x="50" y="318"/>
                    </a:lnTo>
                    <a:lnTo>
                      <a:pt x="50" y="323"/>
                    </a:lnTo>
                    <a:lnTo>
                      <a:pt x="45" y="328"/>
                    </a:lnTo>
                    <a:lnTo>
                      <a:pt x="40" y="328"/>
                    </a:lnTo>
                    <a:lnTo>
                      <a:pt x="40" y="333"/>
                    </a:lnTo>
                    <a:lnTo>
                      <a:pt x="35" y="333"/>
                    </a:lnTo>
                    <a:lnTo>
                      <a:pt x="30" y="333"/>
                    </a:lnTo>
                    <a:lnTo>
                      <a:pt x="30" y="338"/>
                    </a:lnTo>
                    <a:lnTo>
                      <a:pt x="25" y="338"/>
                    </a:lnTo>
                    <a:lnTo>
                      <a:pt x="20" y="338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650">
                <a:extLst>
                  <a:ext uri="{FF2B5EF4-FFF2-40B4-BE49-F238E27FC236}">
                    <a16:creationId xmlns:a16="http://schemas.microsoft.com/office/drawing/2014/main" id="{D98D2F7F-6141-B802-A5CB-11DE55750F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694472">
                <a:off x="2652114" y="1694374"/>
                <a:ext cx="816771" cy="877976"/>
              </a:xfrm>
              <a:custGeom>
                <a:avLst/>
                <a:gdLst>
                  <a:gd name="T0" fmla="*/ 2147483647 w 515"/>
                  <a:gd name="T1" fmla="*/ 2147483647 h 590"/>
                  <a:gd name="T2" fmla="*/ 2147483647 w 515"/>
                  <a:gd name="T3" fmla="*/ 2147483647 h 590"/>
                  <a:gd name="T4" fmla="*/ 2147483647 w 515"/>
                  <a:gd name="T5" fmla="*/ 2147483647 h 590"/>
                  <a:gd name="T6" fmla="*/ 2147483647 w 515"/>
                  <a:gd name="T7" fmla="*/ 2147483647 h 590"/>
                  <a:gd name="T8" fmla="*/ 2147483647 w 515"/>
                  <a:gd name="T9" fmla="*/ 2147483647 h 590"/>
                  <a:gd name="T10" fmla="*/ 2147483647 w 515"/>
                  <a:gd name="T11" fmla="*/ 2147483647 h 590"/>
                  <a:gd name="T12" fmla="*/ 2147483647 w 515"/>
                  <a:gd name="T13" fmla="*/ 2147483647 h 590"/>
                  <a:gd name="T14" fmla="*/ 2147483647 w 515"/>
                  <a:gd name="T15" fmla="*/ 2147483647 h 590"/>
                  <a:gd name="T16" fmla="*/ 2147483647 w 515"/>
                  <a:gd name="T17" fmla="*/ 2147483647 h 590"/>
                  <a:gd name="T18" fmla="*/ 2147483647 w 515"/>
                  <a:gd name="T19" fmla="*/ 2147483647 h 590"/>
                  <a:gd name="T20" fmla="*/ 2147483647 w 515"/>
                  <a:gd name="T21" fmla="*/ 2147483647 h 590"/>
                  <a:gd name="T22" fmla="*/ 2147483647 w 515"/>
                  <a:gd name="T23" fmla="*/ 2147483647 h 590"/>
                  <a:gd name="T24" fmla="*/ 2147483647 w 515"/>
                  <a:gd name="T25" fmla="*/ 2147483647 h 590"/>
                  <a:gd name="T26" fmla="*/ 2147483647 w 515"/>
                  <a:gd name="T27" fmla="*/ 2147483647 h 590"/>
                  <a:gd name="T28" fmla="*/ 2025491384 w 515"/>
                  <a:gd name="T29" fmla="*/ 2147483647 h 590"/>
                  <a:gd name="T30" fmla="*/ 1709010598 w 515"/>
                  <a:gd name="T31" fmla="*/ 2147483647 h 590"/>
                  <a:gd name="T32" fmla="*/ 1181539486 w 515"/>
                  <a:gd name="T33" fmla="*/ 2147483647 h 590"/>
                  <a:gd name="T34" fmla="*/ 548568681 w 515"/>
                  <a:gd name="T35" fmla="*/ 2147483647 h 590"/>
                  <a:gd name="T36" fmla="*/ 548568681 w 515"/>
                  <a:gd name="T37" fmla="*/ 2147483647 h 590"/>
                  <a:gd name="T38" fmla="*/ 759559530 w 515"/>
                  <a:gd name="T39" fmla="*/ 2147483647 h 590"/>
                  <a:gd name="T40" fmla="*/ 443078570 w 515"/>
                  <a:gd name="T41" fmla="*/ 2147483647 h 590"/>
                  <a:gd name="T42" fmla="*/ 126588159 w 515"/>
                  <a:gd name="T43" fmla="*/ 2147483647 h 590"/>
                  <a:gd name="T44" fmla="*/ 126588159 w 515"/>
                  <a:gd name="T45" fmla="*/ 2147483647 h 590"/>
                  <a:gd name="T46" fmla="*/ 232088331 w 515"/>
                  <a:gd name="T47" fmla="*/ 2147483647 h 590"/>
                  <a:gd name="T48" fmla="*/ 232088331 w 515"/>
                  <a:gd name="T49" fmla="*/ 2147483647 h 590"/>
                  <a:gd name="T50" fmla="*/ 548568681 w 515"/>
                  <a:gd name="T51" fmla="*/ 2147483647 h 590"/>
                  <a:gd name="T52" fmla="*/ 654068548 w 515"/>
                  <a:gd name="T53" fmla="*/ 2147483647 h 590"/>
                  <a:gd name="T54" fmla="*/ 1287029597 w 515"/>
                  <a:gd name="T55" fmla="*/ 2147483647 h 590"/>
                  <a:gd name="T56" fmla="*/ 1920001970 w 515"/>
                  <a:gd name="T57" fmla="*/ 2147483647 h 590"/>
                  <a:gd name="T58" fmla="*/ 2147483647 w 515"/>
                  <a:gd name="T59" fmla="*/ 2147483647 h 590"/>
                  <a:gd name="T60" fmla="*/ 2147483647 w 515"/>
                  <a:gd name="T61" fmla="*/ 2147483647 h 590"/>
                  <a:gd name="T62" fmla="*/ 2147483647 w 515"/>
                  <a:gd name="T63" fmla="*/ 2147483647 h 590"/>
                  <a:gd name="T64" fmla="*/ 2147483647 w 515"/>
                  <a:gd name="T65" fmla="*/ 2147483647 h 590"/>
                  <a:gd name="T66" fmla="*/ 2147483647 w 515"/>
                  <a:gd name="T67" fmla="*/ 2147483647 h 590"/>
                  <a:gd name="T68" fmla="*/ 2147483647 w 515"/>
                  <a:gd name="T69" fmla="*/ 1579200180 h 590"/>
                  <a:gd name="T70" fmla="*/ 2147483647 w 515"/>
                  <a:gd name="T71" fmla="*/ 1579200180 h 590"/>
                  <a:gd name="T72" fmla="*/ 2147483647 w 515"/>
                  <a:gd name="T73" fmla="*/ 1320319372 h 590"/>
                  <a:gd name="T74" fmla="*/ 2147483647 w 515"/>
                  <a:gd name="T75" fmla="*/ 543665339 h 590"/>
                  <a:gd name="T76" fmla="*/ 2147483647 w 515"/>
                  <a:gd name="T77" fmla="*/ 155333012 h 590"/>
                  <a:gd name="T78" fmla="*/ 2147483647 w 515"/>
                  <a:gd name="T79" fmla="*/ 1190878432 h 590"/>
                  <a:gd name="T80" fmla="*/ 2147483647 w 515"/>
                  <a:gd name="T81" fmla="*/ 1579200180 h 590"/>
                  <a:gd name="T82" fmla="*/ 2147483647 w 515"/>
                  <a:gd name="T83" fmla="*/ 2147483647 h 590"/>
                  <a:gd name="T84" fmla="*/ 2147483647 w 515"/>
                  <a:gd name="T85" fmla="*/ 2147483647 h 590"/>
                  <a:gd name="T86" fmla="*/ 2147483647 w 515"/>
                  <a:gd name="T87" fmla="*/ 2147483647 h 590"/>
                  <a:gd name="T88" fmla="*/ 2147483647 w 515"/>
                  <a:gd name="T89" fmla="*/ 2147483647 h 590"/>
                  <a:gd name="T90" fmla="*/ 2147483647 w 515"/>
                  <a:gd name="T91" fmla="*/ 2147483647 h 590"/>
                  <a:gd name="T92" fmla="*/ 2147483647 w 515"/>
                  <a:gd name="T93" fmla="*/ 2147483647 h 590"/>
                  <a:gd name="T94" fmla="*/ 2147483647 w 515"/>
                  <a:gd name="T95" fmla="*/ 2147483647 h 590"/>
                  <a:gd name="T96" fmla="*/ 2147483647 w 515"/>
                  <a:gd name="T97" fmla="*/ 2147483647 h 590"/>
                  <a:gd name="T98" fmla="*/ 2147483647 w 515"/>
                  <a:gd name="T99" fmla="*/ 2147483647 h 590"/>
                  <a:gd name="T100" fmla="*/ 2147483647 w 515"/>
                  <a:gd name="T101" fmla="*/ 2147483647 h 590"/>
                  <a:gd name="T102" fmla="*/ 2147483647 w 515"/>
                  <a:gd name="T103" fmla="*/ 2147483647 h 590"/>
                  <a:gd name="T104" fmla="*/ 2147483647 w 515"/>
                  <a:gd name="T105" fmla="*/ 2147483647 h 590"/>
                  <a:gd name="T106" fmla="*/ 2147483647 w 515"/>
                  <a:gd name="T107" fmla="*/ 2147483647 h 590"/>
                  <a:gd name="T108" fmla="*/ 2147483647 w 515"/>
                  <a:gd name="T109" fmla="*/ 2147483647 h 590"/>
                  <a:gd name="T110" fmla="*/ 2147483647 w 515"/>
                  <a:gd name="T111" fmla="*/ 2147483647 h 590"/>
                  <a:gd name="T112" fmla="*/ 2147483647 w 515"/>
                  <a:gd name="T113" fmla="*/ 2147483647 h 590"/>
                  <a:gd name="T114" fmla="*/ 2147483647 w 515"/>
                  <a:gd name="T115" fmla="*/ 2147483647 h 590"/>
                  <a:gd name="T116" fmla="*/ 1076038922 w 515"/>
                  <a:gd name="T117" fmla="*/ 2147483647 h 59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15"/>
                  <a:gd name="T178" fmla="*/ 0 h 590"/>
                  <a:gd name="T179" fmla="*/ 515 w 515"/>
                  <a:gd name="T180" fmla="*/ 590 h 59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15" h="590">
                    <a:moveTo>
                      <a:pt x="499" y="494"/>
                    </a:moveTo>
                    <a:lnTo>
                      <a:pt x="499" y="499"/>
                    </a:lnTo>
                    <a:lnTo>
                      <a:pt x="499" y="504"/>
                    </a:lnTo>
                    <a:lnTo>
                      <a:pt x="499" y="509"/>
                    </a:lnTo>
                    <a:lnTo>
                      <a:pt x="489" y="509"/>
                    </a:lnTo>
                    <a:lnTo>
                      <a:pt x="489" y="514"/>
                    </a:lnTo>
                    <a:lnTo>
                      <a:pt x="489" y="519"/>
                    </a:lnTo>
                    <a:lnTo>
                      <a:pt x="489" y="525"/>
                    </a:lnTo>
                    <a:lnTo>
                      <a:pt x="484" y="525"/>
                    </a:lnTo>
                    <a:lnTo>
                      <a:pt x="484" y="530"/>
                    </a:lnTo>
                    <a:lnTo>
                      <a:pt x="479" y="545"/>
                    </a:lnTo>
                    <a:lnTo>
                      <a:pt x="474" y="545"/>
                    </a:lnTo>
                    <a:lnTo>
                      <a:pt x="469" y="545"/>
                    </a:lnTo>
                    <a:lnTo>
                      <a:pt x="469" y="550"/>
                    </a:lnTo>
                    <a:lnTo>
                      <a:pt x="469" y="555"/>
                    </a:lnTo>
                    <a:lnTo>
                      <a:pt x="464" y="550"/>
                    </a:lnTo>
                    <a:lnTo>
                      <a:pt x="454" y="555"/>
                    </a:lnTo>
                    <a:lnTo>
                      <a:pt x="449" y="555"/>
                    </a:lnTo>
                    <a:lnTo>
                      <a:pt x="444" y="555"/>
                    </a:lnTo>
                    <a:lnTo>
                      <a:pt x="444" y="560"/>
                    </a:lnTo>
                    <a:lnTo>
                      <a:pt x="434" y="560"/>
                    </a:lnTo>
                    <a:lnTo>
                      <a:pt x="434" y="565"/>
                    </a:lnTo>
                    <a:lnTo>
                      <a:pt x="429" y="565"/>
                    </a:lnTo>
                    <a:lnTo>
                      <a:pt x="424" y="565"/>
                    </a:lnTo>
                    <a:lnTo>
                      <a:pt x="419" y="565"/>
                    </a:lnTo>
                    <a:lnTo>
                      <a:pt x="419" y="560"/>
                    </a:lnTo>
                    <a:lnTo>
                      <a:pt x="419" y="555"/>
                    </a:lnTo>
                    <a:lnTo>
                      <a:pt x="414" y="555"/>
                    </a:lnTo>
                    <a:lnTo>
                      <a:pt x="399" y="560"/>
                    </a:lnTo>
                    <a:lnTo>
                      <a:pt x="394" y="555"/>
                    </a:lnTo>
                    <a:lnTo>
                      <a:pt x="389" y="560"/>
                    </a:lnTo>
                    <a:lnTo>
                      <a:pt x="389" y="565"/>
                    </a:lnTo>
                    <a:lnTo>
                      <a:pt x="384" y="575"/>
                    </a:lnTo>
                    <a:lnTo>
                      <a:pt x="378" y="575"/>
                    </a:lnTo>
                    <a:lnTo>
                      <a:pt x="378" y="580"/>
                    </a:lnTo>
                    <a:lnTo>
                      <a:pt x="384" y="580"/>
                    </a:lnTo>
                    <a:lnTo>
                      <a:pt x="384" y="585"/>
                    </a:lnTo>
                    <a:lnTo>
                      <a:pt x="378" y="585"/>
                    </a:lnTo>
                    <a:lnTo>
                      <a:pt x="373" y="580"/>
                    </a:lnTo>
                    <a:lnTo>
                      <a:pt x="363" y="590"/>
                    </a:lnTo>
                    <a:lnTo>
                      <a:pt x="363" y="585"/>
                    </a:lnTo>
                    <a:lnTo>
                      <a:pt x="368" y="580"/>
                    </a:lnTo>
                    <a:lnTo>
                      <a:pt x="368" y="575"/>
                    </a:lnTo>
                    <a:lnTo>
                      <a:pt x="363" y="575"/>
                    </a:lnTo>
                    <a:lnTo>
                      <a:pt x="358" y="580"/>
                    </a:lnTo>
                    <a:lnTo>
                      <a:pt x="353" y="580"/>
                    </a:lnTo>
                    <a:lnTo>
                      <a:pt x="353" y="585"/>
                    </a:lnTo>
                    <a:lnTo>
                      <a:pt x="348" y="585"/>
                    </a:lnTo>
                    <a:lnTo>
                      <a:pt x="348" y="580"/>
                    </a:lnTo>
                    <a:lnTo>
                      <a:pt x="353" y="575"/>
                    </a:lnTo>
                    <a:lnTo>
                      <a:pt x="348" y="575"/>
                    </a:lnTo>
                    <a:lnTo>
                      <a:pt x="343" y="580"/>
                    </a:lnTo>
                    <a:lnTo>
                      <a:pt x="343" y="575"/>
                    </a:lnTo>
                    <a:lnTo>
                      <a:pt x="338" y="575"/>
                    </a:lnTo>
                    <a:lnTo>
                      <a:pt x="338" y="565"/>
                    </a:lnTo>
                    <a:lnTo>
                      <a:pt x="333" y="565"/>
                    </a:lnTo>
                    <a:lnTo>
                      <a:pt x="328" y="565"/>
                    </a:lnTo>
                    <a:lnTo>
                      <a:pt x="323" y="565"/>
                    </a:lnTo>
                    <a:lnTo>
                      <a:pt x="323" y="560"/>
                    </a:lnTo>
                    <a:lnTo>
                      <a:pt x="328" y="560"/>
                    </a:lnTo>
                    <a:lnTo>
                      <a:pt x="328" y="555"/>
                    </a:lnTo>
                    <a:lnTo>
                      <a:pt x="333" y="555"/>
                    </a:lnTo>
                    <a:lnTo>
                      <a:pt x="338" y="550"/>
                    </a:lnTo>
                    <a:lnTo>
                      <a:pt x="338" y="545"/>
                    </a:lnTo>
                    <a:lnTo>
                      <a:pt x="333" y="540"/>
                    </a:lnTo>
                    <a:lnTo>
                      <a:pt x="318" y="545"/>
                    </a:lnTo>
                    <a:lnTo>
                      <a:pt x="313" y="540"/>
                    </a:lnTo>
                    <a:lnTo>
                      <a:pt x="308" y="535"/>
                    </a:lnTo>
                    <a:lnTo>
                      <a:pt x="303" y="535"/>
                    </a:lnTo>
                    <a:lnTo>
                      <a:pt x="298" y="530"/>
                    </a:lnTo>
                    <a:lnTo>
                      <a:pt x="293" y="530"/>
                    </a:lnTo>
                    <a:lnTo>
                      <a:pt x="288" y="535"/>
                    </a:lnTo>
                    <a:lnTo>
                      <a:pt x="283" y="535"/>
                    </a:lnTo>
                    <a:lnTo>
                      <a:pt x="283" y="540"/>
                    </a:lnTo>
                    <a:lnTo>
                      <a:pt x="288" y="545"/>
                    </a:lnTo>
                    <a:lnTo>
                      <a:pt x="288" y="550"/>
                    </a:lnTo>
                    <a:lnTo>
                      <a:pt x="268" y="555"/>
                    </a:lnTo>
                    <a:lnTo>
                      <a:pt x="268" y="560"/>
                    </a:lnTo>
                    <a:lnTo>
                      <a:pt x="268" y="555"/>
                    </a:lnTo>
                    <a:lnTo>
                      <a:pt x="263" y="560"/>
                    </a:lnTo>
                    <a:lnTo>
                      <a:pt x="268" y="560"/>
                    </a:lnTo>
                    <a:lnTo>
                      <a:pt x="263" y="570"/>
                    </a:lnTo>
                    <a:lnTo>
                      <a:pt x="258" y="570"/>
                    </a:lnTo>
                    <a:lnTo>
                      <a:pt x="252" y="570"/>
                    </a:lnTo>
                    <a:lnTo>
                      <a:pt x="247" y="570"/>
                    </a:lnTo>
                    <a:lnTo>
                      <a:pt x="242" y="575"/>
                    </a:lnTo>
                    <a:lnTo>
                      <a:pt x="242" y="570"/>
                    </a:lnTo>
                    <a:lnTo>
                      <a:pt x="242" y="575"/>
                    </a:lnTo>
                    <a:lnTo>
                      <a:pt x="237" y="580"/>
                    </a:lnTo>
                    <a:lnTo>
                      <a:pt x="237" y="585"/>
                    </a:lnTo>
                    <a:lnTo>
                      <a:pt x="232" y="585"/>
                    </a:lnTo>
                    <a:lnTo>
                      <a:pt x="227" y="580"/>
                    </a:lnTo>
                    <a:lnTo>
                      <a:pt x="222" y="575"/>
                    </a:lnTo>
                    <a:lnTo>
                      <a:pt x="217" y="585"/>
                    </a:lnTo>
                    <a:lnTo>
                      <a:pt x="217" y="590"/>
                    </a:lnTo>
                    <a:lnTo>
                      <a:pt x="212" y="585"/>
                    </a:lnTo>
                    <a:lnTo>
                      <a:pt x="212" y="580"/>
                    </a:lnTo>
                    <a:lnTo>
                      <a:pt x="202" y="580"/>
                    </a:lnTo>
                    <a:lnTo>
                      <a:pt x="202" y="575"/>
                    </a:lnTo>
                    <a:lnTo>
                      <a:pt x="197" y="580"/>
                    </a:lnTo>
                    <a:lnTo>
                      <a:pt x="197" y="575"/>
                    </a:lnTo>
                    <a:lnTo>
                      <a:pt x="192" y="575"/>
                    </a:lnTo>
                    <a:lnTo>
                      <a:pt x="187" y="575"/>
                    </a:lnTo>
                    <a:lnTo>
                      <a:pt x="182" y="575"/>
                    </a:lnTo>
                    <a:lnTo>
                      <a:pt x="182" y="570"/>
                    </a:lnTo>
                    <a:lnTo>
                      <a:pt x="192" y="570"/>
                    </a:lnTo>
                    <a:lnTo>
                      <a:pt x="192" y="565"/>
                    </a:lnTo>
                    <a:lnTo>
                      <a:pt x="187" y="560"/>
                    </a:lnTo>
                    <a:lnTo>
                      <a:pt x="182" y="560"/>
                    </a:lnTo>
                    <a:lnTo>
                      <a:pt x="182" y="555"/>
                    </a:lnTo>
                    <a:lnTo>
                      <a:pt x="187" y="550"/>
                    </a:lnTo>
                    <a:lnTo>
                      <a:pt x="182" y="545"/>
                    </a:lnTo>
                    <a:lnTo>
                      <a:pt x="177" y="545"/>
                    </a:lnTo>
                    <a:lnTo>
                      <a:pt x="177" y="540"/>
                    </a:lnTo>
                    <a:lnTo>
                      <a:pt x="172" y="540"/>
                    </a:lnTo>
                    <a:lnTo>
                      <a:pt x="172" y="535"/>
                    </a:lnTo>
                    <a:lnTo>
                      <a:pt x="167" y="535"/>
                    </a:lnTo>
                    <a:lnTo>
                      <a:pt x="162" y="535"/>
                    </a:lnTo>
                    <a:lnTo>
                      <a:pt x="162" y="530"/>
                    </a:lnTo>
                    <a:lnTo>
                      <a:pt x="157" y="525"/>
                    </a:lnTo>
                    <a:lnTo>
                      <a:pt x="152" y="530"/>
                    </a:lnTo>
                    <a:lnTo>
                      <a:pt x="142" y="535"/>
                    </a:lnTo>
                    <a:lnTo>
                      <a:pt x="137" y="535"/>
                    </a:lnTo>
                    <a:lnTo>
                      <a:pt x="132" y="540"/>
                    </a:lnTo>
                    <a:lnTo>
                      <a:pt x="126" y="540"/>
                    </a:lnTo>
                    <a:lnTo>
                      <a:pt x="121" y="540"/>
                    </a:lnTo>
                    <a:lnTo>
                      <a:pt x="121" y="545"/>
                    </a:lnTo>
                    <a:lnTo>
                      <a:pt x="116" y="545"/>
                    </a:lnTo>
                    <a:lnTo>
                      <a:pt x="116" y="540"/>
                    </a:lnTo>
                    <a:lnTo>
                      <a:pt x="116" y="535"/>
                    </a:lnTo>
                    <a:lnTo>
                      <a:pt x="111" y="540"/>
                    </a:lnTo>
                    <a:lnTo>
                      <a:pt x="111" y="545"/>
                    </a:lnTo>
                    <a:lnTo>
                      <a:pt x="106" y="545"/>
                    </a:lnTo>
                    <a:lnTo>
                      <a:pt x="101" y="540"/>
                    </a:lnTo>
                    <a:lnTo>
                      <a:pt x="96" y="545"/>
                    </a:lnTo>
                    <a:lnTo>
                      <a:pt x="96" y="540"/>
                    </a:lnTo>
                    <a:lnTo>
                      <a:pt x="96" y="535"/>
                    </a:lnTo>
                    <a:lnTo>
                      <a:pt x="96" y="530"/>
                    </a:lnTo>
                    <a:lnTo>
                      <a:pt x="101" y="530"/>
                    </a:lnTo>
                    <a:lnTo>
                      <a:pt x="101" y="525"/>
                    </a:lnTo>
                    <a:lnTo>
                      <a:pt x="96" y="525"/>
                    </a:lnTo>
                    <a:lnTo>
                      <a:pt x="91" y="519"/>
                    </a:lnTo>
                    <a:lnTo>
                      <a:pt x="86" y="514"/>
                    </a:lnTo>
                    <a:lnTo>
                      <a:pt x="81" y="514"/>
                    </a:lnTo>
                    <a:lnTo>
                      <a:pt x="76" y="514"/>
                    </a:lnTo>
                    <a:lnTo>
                      <a:pt x="76" y="509"/>
                    </a:lnTo>
                    <a:lnTo>
                      <a:pt x="71" y="509"/>
                    </a:lnTo>
                    <a:lnTo>
                      <a:pt x="71" y="504"/>
                    </a:lnTo>
                    <a:lnTo>
                      <a:pt x="66" y="499"/>
                    </a:lnTo>
                    <a:lnTo>
                      <a:pt x="66" y="494"/>
                    </a:lnTo>
                    <a:lnTo>
                      <a:pt x="66" y="489"/>
                    </a:lnTo>
                    <a:lnTo>
                      <a:pt x="56" y="489"/>
                    </a:lnTo>
                    <a:lnTo>
                      <a:pt x="56" y="484"/>
                    </a:lnTo>
                    <a:lnTo>
                      <a:pt x="41" y="494"/>
                    </a:lnTo>
                    <a:lnTo>
                      <a:pt x="36" y="489"/>
                    </a:lnTo>
                    <a:lnTo>
                      <a:pt x="36" y="484"/>
                    </a:lnTo>
                    <a:lnTo>
                      <a:pt x="36" y="479"/>
                    </a:lnTo>
                    <a:lnTo>
                      <a:pt x="31" y="474"/>
                    </a:lnTo>
                    <a:lnTo>
                      <a:pt x="36" y="474"/>
                    </a:lnTo>
                    <a:lnTo>
                      <a:pt x="36" y="469"/>
                    </a:lnTo>
                    <a:lnTo>
                      <a:pt x="36" y="464"/>
                    </a:lnTo>
                    <a:lnTo>
                      <a:pt x="26" y="464"/>
                    </a:lnTo>
                    <a:lnTo>
                      <a:pt x="26" y="459"/>
                    </a:lnTo>
                    <a:lnTo>
                      <a:pt x="26" y="454"/>
                    </a:lnTo>
                    <a:lnTo>
                      <a:pt x="31" y="454"/>
                    </a:lnTo>
                    <a:lnTo>
                      <a:pt x="36" y="454"/>
                    </a:lnTo>
                    <a:lnTo>
                      <a:pt x="36" y="449"/>
                    </a:lnTo>
                    <a:lnTo>
                      <a:pt x="31" y="449"/>
                    </a:lnTo>
                    <a:lnTo>
                      <a:pt x="31" y="444"/>
                    </a:lnTo>
                    <a:lnTo>
                      <a:pt x="26" y="444"/>
                    </a:lnTo>
                    <a:lnTo>
                      <a:pt x="26" y="439"/>
                    </a:lnTo>
                    <a:lnTo>
                      <a:pt x="31" y="439"/>
                    </a:lnTo>
                    <a:lnTo>
                      <a:pt x="36" y="434"/>
                    </a:lnTo>
                    <a:lnTo>
                      <a:pt x="31" y="429"/>
                    </a:lnTo>
                    <a:lnTo>
                      <a:pt x="36" y="429"/>
                    </a:lnTo>
                    <a:lnTo>
                      <a:pt x="36" y="424"/>
                    </a:lnTo>
                    <a:lnTo>
                      <a:pt x="31" y="419"/>
                    </a:lnTo>
                    <a:lnTo>
                      <a:pt x="31" y="414"/>
                    </a:lnTo>
                    <a:lnTo>
                      <a:pt x="36" y="414"/>
                    </a:lnTo>
                    <a:lnTo>
                      <a:pt x="36" y="409"/>
                    </a:lnTo>
                    <a:lnTo>
                      <a:pt x="41" y="404"/>
                    </a:lnTo>
                    <a:lnTo>
                      <a:pt x="41" y="399"/>
                    </a:lnTo>
                    <a:lnTo>
                      <a:pt x="36" y="399"/>
                    </a:lnTo>
                    <a:lnTo>
                      <a:pt x="41" y="394"/>
                    </a:lnTo>
                    <a:lnTo>
                      <a:pt x="36" y="388"/>
                    </a:lnTo>
                    <a:lnTo>
                      <a:pt x="31" y="383"/>
                    </a:lnTo>
                    <a:lnTo>
                      <a:pt x="26" y="383"/>
                    </a:lnTo>
                    <a:lnTo>
                      <a:pt x="21" y="378"/>
                    </a:lnTo>
                    <a:lnTo>
                      <a:pt x="21" y="373"/>
                    </a:lnTo>
                    <a:lnTo>
                      <a:pt x="26" y="373"/>
                    </a:lnTo>
                    <a:lnTo>
                      <a:pt x="26" y="368"/>
                    </a:lnTo>
                    <a:lnTo>
                      <a:pt x="21" y="368"/>
                    </a:lnTo>
                    <a:lnTo>
                      <a:pt x="21" y="363"/>
                    </a:lnTo>
                    <a:lnTo>
                      <a:pt x="16" y="363"/>
                    </a:lnTo>
                    <a:lnTo>
                      <a:pt x="16" y="358"/>
                    </a:lnTo>
                    <a:lnTo>
                      <a:pt x="16" y="353"/>
                    </a:lnTo>
                    <a:lnTo>
                      <a:pt x="11" y="353"/>
                    </a:lnTo>
                    <a:lnTo>
                      <a:pt x="6" y="353"/>
                    </a:lnTo>
                    <a:lnTo>
                      <a:pt x="6" y="348"/>
                    </a:lnTo>
                    <a:lnTo>
                      <a:pt x="6" y="343"/>
                    </a:lnTo>
                    <a:lnTo>
                      <a:pt x="0" y="343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6" y="333"/>
                    </a:lnTo>
                    <a:lnTo>
                      <a:pt x="0" y="328"/>
                    </a:lnTo>
                    <a:lnTo>
                      <a:pt x="6" y="328"/>
                    </a:lnTo>
                    <a:lnTo>
                      <a:pt x="6" y="323"/>
                    </a:lnTo>
                    <a:lnTo>
                      <a:pt x="6" y="318"/>
                    </a:lnTo>
                    <a:lnTo>
                      <a:pt x="0" y="318"/>
                    </a:lnTo>
                    <a:lnTo>
                      <a:pt x="0" y="313"/>
                    </a:lnTo>
                    <a:lnTo>
                      <a:pt x="6" y="308"/>
                    </a:lnTo>
                    <a:lnTo>
                      <a:pt x="11" y="308"/>
                    </a:lnTo>
                    <a:lnTo>
                      <a:pt x="6" y="308"/>
                    </a:lnTo>
                    <a:lnTo>
                      <a:pt x="6" y="303"/>
                    </a:lnTo>
                    <a:lnTo>
                      <a:pt x="11" y="298"/>
                    </a:lnTo>
                    <a:lnTo>
                      <a:pt x="11" y="293"/>
                    </a:lnTo>
                    <a:lnTo>
                      <a:pt x="6" y="293"/>
                    </a:lnTo>
                    <a:lnTo>
                      <a:pt x="6" y="288"/>
                    </a:lnTo>
                    <a:lnTo>
                      <a:pt x="6" y="293"/>
                    </a:lnTo>
                    <a:lnTo>
                      <a:pt x="11" y="288"/>
                    </a:lnTo>
                    <a:lnTo>
                      <a:pt x="11" y="283"/>
                    </a:lnTo>
                    <a:lnTo>
                      <a:pt x="6" y="283"/>
                    </a:lnTo>
                    <a:lnTo>
                      <a:pt x="6" y="278"/>
                    </a:lnTo>
                    <a:lnTo>
                      <a:pt x="6" y="273"/>
                    </a:lnTo>
                    <a:lnTo>
                      <a:pt x="11" y="273"/>
                    </a:lnTo>
                    <a:lnTo>
                      <a:pt x="11" y="268"/>
                    </a:lnTo>
                    <a:lnTo>
                      <a:pt x="11" y="263"/>
                    </a:lnTo>
                    <a:lnTo>
                      <a:pt x="16" y="252"/>
                    </a:lnTo>
                    <a:lnTo>
                      <a:pt x="21" y="252"/>
                    </a:lnTo>
                    <a:lnTo>
                      <a:pt x="26" y="247"/>
                    </a:lnTo>
                    <a:lnTo>
                      <a:pt x="26" y="242"/>
                    </a:lnTo>
                    <a:lnTo>
                      <a:pt x="21" y="242"/>
                    </a:lnTo>
                    <a:lnTo>
                      <a:pt x="21" y="237"/>
                    </a:lnTo>
                    <a:lnTo>
                      <a:pt x="26" y="232"/>
                    </a:lnTo>
                    <a:lnTo>
                      <a:pt x="21" y="232"/>
                    </a:lnTo>
                    <a:lnTo>
                      <a:pt x="26" y="232"/>
                    </a:lnTo>
                    <a:lnTo>
                      <a:pt x="31" y="232"/>
                    </a:lnTo>
                    <a:lnTo>
                      <a:pt x="31" y="227"/>
                    </a:lnTo>
                    <a:lnTo>
                      <a:pt x="31" y="222"/>
                    </a:lnTo>
                    <a:lnTo>
                      <a:pt x="26" y="222"/>
                    </a:lnTo>
                    <a:lnTo>
                      <a:pt x="31" y="217"/>
                    </a:lnTo>
                    <a:lnTo>
                      <a:pt x="36" y="212"/>
                    </a:lnTo>
                    <a:lnTo>
                      <a:pt x="31" y="207"/>
                    </a:lnTo>
                    <a:lnTo>
                      <a:pt x="36" y="207"/>
                    </a:lnTo>
                    <a:lnTo>
                      <a:pt x="31" y="202"/>
                    </a:lnTo>
                    <a:lnTo>
                      <a:pt x="31" y="197"/>
                    </a:lnTo>
                    <a:lnTo>
                      <a:pt x="36" y="197"/>
                    </a:lnTo>
                    <a:lnTo>
                      <a:pt x="41" y="197"/>
                    </a:lnTo>
                    <a:lnTo>
                      <a:pt x="46" y="192"/>
                    </a:lnTo>
                    <a:lnTo>
                      <a:pt x="51" y="192"/>
                    </a:lnTo>
                    <a:lnTo>
                      <a:pt x="56" y="187"/>
                    </a:lnTo>
                    <a:lnTo>
                      <a:pt x="61" y="187"/>
                    </a:lnTo>
                    <a:lnTo>
                      <a:pt x="66" y="187"/>
                    </a:lnTo>
                    <a:lnTo>
                      <a:pt x="71" y="187"/>
                    </a:lnTo>
                    <a:lnTo>
                      <a:pt x="76" y="192"/>
                    </a:lnTo>
                    <a:lnTo>
                      <a:pt x="81" y="192"/>
                    </a:lnTo>
                    <a:lnTo>
                      <a:pt x="86" y="192"/>
                    </a:lnTo>
                    <a:lnTo>
                      <a:pt x="91" y="192"/>
                    </a:lnTo>
                    <a:lnTo>
                      <a:pt x="91" y="187"/>
                    </a:lnTo>
                    <a:lnTo>
                      <a:pt x="91" y="182"/>
                    </a:lnTo>
                    <a:lnTo>
                      <a:pt x="91" y="177"/>
                    </a:lnTo>
                    <a:lnTo>
                      <a:pt x="91" y="172"/>
                    </a:lnTo>
                    <a:lnTo>
                      <a:pt x="96" y="172"/>
                    </a:lnTo>
                    <a:lnTo>
                      <a:pt x="96" y="167"/>
                    </a:lnTo>
                    <a:lnTo>
                      <a:pt x="96" y="162"/>
                    </a:lnTo>
                    <a:lnTo>
                      <a:pt x="101" y="162"/>
                    </a:lnTo>
                    <a:lnTo>
                      <a:pt x="106" y="157"/>
                    </a:lnTo>
                    <a:lnTo>
                      <a:pt x="111" y="162"/>
                    </a:lnTo>
                    <a:lnTo>
                      <a:pt x="116" y="162"/>
                    </a:lnTo>
                    <a:lnTo>
                      <a:pt x="121" y="162"/>
                    </a:lnTo>
                    <a:lnTo>
                      <a:pt x="132" y="157"/>
                    </a:lnTo>
                    <a:lnTo>
                      <a:pt x="142" y="157"/>
                    </a:lnTo>
                    <a:lnTo>
                      <a:pt x="147" y="157"/>
                    </a:lnTo>
                    <a:lnTo>
                      <a:pt x="152" y="157"/>
                    </a:lnTo>
                    <a:lnTo>
                      <a:pt x="157" y="157"/>
                    </a:lnTo>
                    <a:lnTo>
                      <a:pt x="162" y="152"/>
                    </a:lnTo>
                    <a:lnTo>
                      <a:pt x="167" y="152"/>
                    </a:lnTo>
                    <a:lnTo>
                      <a:pt x="172" y="147"/>
                    </a:lnTo>
                    <a:lnTo>
                      <a:pt x="177" y="147"/>
                    </a:lnTo>
                    <a:lnTo>
                      <a:pt x="182" y="147"/>
                    </a:lnTo>
                    <a:lnTo>
                      <a:pt x="187" y="147"/>
                    </a:lnTo>
                    <a:lnTo>
                      <a:pt x="192" y="147"/>
                    </a:lnTo>
                    <a:lnTo>
                      <a:pt x="187" y="152"/>
                    </a:lnTo>
                    <a:lnTo>
                      <a:pt x="187" y="157"/>
                    </a:lnTo>
                    <a:lnTo>
                      <a:pt x="192" y="162"/>
                    </a:lnTo>
                    <a:lnTo>
                      <a:pt x="197" y="162"/>
                    </a:lnTo>
                    <a:lnTo>
                      <a:pt x="202" y="162"/>
                    </a:lnTo>
                    <a:lnTo>
                      <a:pt x="207" y="157"/>
                    </a:lnTo>
                    <a:lnTo>
                      <a:pt x="207" y="152"/>
                    </a:lnTo>
                    <a:lnTo>
                      <a:pt x="212" y="152"/>
                    </a:lnTo>
                    <a:lnTo>
                      <a:pt x="217" y="152"/>
                    </a:lnTo>
                    <a:lnTo>
                      <a:pt x="217" y="147"/>
                    </a:lnTo>
                    <a:lnTo>
                      <a:pt x="222" y="147"/>
                    </a:lnTo>
                    <a:lnTo>
                      <a:pt x="222" y="142"/>
                    </a:lnTo>
                    <a:lnTo>
                      <a:pt x="227" y="142"/>
                    </a:lnTo>
                    <a:lnTo>
                      <a:pt x="232" y="142"/>
                    </a:lnTo>
                    <a:lnTo>
                      <a:pt x="232" y="137"/>
                    </a:lnTo>
                    <a:lnTo>
                      <a:pt x="237" y="131"/>
                    </a:lnTo>
                    <a:lnTo>
                      <a:pt x="242" y="126"/>
                    </a:lnTo>
                    <a:lnTo>
                      <a:pt x="242" y="121"/>
                    </a:lnTo>
                    <a:lnTo>
                      <a:pt x="247" y="121"/>
                    </a:lnTo>
                    <a:lnTo>
                      <a:pt x="252" y="116"/>
                    </a:lnTo>
                    <a:lnTo>
                      <a:pt x="252" y="111"/>
                    </a:lnTo>
                    <a:lnTo>
                      <a:pt x="247" y="111"/>
                    </a:lnTo>
                    <a:lnTo>
                      <a:pt x="247" y="106"/>
                    </a:lnTo>
                    <a:lnTo>
                      <a:pt x="242" y="101"/>
                    </a:lnTo>
                    <a:lnTo>
                      <a:pt x="237" y="96"/>
                    </a:lnTo>
                    <a:lnTo>
                      <a:pt x="237" y="91"/>
                    </a:lnTo>
                    <a:lnTo>
                      <a:pt x="242" y="86"/>
                    </a:lnTo>
                    <a:lnTo>
                      <a:pt x="247" y="81"/>
                    </a:lnTo>
                    <a:lnTo>
                      <a:pt x="242" y="76"/>
                    </a:lnTo>
                    <a:lnTo>
                      <a:pt x="237" y="71"/>
                    </a:lnTo>
                    <a:lnTo>
                      <a:pt x="237" y="66"/>
                    </a:lnTo>
                    <a:lnTo>
                      <a:pt x="237" y="61"/>
                    </a:lnTo>
                    <a:lnTo>
                      <a:pt x="242" y="61"/>
                    </a:lnTo>
                    <a:lnTo>
                      <a:pt x="247" y="61"/>
                    </a:lnTo>
                    <a:lnTo>
                      <a:pt x="252" y="61"/>
                    </a:lnTo>
                    <a:lnTo>
                      <a:pt x="258" y="61"/>
                    </a:lnTo>
                    <a:lnTo>
                      <a:pt x="258" y="56"/>
                    </a:lnTo>
                    <a:lnTo>
                      <a:pt x="263" y="56"/>
                    </a:lnTo>
                    <a:lnTo>
                      <a:pt x="268" y="56"/>
                    </a:lnTo>
                    <a:lnTo>
                      <a:pt x="278" y="61"/>
                    </a:lnTo>
                    <a:lnTo>
                      <a:pt x="283" y="61"/>
                    </a:lnTo>
                    <a:lnTo>
                      <a:pt x="293" y="61"/>
                    </a:lnTo>
                    <a:lnTo>
                      <a:pt x="293" y="66"/>
                    </a:lnTo>
                    <a:lnTo>
                      <a:pt x="298" y="66"/>
                    </a:lnTo>
                    <a:lnTo>
                      <a:pt x="298" y="61"/>
                    </a:lnTo>
                    <a:lnTo>
                      <a:pt x="303" y="61"/>
                    </a:lnTo>
                    <a:lnTo>
                      <a:pt x="308" y="61"/>
                    </a:lnTo>
                    <a:lnTo>
                      <a:pt x="313" y="61"/>
                    </a:lnTo>
                    <a:lnTo>
                      <a:pt x="313" y="56"/>
                    </a:lnTo>
                    <a:lnTo>
                      <a:pt x="318" y="56"/>
                    </a:lnTo>
                    <a:lnTo>
                      <a:pt x="318" y="51"/>
                    </a:lnTo>
                    <a:lnTo>
                      <a:pt x="323" y="56"/>
                    </a:lnTo>
                    <a:lnTo>
                      <a:pt x="328" y="61"/>
                    </a:lnTo>
                    <a:lnTo>
                      <a:pt x="328" y="56"/>
                    </a:lnTo>
                    <a:lnTo>
                      <a:pt x="338" y="46"/>
                    </a:lnTo>
                    <a:lnTo>
                      <a:pt x="343" y="46"/>
                    </a:lnTo>
                    <a:lnTo>
                      <a:pt x="343" y="36"/>
                    </a:lnTo>
                    <a:lnTo>
                      <a:pt x="348" y="31"/>
                    </a:lnTo>
                    <a:lnTo>
                      <a:pt x="353" y="26"/>
                    </a:lnTo>
                    <a:lnTo>
                      <a:pt x="353" y="21"/>
                    </a:lnTo>
                    <a:lnTo>
                      <a:pt x="358" y="21"/>
                    </a:lnTo>
                    <a:lnTo>
                      <a:pt x="358" y="16"/>
                    </a:lnTo>
                    <a:lnTo>
                      <a:pt x="363" y="11"/>
                    </a:lnTo>
                    <a:lnTo>
                      <a:pt x="368" y="11"/>
                    </a:lnTo>
                    <a:lnTo>
                      <a:pt x="378" y="11"/>
                    </a:lnTo>
                    <a:lnTo>
                      <a:pt x="389" y="11"/>
                    </a:lnTo>
                    <a:lnTo>
                      <a:pt x="389" y="6"/>
                    </a:lnTo>
                    <a:lnTo>
                      <a:pt x="394" y="0"/>
                    </a:lnTo>
                    <a:lnTo>
                      <a:pt x="399" y="6"/>
                    </a:lnTo>
                    <a:lnTo>
                      <a:pt x="399" y="11"/>
                    </a:lnTo>
                    <a:lnTo>
                      <a:pt x="399" y="16"/>
                    </a:lnTo>
                    <a:lnTo>
                      <a:pt x="399" y="21"/>
                    </a:lnTo>
                    <a:lnTo>
                      <a:pt x="399" y="26"/>
                    </a:lnTo>
                    <a:lnTo>
                      <a:pt x="394" y="31"/>
                    </a:lnTo>
                    <a:lnTo>
                      <a:pt x="399" y="31"/>
                    </a:lnTo>
                    <a:lnTo>
                      <a:pt x="404" y="36"/>
                    </a:lnTo>
                    <a:lnTo>
                      <a:pt x="399" y="41"/>
                    </a:lnTo>
                    <a:lnTo>
                      <a:pt x="399" y="46"/>
                    </a:lnTo>
                    <a:lnTo>
                      <a:pt x="399" y="41"/>
                    </a:lnTo>
                    <a:lnTo>
                      <a:pt x="394" y="46"/>
                    </a:lnTo>
                    <a:lnTo>
                      <a:pt x="394" y="51"/>
                    </a:lnTo>
                    <a:lnTo>
                      <a:pt x="399" y="56"/>
                    </a:lnTo>
                    <a:lnTo>
                      <a:pt x="399" y="61"/>
                    </a:lnTo>
                    <a:lnTo>
                      <a:pt x="404" y="61"/>
                    </a:lnTo>
                    <a:lnTo>
                      <a:pt x="404" y="66"/>
                    </a:lnTo>
                    <a:lnTo>
                      <a:pt x="404" y="61"/>
                    </a:lnTo>
                    <a:lnTo>
                      <a:pt x="414" y="61"/>
                    </a:lnTo>
                    <a:lnTo>
                      <a:pt x="414" y="66"/>
                    </a:lnTo>
                    <a:lnTo>
                      <a:pt x="419" y="66"/>
                    </a:lnTo>
                    <a:lnTo>
                      <a:pt x="424" y="71"/>
                    </a:lnTo>
                    <a:lnTo>
                      <a:pt x="429" y="71"/>
                    </a:lnTo>
                    <a:lnTo>
                      <a:pt x="439" y="71"/>
                    </a:lnTo>
                    <a:lnTo>
                      <a:pt x="439" y="81"/>
                    </a:lnTo>
                    <a:lnTo>
                      <a:pt x="434" y="81"/>
                    </a:lnTo>
                    <a:lnTo>
                      <a:pt x="429" y="86"/>
                    </a:lnTo>
                    <a:lnTo>
                      <a:pt x="424" y="86"/>
                    </a:lnTo>
                    <a:lnTo>
                      <a:pt x="419" y="86"/>
                    </a:lnTo>
                    <a:lnTo>
                      <a:pt x="419" y="91"/>
                    </a:lnTo>
                    <a:lnTo>
                      <a:pt x="409" y="91"/>
                    </a:lnTo>
                    <a:lnTo>
                      <a:pt x="409" y="96"/>
                    </a:lnTo>
                    <a:lnTo>
                      <a:pt x="414" y="96"/>
                    </a:lnTo>
                    <a:lnTo>
                      <a:pt x="419" y="101"/>
                    </a:lnTo>
                    <a:lnTo>
                      <a:pt x="424" y="101"/>
                    </a:lnTo>
                    <a:lnTo>
                      <a:pt x="424" y="106"/>
                    </a:lnTo>
                    <a:lnTo>
                      <a:pt x="429" y="101"/>
                    </a:lnTo>
                    <a:lnTo>
                      <a:pt x="429" y="106"/>
                    </a:lnTo>
                    <a:lnTo>
                      <a:pt x="429" y="111"/>
                    </a:lnTo>
                    <a:lnTo>
                      <a:pt x="424" y="111"/>
                    </a:lnTo>
                    <a:lnTo>
                      <a:pt x="429" y="116"/>
                    </a:lnTo>
                    <a:lnTo>
                      <a:pt x="424" y="121"/>
                    </a:lnTo>
                    <a:lnTo>
                      <a:pt x="419" y="116"/>
                    </a:lnTo>
                    <a:lnTo>
                      <a:pt x="414" y="121"/>
                    </a:lnTo>
                    <a:lnTo>
                      <a:pt x="414" y="126"/>
                    </a:lnTo>
                    <a:lnTo>
                      <a:pt x="409" y="126"/>
                    </a:lnTo>
                    <a:lnTo>
                      <a:pt x="404" y="131"/>
                    </a:lnTo>
                    <a:lnTo>
                      <a:pt x="404" y="137"/>
                    </a:lnTo>
                    <a:lnTo>
                      <a:pt x="399" y="137"/>
                    </a:lnTo>
                    <a:lnTo>
                      <a:pt x="399" y="142"/>
                    </a:lnTo>
                    <a:lnTo>
                      <a:pt x="399" y="147"/>
                    </a:lnTo>
                    <a:lnTo>
                      <a:pt x="399" y="142"/>
                    </a:lnTo>
                    <a:lnTo>
                      <a:pt x="399" y="147"/>
                    </a:lnTo>
                    <a:lnTo>
                      <a:pt x="399" y="152"/>
                    </a:lnTo>
                    <a:lnTo>
                      <a:pt x="404" y="157"/>
                    </a:lnTo>
                    <a:lnTo>
                      <a:pt x="404" y="162"/>
                    </a:lnTo>
                    <a:lnTo>
                      <a:pt x="399" y="157"/>
                    </a:lnTo>
                    <a:lnTo>
                      <a:pt x="399" y="162"/>
                    </a:lnTo>
                    <a:lnTo>
                      <a:pt x="399" y="167"/>
                    </a:lnTo>
                    <a:lnTo>
                      <a:pt x="399" y="172"/>
                    </a:lnTo>
                    <a:lnTo>
                      <a:pt x="404" y="172"/>
                    </a:lnTo>
                    <a:lnTo>
                      <a:pt x="404" y="177"/>
                    </a:lnTo>
                    <a:lnTo>
                      <a:pt x="409" y="177"/>
                    </a:lnTo>
                    <a:lnTo>
                      <a:pt x="414" y="182"/>
                    </a:lnTo>
                    <a:lnTo>
                      <a:pt x="419" y="182"/>
                    </a:lnTo>
                    <a:lnTo>
                      <a:pt x="419" y="187"/>
                    </a:lnTo>
                    <a:lnTo>
                      <a:pt x="414" y="187"/>
                    </a:lnTo>
                    <a:lnTo>
                      <a:pt x="419" y="187"/>
                    </a:lnTo>
                    <a:lnTo>
                      <a:pt x="414" y="192"/>
                    </a:lnTo>
                    <a:lnTo>
                      <a:pt x="414" y="202"/>
                    </a:lnTo>
                    <a:lnTo>
                      <a:pt x="419" y="202"/>
                    </a:lnTo>
                    <a:lnTo>
                      <a:pt x="419" y="207"/>
                    </a:lnTo>
                    <a:lnTo>
                      <a:pt x="424" y="207"/>
                    </a:lnTo>
                    <a:lnTo>
                      <a:pt x="429" y="212"/>
                    </a:lnTo>
                    <a:lnTo>
                      <a:pt x="429" y="217"/>
                    </a:lnTo>
                    <a:lnTo>
                      <a:pt x="434" y="212"/>
                    </a:lnTo>
                    <a:lnTo>
                      <a:pt x="434" y="217"/>
                    </a:lnTo>
                    <a:lnTo>
                      <a:pt x="429" y="217"/>
                    </a:lnTo>
                    <a:lnTo>
                      <a:pt x="424" y="217"/>
                    </a:lnTo>
                    <a:lnTo>
                      <a:pt x="424" y="222"/>
                    </a:lnTo>
                    <a:lnTo>
                      <a:pt x="429" y="222"/>
                    </a:lnTo>
                    <a:lnTo>
                      <a:pt x="434" y="227"/>
                    </a:lnTo>
                    <a:lnTo>
                      <a:pt x="434" y="237"/>
                    </a:lnTo>
                    <a:lnTo>
                      <a:pt x="434" y="242"/>
                    </a:lnTo>
                    <a:lnTo>
                      <a:pt x="429" y="237"/>
                    </a:lnTo>
                    <a:lnTo>
                      <a:pt x="429" y="242"/>
                    </a:lnTo>
                    <a:lnTo>
                      <a:pt x="429" y="247"/>
                    </a:lnTo>
                    <a:lnTo>
                      <a:pt x="429" y="252"/>
                    </a:lnTo>
                    <a:lnTo>
                      <a:pt x="429" y="257"/>
                    </a:lnTo>
                    <a:lnTo>
                      <a:pt x="434" y="263"/>
                    </a:lnTo>
                    <a:lnTo>
                      <a:pt x="439" y="268"/>
                    </a:lnTo>
                    <a:lnTo>
                      <a:pt x="434" y="268"/>
                    </a:lnTo>
                    <a:lnTo>
                      <a:pt x="429" y="273"/>
                    </a:lnTo>
                    <a:lnTo>
                      <a:pt x="434" y="273"/>
                    </a:lnTo>
                    <a:lnTo>
                      <a:pt x="439" y="273"/>
                    </a:lnTo>
                    <a:lnTo>
                      <a:pt x="434" y="278"/>
                    </a:lnTo>
                    <a:lnTo>
                      <a:pt x="434" y="273"/>
                    </a:lnTo>
                    <a:lnTo>
                      <a:pt x="429" y="278"/>
                    </a:lnTo>
                    <a:lnTo>
                      <a:pt x="424" y="273"/>
                    </a:lnTo>
                    <a:lnTo>
                      <a:pt x="424" y="268"/>
                    </a:lnTo>
                    <a:lnTo>
                      <a:pt x="419" y="263"/>
                    </a:lnTo>
                    <a:lnTo>
                      <a:pt x="419" y="268"/>
                    </a:lnTo>
                    <a:lnTo>
                      <a:pt x="419" y="273"/>
                    </a:lnTo>
                    <a:lnTo>
                      <a:pt x="419" y="278"/>
                    </a:lnTo>
                    <a:lnTo>
                      <a:pt x="424" y="278"/>
                    </a:lnTo>
                    <a:lnTo>
                      <a:pt x="424" y="283"/>
                    </a:lnTo>
                    <a:lnTo>
                      <a:pt x="424" y="288"/>
                    </a:lnTo>
                    <a:lnTo>
                      <a:pt x="429" y="283"/>
                    </a:lnTo>
                    <a:lnTo>
                      <a:pt x="434" y="283"/>
                    </a:lnTo>
                    <a:lnTo>
                      <a:pt x="434" y="288"/>
                    </a:lnTo>
                    <a:lnTo>
                      <a:pt x="434" y="293"/>
                    </a:lnTo>
                    <a:lnTo>
                      <a:pt x="429" y="293"/>
                    </a:lnTo>
                    <a:lnTo>
                      <a:pt x="429" y="298"/>
                    </a:lnTo>
                    <a:lnTo>
                      <a:pt x="434" y="298"/>
                    </a:lnTo>
                    <a:lnTo>
                      <a:pt x="434" y="303"/>
                    </a:lnTo>
                    <a:lnTo>
                      <a:pt x="439" y="303"/>
                    </a:lnTo>
                    <a:lnTo>
                      <a:pt x="434" y="313"/>
                    </a:lnTo>
                    <a:lnTo>
                      <a:pt x="439" y="318"/>
                    </a:lnTo>
                    <a:lnTo>
                      <a:pt x="434" y="323"/>
                    </a:lnTo>
                    <a:lnTo>
                      <a:pt x="429" y="323"/>
                    </a:lnTo>
                    <a:lnTo>
                      <a:pt x="429" y="328"/>
                    </a:lnTo>
                    <a:lnTo>
                      <a:pt x="429" y="333"/>
                    </a:lnTo>
                    <a:lnTo>
                      <a:pt x="434" y="338"/>
                    </a:lnTo>
                    <a:lnTo>
                      <a:pt x="434" y="353"/>
                    </a:lnTo>
                    <a:lnTo>
                      <a:pt x="439" y="353"/>
                    </a:lnTo>
                    <a:lnTo>
                      <a:pt x="444" y="348"/>
                    </a:lnTo>
                    <a:lnTo>
                      <a:pt x="449" y="353"/>
                    </a:lnTo>
                    <a:lnTo>
                      <a:pt x="454" y="353"/>
                    </a:lnTo>
                    <a:lnTo>
                      <a:pt x="454" y="358"/>
                    </a:lnTo>
                    <a:lnTo>
                      <a:pt x="459" y="358"/>
                    </a:lnTo>
                    <a:lnTo>
                      <a:pt x="459" y="363"/>
                    </a:lnTo>
                    <a:lnTo>
                      <a:pt x="454" y="368"/>
                    </a:lnTo>
                    <a:lnTo>
                      <a:pt x="459" y="368"/>
                    </a:lnTo>
                    <a:lnTo>
                      <a:pt x="454" y="373"/>
                    </a:lnTo>
                    <a:lnTo>
                      <a:pt x="464" y="373"/>
                    </a:lnTo>
                    <a:lnTo>
                      <a:pt x="459" y="373"/>
                    </a:lnTo>
                    <a:lnTo>
                      <a:pt x="464" y="368"/>
                    </a:lnTo>
                    <a:lnTo>
                      <a:pt x="469" y="368"/>
                    </a:lnTo>
                    <a:lnTo>
                      <a:pt x="474" y="373"/>
                    </a:lnTo>
                    <a:lnTo>
                      <a:pt x="474" y="378"/>
                    </a:lnTo>
                    <a:lnTo>
                      <a:pt x="479" y="378"/>
                    </a:lnTo>
                    <a:lnTo>
                      <a:pt x="484" y="373"/>
                    </a:lnTo>
                    <a:lnTo>
                      <a:pt x="489" y="383"/>
                    </a:lnTo>
                    <a:lnTo>
                      <a:pt x="489" y="388"/>
                    </a:lnTo>
                    <a:lnTo>
                      <a:pt x="489" y="394"/>
                    </a:lnTo>
                    <a:lnTo>
                      <a:pt x="489" y="388"/>
                    </a:lnTo>
                    <a:lnTo>
                      <a:pt x="484" y="394"/>
                    </a:lnTo>
                    <a:lnTo>
                      <a:pt x="489" y="399"/>
                    </a:lnTo>
                    <a:lnTo>
                      <a:pt x="484" y="399"/>
                    </a:lnTo>
                    <a:lnTo>
                      <a:pt x="489" y="404"/>
                    </a:lnTo>
                    <a:lnTo>
                      <a:pt x="489" y="409"/>
                    </a:lnTo>
                    <a:lnTo>
                      <a:pt x="489" y="414"/>
                    </a:lnTo>
                    <a:lnTo>
                      <a:pt x="494" y="414"/>
                    </a:lnTo>
                    <a:lnTo>
                      <a:pt x="489" y="414"/>
                    </a:lnTo>
                    <a:lnTo>
                      <a:pt x="499" y="429"/>
                    </a:lnTo>
                    <a:lnTo>
                      <a:pt x="504" y="424"/>
                    </a:lnTo>
                    <a:lnTo>
                      <a:pt x="510" y="429"/>
                    </a:lnTo>
                    <a:lnTo>
                      <a:pt x="515" y="429"/>
                    </a:lnTo>
                    <a:lnTo>
                      <a:pt x="510" y="434"/>
                    </a:lnTo>
                    <a:lnTo>
                      <a:pt x="504" y="434"/>
                    </a:lnTo>
                    <a:lnTo>
                      <a:pt x="499" y="439"/>
                    </a:lnTo>
                    <a:lnTo>
                      <a:pt x="494" y="439"/>
                    </a:lnTo>
                    <a:lnTo>
                      <a:pt x="499" y="444"/>
                    </a:lnTo>
                    <a:lnTo>
                      <a:pt x="499" y="449"/>
                    </a:lnTo>
                    <a:lnTo>
                      <a:pt x="499" y="454"/>
                    </a:lnTo>
                    <a:lnTo>
                      <a:pt x="494" y="459"/>
                    </a:lnTo>
                    <a:lnTo>
                      <a:pt x="499" y="459"/>
                    </a:lnTo>
                    <a:lnTo>
                      <a:pt x="499" y="469"/>
                    </a:lnTo>
                    <a:lnTo>
                      <a:pt x="504" y="469"/>
                    </a:lnTo>
                    <a:lnTo>
                      <a:pt x="504" y="474"/>
                    </a:lnTo>
                    <a:lnTo>
                      <a:pt x="499" y="474"/>
                    </a:lnTo>
                    <a:lnTo>
                      <a:pt x="504" y="479"/>
                    </a:lnTo>
                    <a:lnTo>
                      <a:pt x="499" y="484"/>
                    </a:lnTo>
                    <a:lnTo>
                      <a:pt x="494" y="489"/>
                    </a:lnTo>
                    <a:lnTo>
                      <a:pt x="499" y="489"/>
                    </a:lnTo>
                    <a:lnTo>
                      <a:pt x="499" y="494"/>
                    </a:lnTo>
                    <a:close/>
                    <a:moveTo>
                      <a:pt x="31" y="358"/>
                    </a:moveTo>
                    <a:lnTo>
                      <a:pt x="36" y="358"/>
                    </a:lnTo>
                    <a:lnTo>
                      <a:pt x="41" y="358"/>
                    </a:lnTo>
                    <a:lnTo>
                      <a:pt x="46" y="353"/>
                    </a:lnTo>
                    <a:lnTo>
                      <a:pt x="51" y="348"/>
                    </a:lnTo>
                    <a:lnTo>
                      <a:pt x="56" y="348"/>
                    </a:lnTo>
                    <a:lnTo>
                      <a:pt x="61" y="343"/>
                    </a:lnTo>
                    <a:lnTo>
                      <a:pt x="61" y="338"/>
                    </a:lnTo>
                    <a:lnTo>
                      <a:pt x="56" y="338"/>
                    </a:lnTo>
                    <a:lnTo>
                      <a:pt x="51" y="338"/>
                    </a:lnTo>
                    <a:lnTo>
                      <a:pt x="31" y="348"/>
                    </a:lnTo>
                    <a:lnTo>
                      <a:pt x="26" y="353"/>
                    </a:lnTo>
                    <a:lnTo>
                      <a:pt x="31" y="358"/>
                    </a:lnTo>
                    <a:close/>
                  </a:path>
                </a:pathLst>
              </a:custGeom>
              <a:solidFill>
                <a:srgbClr val="E1974D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659">
                <a:extLst>
                  <a:ext uri="{FF2B5EF4-FFF2-40B4-BE49-F238E27FC236}">
                    <a16:creationId xmlns:a16="http://schemas.microsoft.com/office/drawing/2014/main" id="{AE23DC6C-F35D-B1AD-FB6E-6FF8CF400DC4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2621639" y="2499327"/>
                <a:ext cx="147974" cy="148285"/>
              </a:xfrm>
              <a:custGeom>
                <a:avLst/>
                <a:gdLst>
                  <a:gd name="T0" fmla="*/ 2147483647 w 96"/>
                  <a:gd name="T1" fmla="*/ 2147483647 h 106"/>
                  <a:gd name="T2" fmla="*/ 2147483647 w 96"/>
                  <a:gd name="T3" fmla="*/ 2147483647 h 106"/>
                  <a:gd name="T4" fmla="*/ 2147483647 w 96"/>
                  <a:gd name="T5" fmla="*/ 2147483647 h 106"/>
                  <a:gd name="T6" fmla="*/ 2147483647 w 96"/>
                  <a:gd name="T7" fmla="*/ 2147483647 h 106"/>
                  <a:gd name="T8" fmla="*/ 2147483647 w 96"/>
                  <a:gd name="T9" fmla="*/ 2147483647 h 106"/>
                  <a:gd name="T10" fmla="*/ 2147483647 w 96"/>
                  <a:gd name="T11" fmla="*/ 2147483647 h 106"/>
                  <a:gd name="T12" fmla="*/ 2147483647 w 96"/>
                  <a:gd name="T13" fmla="*/ 2147483647 h 106"/>
                  <a:gd name="T14" fmla="*/ 2147483647 w 96"/>
                  <a:gd name="T15" fmla="*/ 2147483647 h 106"/>
                  <a:gd name="T16" fmla="*/ 2147483647 w 96"/>
                  <a:gd name="T17" fmla="*/ 2147483647 h 106"/>
                  <a:gd name="T18" fmla="*/ 2147483647 w 96"/>
                  <a:gd name="T19" fmla="*/ 2147483647 h 106"/>
                  <a:gd name="T20" fmla="*/ 2147483647 w 96"/>
                  <a:gd name="T21" fmla="*/ 2147483647 h 106"/>
                  <a:gd name="T22" fmla="*/ 2147483647 w 96"/>
                  <a:gd name="T23" fmla="*/ 2147483647 h 106"/>
                  <a:gd name="T24" fmla="*/ 2147483647 w 96"/>
                  <a:gd name="T25" fmla="*/ 2147483647 h 106"/>
                  <a:gd name="T26" fmla="*/ 2147483647 w 96"/>
                  <a:gd name="T27" fmla="*/ 2147483647 h 106"/>
                  <a:gd name="T28" fmla="*/ 2147483647 w 96"/>
                  <a:gd name="T29" fmla="*/ 2147483647 h 106"/>
                  <a:gd name="T30" fmla="*/ 2147483647 w 96"/>
                  <a:gd name="T31" fmla="*/ 2147483647 h 106"/>
                  <a:gd name="T32" fmla="*/ 2147483647 w 96"/>
                  <a:gd name="T33" fmla="*/ 2147483647 h 106"/>
                  <a:gd name="T34" fmla="*/ 2147483647 w 96"/>
                  <a:gd name="T35" fmla="*/ 2147483647 h 106"/>
                  <a:gd name="T36" fmla="*/ 2147483647 w 96"/>
                  <a:gd name="T37" fmla="*/ 2147483647 h 106"/>
                  <a:gd name="T38" fmla="*/ 2147483647 w 96"/>
                  <a:gd name="T39" fmla="*/ 2147483647 h 106"/>
                  <a:gd name="T40" fmla="*/ 2147483647 w 96"/>
                  <a:gd name="T41" fmla="*/ 2147483647 h 106"/>
                  <a:gd name="T42" fmla="*/ 2147483647 w 96"/>
                  <a:gd name="T43" fmla="*/ 2147483647 h 106"/>
                  <a:gd name="T44" fmla="*/ 2147483647 w 96"/>
                  <a:gd name="T45" fmla="*/ 2147483647 h 106"/>
                  <a:gd name="T46" fmla="*/ 2147483647 w 96"/>
                  <a:gd name="T47" fmla="*/ 2147483647 h 106"/>
                  <a:gd name="T48" fmla="*/ 0 w 96"/>
                  <a:gd name="T49" fmla="*/ 2147483647 h 106"/>
                  <a:gd name="T50" fmla="*/ 0 w 96"/>
                  <a:gd name="T51" fmla="*/ 2147483647 h 106"/>
                  <a:gd name="T52" fmla="*/ 0 w 96"/>
                  <a:gd name="T53" fmla="*/ 2147483647 h 106"/>
                  <a:gd name="T54" fmla="*/ 2147483647 w 96"/>
                  <a:gd name="T55" fmla="*/ 2147483647 h 106"/>
                  <a:gd name="T56" fmla="*/ 2147483647 w 96"/>
                  <a:gd name="T57" fmla="*/ 2147483647 h 106"/>
                  <a:gd name="T58" fmla="*/ 0 w 96"/>
                  <a:gd name="T59" fmla="*/ 2147483647 h 106"/>
                  <a:gd name="T60" fmla="*/ 2147483647 w 96"/>
                  <a:gd name="T61" fmla="*/ 2147483647 h 106"/>
                  <a:gd name="T62" fmla="*/ 2147483647 w 96"/>
                  <a:gd name="T63" fmla="*/ 2147483647 h 106"/>
                  <a:gd name="T64" fmla="*/ 2147483647 w 96"/>
                  <a:gd name="T65" fmla="*/ 2147483647 h 106"/>
                  <a:gd name="T66" fmla="*/ 2147483647 w 96"/>
                  <a:gd name="T67" fmla="*/ 2147483647 h 106"/>
                  <a:gd name="T68" fmla="*/ 2147483647 w 96"/>
                  <a:gd name="T69" fmla="*/ 2147483647 h 106"/>
                  <a:gd name="T70" fmla="*/ 2147483647 w 96"/>
                  <a:gd name="T71" fmla="*/ 2147483647 h 106"/>
                  <a:gd name="T72" fmla="*/ 2147483647 w 96"/>
                  <a:gd name="T73" fmla="*/ 0 h 106"/>
                  <a:gd name="T74" fmla="*/ 2147483647 w 96"/>
                  <a:gd name="T75" fmla="*/ 0 h 106"/>
                  <a:gd name="T76" fmla="*/ 2147483647 w 96"/>
                  <a:gd name="T77" fmla="*/ 2147483647 h 106"/>
                  <a:gd name="T78" fmla="*/ 2147483647 w 96"/>
                  <a:gd name="T79" fmla="*/ 2147483647 h 106"/>
                  <a:gd name="T80" fmla="*/ 2147483647 w 96"/>
                  <a:gd name="T81" fmla="*/ 2147483647 h 106"/>
                  <a:gd name="T82" fmla="*/ 2147483647 w 96"/>
                  <a:gd name="T83" fmla="*/ 2147483647 h 10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96"/>
                  <a:gd name="T127" fmla="*/ 0 h 106"/>
                  <a:gd name="T128" fmla="*/ 96 w 96"/>
                  <a:gd name="T129" fmla="*/ 106 h 10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96" h="106">
                    <a:moveTo>
                      <a:pt x="80" y="25"/>
                    </a:moveTo>
                    <a:lnTo>
                      <a:pt x="80" y="30"/>
                    </a:lnTo>
                    <a:lnTo>
                      <a:pt x="80" y="35"/>
                    </a:lnTo>
                    <a:lnTo>
                      <a:pt x="85" y="35"/>
                    </a:lnTo>
                    <a:lnTo>
                      <a:pt x="91" y="40"/>
                    </a:lnTo>
                    <a:lnTo>
                      <a:pt x="96" y="45"/>
                    </a:lnTo>
                    <a:lnTo>
                      <a:pt x="91" y="45"/>
                    </a:lnTo>
                    <a:lnTo>
                      <a:pt x="91" y="50"/>
                    </a:lnTo>
                    <a:lnTo>
                      <a:pt x="91" y="56"/>
                    </a:lnTo>
                    <a:lnTo>
                      <a:pt x="85" y="61"/>
                    </a:lnTo>
                    <a:lnTo>
                      <a:pt x="85" y="56"/>
                    </a:lnTo>
                    <a:lnTo>
                      <a:pt x="80" y="61"/>
                    </a:lnTo>
                    <a:lnTo>
                      <a:pt x="85" y="61"/>
                    </a:lnTo>
                    <a:lnTo>
                      <a:pt x="80" y="66"/>
                    </a:lnTo>
                    <a:lnTo>
                      <a:pt x="75" y="66"/>
                    </a:lnTo>
                    <a:lnTo>
                      <a:pt x="70" y="66"/>
                    </a:lnTo>
                    <a:lnTo>
                      <a:pt x="65" y="66"/>
                    </a:lnTo>
                    <a:lnTo>
                      <a:pt x="70" y="71"/>
                    </a:lnTo>
                    <a:lnTo>
                      <a:pt x="75" y="76"/>
                    </a:lnTo>
                    <a:lnTo>
                      <a:pt x="75" y="81"/>
                    </a:lnTo>
                    <a:lnTo>
                      <a:pt x="80" y="81"/>
                    </a:lnTo>
                    <a:lnTo>
                      <a:pt x="80" y="86"/>
                    </a:lnTo>
                    <a:lnTo>
                      <a:pt x="75" y="91"/>
                    </a:lnTo>
                    <a:lnTo>
                      <a:pt x="75" y="96"/>
                    </a:lnTo>
                    <a:lnTo>
                      <a:pt x="80" y="101"/>
                    </a:lnTo>
                    <a:lnTo>
                      <a:pt x="70" y="106"/>
                    </a:lnTo>
                    <a:lnTo>
                      <a:pt x="70" y="101"/>
                    </a:lnTo>
                    <a:lnTo>
                      <a:pt x="65" y="96"/>
                    </a:lnTo>
                    <a:lnTo>
                      <a:pt x="60" y="96"/>
                    </a:lnTo>
                    <a:lnTo>
                      <a:pt x="60" y="86"/>
                    </a:lnTo>
                    <a:lnTo>
                      <a:pt x="55" y="86"/>
                    </a:lnTo>
                    <a:lnTo>
                      <a:pt x="55" y="81"/>
                    </a:lnTo>
                    <a:lnTo>
                      <a:pt x="50" y="81"/>
                    </a:lnTo>
                    <a:lnTo>
                      <a:pt x="45" y="81"/>
                    </a:lnTo>
                    <a:lnTo>
                      <a:pt x="50" y="76"/>
                    </a:lnTo>
                    <a:lnTo>
                      <a:pt x="45" y="76"/>
                    </a:lnTo>
                    <a:lnTo>
                      <a:pt x="35" y="76"/>
                    </a:lnTo>
                    <a:lnTo>
                      <a:pt x="35" y="71"/>
                    </a:lnTo>
                    <a:lnTo>
                      <a:pt x="30" y="66"/>
                    </a:lnTo>
                    <a:lnTo>
                      <a:pt x="25" y="61"/>
                    </a:lnTo>
                    <a:lnTo>
                      <a:pt x="25" y="66"/>
                    </a:lnTo>
                    <a:lnTo>
                      <a:pt x="20" y="66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15" y="56"/>
                    </a:lnTo>
                    <a:lnTo>
                      <a:pt x="5" y="61"/>
                    </a:lnTo>
                    <a:lnTo>
                      <a:pt x="0" y="61"/>
                    </a:lnTo>
                    <a:lnTo>
                      <a:pt x="5" y="61"/>
                    </a:lnTo>
                    <a:lnTo>
                      <a:pt x="5" y="66"/>
                    </a:lnTo>
                    <a:lnTo>
                      <a:pt x="0" y="66"/>
                    </a:lnTo>
                    <a:lnTo>
                      <a:pt x="0" y="61"/>
                    </a:lnTo>
                    <a:lnTo>
                      <a:pt x="0" y="50"/>
                    </a:lnTo>
                    <a:lnTo>
                      <a:pt x="0" y="45"/>
                    </a:lnTo>
                    <a:lnTo>
                      <a:pt x="0" y="40"/>
                    </a:lnTo>
                    <a:lnTo>
                      <a:pt x="0" y="35"/>
                    </a:lnTo>
                    <a:lnTo>
                      <a:pt x="5" y="30"/>
                    </a:lnTo>
                    <a:lnTo>
                      <a:pt x="10" y="30"/>
                    </a:lnTo>
                    <a:lnTo>
                      <a:pt x="5" y="30"/>
                    </a:lnTo>
                    <a:lnTo>
                      <a:pt x="5" y="25"/>
                    </a:lnTo>
                    <a:lnTo>
                      <a:pt x="0" y="20"/>
                    </a:lnTo>
                    <a:lnTo>
                      <a:pt x="10" y="20"/>
                    </a:lnTo>
                    <a:lnTo>
                      <a:pt x="10" y="15"/>
                    </a:lnTo>
                    <a:lnTo>
                      <a:pt x="25" y="15"/>
                    </a:lnTo>
                    <a:lnTo>
                      <a:pt x="30" y="20"/>
                    </a:lnTo>
                    <a:lnTo>
                      <a:pt x="40" y="25"/>
                    </a:lnTo>
                    <a:lnTo>
                      <a:pt x="45" y="25"/>
                    </a:lnTo>
                    <a:lnTo>
                      <a:pt x="45" y="20"/>
                    </a:lnTo>
                    <a:lnTo>
                      <a:pt x="60" y="15"/>
                    </a:lnTo>
                    <a:lnTo>
                      <a:pt x="60" y="10"/>
                    </a:lnTo>
                    <a:lnTo>
                      <a:pt x="60" y="5"/>
                    </a:lnTo>
                    <a:lnTo>
                      <a:pt x="65" y="10"/>
                    </a:lnTo>
                    <a:lnTo>
                      <a:pt x="65" y="5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0"/>
                    </a:lnTo>
                    <a:lnTo>
                      <a:pt x="80" y="0"/>
                    </a:lnTo>
                    <a:lnTo>
                      <a:pt x="85" y="5"/>
                    </a:lnTo>
                    <a:lnTo>
                      <a:pt x="85" y="10"/>
                    </a:lnTo>
                    <a:lnTo>
                      <a:pt x="80" y="15"/>
                    </a:lnTo>
                    <a:lnTo>
                      <a:pt x="75" y="15"/>
                    </a:lnTo>
                    <a:lnTo>
                      <a:pt x="80" y="20"/>
                    </a:lnTo>
                    <a:lnTo>
                      <a:pt x="75" y="20"/>
                    </a:lnTo>
                    <a:lnTo>
                      <a:pt x="75" y="25"/>
                    </a:lnTo>
                    <a:lnTo>
                      <a:pt x="80" y="25"/>
                    </a:lnTo>
                    <a:close/>
                  </a:path>
                </a:pathLst>
              </a:custGeom>
              <a:solidFill>
                <a:srgbClr val="84BB5B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661">
                <a:extLst>
                  <a:ext uri="{FF2B5EF4-FFF2-40B4-BE49-F238E27FC236}">
                    <a16:creationId xmlns:a16="http://schemas.microsoft.com/office/drawing/2014/main" id="{57F7F763-C7CA-0535-0A9E-236217077308}"/>
                  </a:ext>
                </a:extLst>
              </p:cNvPr>
              <p:cNvSpPr>
                <a:spLocks/>
              </p:cNvSpPr>
              <p:nvPr/>
            </p:nvSpPr>
            <p:spPr bwMode="auto">
              <a:xfrm rot="694472">
                <a:off x="3783269" y="4753125"/>
                <a:ext cx="180598" cy="165355"/>
              </a:xfrm>
              <a:custGeom>
                <a:avLst/>
                <a:gdLst>
                  <a:gd name="T0" fmla="*/ 2147483647 w 116"/>
                  <a:gd name="T1" fmla="*/ 2147483647 h 111"/>
                  <a:gd name="T2" fmla="*/ 2147483647 w 116"/>
                  <a:gd name="T3" fmla="*/ 2147483647 h 111"/>
                  <a:gd name="T4" fmla="*/ 2147483647 w 116"/>
                  <a:gd name="T5" fmla="*/ 2147483647 h 111"/>
                  <a:gd name="T6" fmla="*/ 2147483647 w 116"/>
                  <a:gd name="T7" fmla="*/ 2147483647 h 111"/>
                  <a:gd name="T8" fmla="*/ 2147483647 w 116"/>
                  <a:gd name="T9" fmla="*/ 2147483647 h 111"/>
                  <a:gd name="T10" fmla="*/ 2147483647 w 116"/>
                  <a:gd name="T11" fmla="*/ 2147483647 h 111"/>
                  <a:gd name="T12" fmla="*/ 2147483647 w 116"/>
                  <a:gd name="T13" fmla="*/ 2147483647 h 111"/>
                  <a:gd name="T14" fmla="*/ 2147483647 w 116"/>
                  <a:gd name="T15" fmla="*/ 2147483647 h 111"/>
                  <a:gd name="T16" fmla="*/ 2147483647 w 116"/>
                  <a:gd name="T17" fmla="*/ 2147483647 h 111"/>
                  <a:gd name="T18" fmla="*/ 2147483647 w 116"/>
                  <a:gd name="T19" fmla="*/ 2147483647 h 111"/>
                  <a:gd name="T20" fmla="*/ 2147483647 w 116"/>
                  <a:gd name="T21" fmla="*/ 2147483647 h 111"/>
                  <a:gd name="T22" fmla="*/ 2147483647 w 116"/>
                  <a:gd name="T23" fmla="*/ 2147483647 h 111"/>
                  <a:gd name="T24" fmla="*/ 2147483647 w 116"/>
                  <a:gd name="T25" fmla="*/ 2147483647 h 111"/>
                  <a:gd name="T26" fmla="*/ 2147483647 w 116"/>
                  <a:gd name="T27" fmla="*/ 2147483647 h 111"/>
                  <a:gd name="T28" fmla="*/ 2147483647 w 116"/>
                  <a:gd name="T29" fmla="*/ 2147483647 h 111"/>
                  <a:gd name="T30" fmla="*/ 2147483647 w 116"/>
                  <a:gd name="T31" fmla="*/ 2147483647 h 111"/>
                  <a:gd name="T32" fmla="*/ 2147483647 w 116"/>
                  <a:gd name="T33" fmla="*/ 2147483647 h 111"/>
                  <a:gd name="T34" fmla="*/ 2147483647 w 116"/>
                  <a:gd name="T35" fmla="*/ 2147483647 h 111"/>
                  <a:gd name="T36" fmla="*/ 2147483647 w 116"/>
                  <a:gd name="T37" fmla="*/ 2147483647 h 111"/>
                  <a:gd name="T38" fmla="*/ 2147483647 w 116"/>
                  <a:gd name="T39" fmla="*/ 2147483647 h 111"/>
                  <a:gd name="T40" fmla="*/ 2147483647 w 116"/>
                  <a:gd name="T41" fmla="*/ 2147483647 h 111"/>
                  <a:gd name="T42" fmla="*/ 2147483647 w 116"/>
                  <a:gd name="T43" fmla="*/ 2147483647 h 111"/>
                  <a:gd name="T44" fmla="*/ 2147483647 w 116"/>
                  <a:gd name="T45" fmla="*/ 2147483647 h 111"/>
                  <a:gd name="T46" fmla="*/ 2147483647 w 116"/>
                  <a:gd name="T47" fmla="*/ 2147483647 h 111"/>
                  <a:gd name="T48" fmla="*/ 2147483647 w 116"/>
                  <a:gd name="T49" fmla="*/ 2147483647 h 111"/>
                  <a:gd name="T50" fmla="*/ 2147483647 w 116"/>
                  <a:gd name="T51" fmla="*/ 2147483647 h 111"/>
                  <a:gd name="T52" fmla="*/ 2147483647 w 116"/>
                  <a:gd name="T53" fmla="*/ 0 h 111"/>
                  <a:gd name="T54" fmla="*/ 2147483647 w 116"/>
                  <a:gd name="T55" fmla="*/ 2147483647 h 111"/>
                  <a:gd name="T56" fmla="*/ 2147483647 w 116"/>
                  <a:gd name="T57" fmla="*/ 2147483647 h 111"/>
                  <a:gd name="T58" fmla="*/ 2147483647 w 116"/>
                  <a:gd name="T59" fmla="*/ 2147483647 h 111"/>
                  <a:gd name="T60" fmla="*/ 2147483647 w 116"/>
                  <a:gd name="T61" fmla="*/ 2147483647 h 111"/>
                  <a:gd name="T62" fmla="*/ 2147483647 w 116"/>
                  <a:gd name="T63" fmla="*/ 2147483647 h 111"/>
                  <a:gd name="T64" fmla="*/ 2147483647 w 116"/>
                  <a:gd name="T65" fmla="*/ 2147483647 h 111"/>
                  <a:gd name="T66" fmla="*/ 2147483647 w 116"/>
                  <a:gd name="T67" fmla="*/ 2147483647 h 111"/>
                  <a:gd name="T68" fmla="*/ 2147483647 w 116"/>
                  <a:gd name="T69" fmla="*/ 2147483647 h 111"/>
                  <a:gd name="T70" fmla="*/ 2147483647 w 116"/>
                  <a:gd name="T71" fmla="*/ 2147483647 h 111"/>
                  <a:gd name="T72" fmla="*/ 2147483647 w 116"/>
                  <a:gd name="T73" fmla="*/ 2147483647 h 111"/>
                  <a:gd name="T74" fmla="*/ 2147483647 w 116"/>
                  <a:gd name="T75" fmla="*/ 2147483647 h 111"/>
                  <a:gd name="T76" fmla="*/ 2147483647 w 116"/>
                  <a:gd name="T77" fmla="*/ 2147483647 h 111"/>
                  <a:gd name="T78" fmla="*/ 2147483647 w 116"/>
                  <a:gd name="T79" fmla="*/ 2147483647 h 111"/>
                  <a:gd name="T80" fmla="*/ 2147483647 w 116"/>
                  <a:gd name="T81" fmla="*/ 2147483647 h 111"/>
                  <a:gd name="T82" fmla="*/ 2147483647 w 116"/>
                  <a:gd name="T83" fmla="*/ 2147483647 h 111"/>
                  <a:gd name="T84" fmla="*/ 2147483647 w 116"/>
                  <a:gd name="T85" fmla="*/ 2147483647 h 111"/>
                  <a:gd name="T86" fmla="*/ 2147483647 w 116"/>
                  <a:gd name="T87" fmla="*/ 2147483647 h 111"/>
                  <a:gd name="T88" fmla="*/ 2147483647 w 116"/>
                  <a:gd name="T89" fmla="*/ 2147483647 h 111"/>
                  <a:gd name="T90" fmla="*/ 2147483647 w 116"/>
                  <a:gd name="T91" fmla="*/ 2147483647 h 11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16"/>
                  <a:gd name="T139" fmla="*/ 0 h 111"/>
                  <a:gd name="T140" fmla="*/ 116 w 116"/>
                  <a:gd name="T141" fmla="*/ 111 h 111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16" h="111">
                    <a:moveTo>
                      <a:pt x="86" y="111"/>
                    </a:moveTo>
                    <a:lnTo>
                      <a:pt x="81" y="111"/>
                    </a:lnTo>
                    <a:lnTo>
                      <a:pt x="81" y="106"/>
                    </a:lnTo>
                    <a:lnTo>
                      <a:pt x="76" y="106"/>
                    </a:lnTo>
                    <a:lnTo>
                      <a:pt x="70" y="106"/>
                    </a:lnTo>
                    <a:lnTo>
                      <a:pt x="65" y="106"/>
                    </a:lnTo>
                    <a:lnTo>
                      <a:pt x="60" y="106"/>
                    </a:lnTo>
                    <a:lnTo>
                      <a:pt x="60" y="101"/>
                    </a:lnTo>
                    <a:lnTo>
                      <a:pt x="60" y="96"/>
                    </a:lnTo>
                    <a:lnTo>
                      <a:pt x="55" y="96"/>
                    </a:lnTo>
                    <a:lnTo>
                      <a:pt x="55" y="91"/>
                    </a:lnTo>
                    <a:lnTo>
                      <a:pt x="50" y="91"/>
                    </a:lnTo>
                    <a:lnTo>
                      <a:pt x="45" y="96"/>
                    </a:lnTo>
                    <a:lnTo>
                      <a:pt x="40" y="96"/>
                    </a:lnTo>
                    <a:lnTo>
                      <a:pt x="35" y="96"/>
                    </a:lnTo>
                    <a:lnTo>
                      <a:pt x="30" y="96"/>
                    </a:lnTo>
                    <a:lnTo>
                      <a:pt x="25" y="96"/>
                    </a:lnTo>
                    <a:lnTo>
                      <a:pt x="20" y="91"/>
                    </a:lnTo>
                    <a:lnTo>
                      <a:pt x="15" y="91"/>
                    </a:lnTo>
                    <a:lnTo>
                      <a:pt x="10" y="91"/>
                    </a:lnTo>
                    <a:lnTo>
                      <a:pt x="10" y="86"/>
                    </a:lnTo>
                    <a:lnTo>
                      <a:pt x="5" y="86"/>
                    </a:lnTo>
                    <a:lnTo>
                      <a:pt x="0" y="81"/>
                    </a:lnTo>
                    <a:lnTo>
                      <a:pt x="5" y="81"/>
                    </a:lnTo>
                    <a:lnTo>
                      <a:pt x="10" y="86"/>
                    </a:lnTo>
                    <a:lnTo>
                      <a:pt x="10" y="81"/>
                    </a:lnTo>
                    <a:lnTo>
                      <a:pt x="15" y="81"/>
                    </a:lnTo>
                    <a:lnTo>
                      <a:pt x="10" y="81"/>
                    </a:lnTo>
                    <a:lnTo>
                      <a:pt x="10" y="76"/>
                    </a:lnTo>
                    <a:lnTo>
                      <a:pt x="10" y="71"/>
                    </a:lnTo>
                    <a:lnTo>
                      <a:pt x="10" y="76"/>
                    </a:lnTo>
                    <a:lnTo>
                      <a:pt x="15" y="76"/>
                    </a:lnTo>
                    <a:lnTo>
                      <a:pt x="15" y="71"/>
                    </a:lnTo>
                    <a:lnTo>
                      <a:pt x="15" y="66"/>
                    </a:lnTo>
                    <a:lnTo>
                      <a:pt x="20" y="66"/>
                    </a:lnTo>
                    <a:lnTo>
                      <a:pt x="25" y="66"/>
                    </a:lnTo>
                    <a:lnTo>
                      <a:pt x="25" y="71"/>
                    </a:lnTo>
                    <a:lnTo>
                      <a:pt x="25" y="66"/>
                    </a:lnTo>
                    <a:lnTo>
                      <a:pt x="30" y="61"/>
                    </a:lnTo>
                    <a:lnTo>
                      <a:pt x="25" y="61"/>
                    </a:lnTo>
                    <a:lnTo>
                      <a:pt x="20" y="61"/>
                    </a:lnTo>
                    <a:lnTo>
                      <a:pt x="25" y="56"/>
                    </a:lnTo>
                    <a:lnTo>
                      <a:pt x="25" y="51"/>
                    </a:lnTo>
                    <a:lnTo>
                      <a:pt x="20" y="36"/>
                    </a:lnTo>
                    <a:lnTo>
                      <a:pt x="15" y="31"/>
                    </a:lnTo>
                    <a:lnTo>
                      <a:pt x="15" y="26"/>
                    </a:lnTo>
                    <a:lnTo>
                      <a:pt x="10" y="20"/>
                    </a:lnTo>
                    <a:lnTo>
                      <a:pt x="10" y="15"/>
                    </a:lnTo>
                    <a:lnTo>
                      <a:pt x="15" y="15"/>
                    </a:lnTo>
                    <a:lnTo>
                      <a:pt x="15" y="10"/>
                    </a:lnTo>
                    <a:lnTo>
                      <a:pt x="10" y="5"/>
                    </a:lnTo>
                    <a:lnTo>
                      <a:pt x="15" y="5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15" y="5"/>
                    </a:lnTo>
                    <a:lnTo>
                      <a:pt x="20" y="10"/>
                    </a:lnTo>
                    <a:lnTo>
                      <a:pt x="25" y="10"/>
                    </a:lnTo>
                    <a:lnTo>
                      <a:pt x="30" y="10"/>
                    </a:lnTo>
                    <a:lnTo>
                      <a:pt x="40" y="10"/>
                    </a:lnTo>
                    <a:lnTo>
                      <a:pt x="40" y="15"/>
                    </a:lnTo>
                    <a:lnTo>
                      <a:pt x="30" y="26"/>
                    </a:lnTo>
                    <a:lnTo>
                      <a:pt x="35" y="36"/>
                    </a:lnTo>
                    <a:lnTo>
                      <a:pt x="40" y="31"/>
                    </a:lnTo>
                    <a:lnTo>
                      <a:pt x="45" y="31"/>
                    </a:lnTo>
                    <a:lnTo>
                      <a:pt x="45" y="26"/>
                    </a:lnTo>
                    <a:lnTo>
                      <a:pt x="50" y="26"/>
                    </a:lnTo>
                    <a:lnTo>
                      <a:pt x="50" y="31"/>
                    </a:lnTo>
                    <a:lnTo>
                      <a:pt x="55" y="26"/>
                    </a:lnTo>
                    <a:lnTo>
                      <a:pt x="60" y="26"/>
                    </a:lnTo>
                    <a:lnTo>
                      <a:pt x="65" y="26"/>
                    </a:lnTo>
                    <a:lnTo>
                      <a:pt x="65" y="31"/>
                    </a:lnTo>
                    <a:lnTo>
                      <a:pt x="65" y="36"/>
                    </a:lnTo>
                    <a:lnTo>
                      <a:pt x="65" y="41"/>
                    </a:lnTo>
                    <a:lnTo>
                      <a:pt x="60" y="46"/>
                    </a:lnTo>
                    <a:lnTo>
                      <a:pt x="60" y="51"/>
                    </a:lnTo>
                    <a:lnTo>
                      <a:pt x="65" y="56"/>
                    </a:lnTo>
                    <a:lnTo>
                      <a:pt x="70" y="56"/>
                    </a:lnTo>
                    <a:lnTo>
                      <a:pt x="76" y="51"/>
                    </a:lnTo>
                    <a:lnTo>
                      <a:pt x="81" y="56"/>
                    </a:lnTo>
                    <a:lnTo>
                      <a:pt x="86" y="56"/>
                    </a:lnTo>
                    <a:lnTo>
                      <a:pt x="91" y="66"/>
                    </a:lnTo>
                    <a:lnTo>
                      <a:pt x="91" y="71"/>
                    </a:lnTo>
                    <a:lnTo>
                      <a:pt x="96" y="71"/>
                    </a:lnTo>
                    <a:lnTo>
                      <a:pt x="101" y="71"/>
                    </a:lnTo>
                    <a:lnTo>
                      <a:pt x="96" y="76"/>
                    </a:lnTo>
                    <a:lnTo>
                      <a:pt x="106" y="81"/>
                    </a:lnTo>
                    <a:lnTo>
                      <a:pt x="116" y="91"/>
                    </a:lnTo>
                    <a:lnTo>
                      <a:pt x="106" y="91"/>
                    </a:lnTo>
                    <a:lnTo>
                      <a:pt x="101" y="96"/>
                    </a:lnTo>
                    <a:lnTo>
                      <a:pt x="91" y="101"/>
                    </a:lnTo>
                    <a:lnTo>
                      <a:pt x="91" y="106"/>
                    </a:lnTo>
                    <a:lnTo>
                      <a:pt x="86" y="11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Полилиния 131">
                <a:extLst>
                  <a:ext uri="{FF2B5EF4-FFF2-40B4-BE49-F238E27FC236}">
                    <a16:creationId xmlns:a16="http://schemas.microsoft.com/office/drawing/2014/main" id="{4D5922BF-05C0-E3AD-1168-5EB6C10B473D}"/>
                  </a:ext>
                </a:extLst>
              </p:cNvPr>
              <p:cNvSpPr/>
              <p:nvPr/>
            </p:nvSpPr>
            <p:spPr bwMode="gray">
              <a:xfrm rot="694472">
                <a:off x="4915253" y="2944336"/>
                <a:ext cx="493650" cy="346119"/>
              </a:xfrm>
              <a:custGeom>
                <a:avLst/>
                <a:gdLst>
                  <a:gd name="connsiteX0" fmla="*/ 182 w 804854"/>
                  <a:gd name="connsiteY0" fmla="*/ 329184 h 534009"/>
                  <a:gd name="connsiteX1" fmla="*/ 36758 w 804854"/>
                  <a:gd name="connsiteY1" fmla="*/ 299923 h 534009"/>
                  <a:gd name="connsiteX2" fmla="*/ 44074 w 804854"/>
                  <a:gd name="connsiteY2" fmla="*/ 263347 h 534009"/>
                  <a:gd name="connsiteX3" fmla="*/ 58704 w 804854"/>
                  <a:gd name="connsiteY3" fmla="*/ 219456 h 534009"/>
                  <a:gd name="connsiteX4" fmla="*/ 73334 w 804854"/>
                  <a:gd name="connsiteY4" fmla="*/ 160934 h 534009"/>
                  <a:gd name="connsiteX5" fmla="*/ 80650 w 804854"/>
                  <a:gd name="connsiteY5" fmla="*/ 138989 h 534009"/>
                  <a:gd name="connsiteX6" fmla="*/ 95280 w 804854"/>
                  <a:gd name="connsiteY6" fmla="*/ 117043 h 534009"/>
                  <a:gd name="connsiteX7" fmla="*/ 117226 w 804854"/>
                  <a:gd name="connsiteY7" fmla="*/ 109728 h 534009"/>
                  <a:gd name="connsiteX8" fmla="*/ 219638 w 804854"/>
                  <a:gd name="connsiteY8" fmla="*/ 117043 h 534009"/>
                  <a:gd name="connsiteX9" fmla="*/ 263530 w 804854"/>
                  <a:gd name="connsiteY9" fmla="*/ 131673 h 534009"/>
                  <a:gd name="connsiteX10" fmla="*/ 424464 w 804854"/>
                  <a:gd name="connsiteY10" fmla="*/ 124358 h 534009"/>
                  <a:gd name="connsiteX11" fmla="*/ 446410 w 804854"/>
                  <a:gd name="connsiteY11" fmla="*/ 109728 h 534009"/>
                  <a:gd name="connsiteX12" fmla="*/ 475670 w 804854"/>
                  <a:gd name="connsiteY12" fmla="*/ 73152 h 534009"/>
                  <a:gd name="connsiteX13" fmla="*/ 482986 w 804854"/>
                  <a:gd name="connsiteY13" fmla="*/ 51206 h 534009"/>
                  <a:gd name="connsiteX14" fmla="*/ 512246 w 804854"/>
                  <a:gd name="connsiteY14" fmla="*/ 14630 h 534009"/>
                  <a:gd name="connsiteX15" fmla="*/ 534192 w 804854"/>
                  <a:gd name="connsiteY15" fmla="*/ 7315 h 534009"/>
                  <a:gd name="connsiteX16" fmla="*/ 556138 w 804854"/>
                  <a:gd name="connsiteY16" fmla="*/ 14630 h 534009"/>
                  <a:gd name="connsiteX17" fmla="*/ 651235 w 804854"/>
                  <a:gd name="connsiteY17" fmla="*/ 0 h 534009"/>
                  <a:gd name="connsiteX18" fmla="*/ 680496 w 804854"/>
                  <a:gd name="connsiteY18" fmla="*/ 58521 h 534009"/>
                  <a:gd name="connsiteX19" fmla="*/ 724387 w 804854"/>
                  <a:gd name="connsiteY19" fmla="*/ 73152 h 534009"/>
                  <a:gd name="connsiteX20" fmla="*/ 731702 w 804854"/>
                  <a:gd name="connsiteY20" fmla="*/ 131673 h 534009"/>
                  <a:gd name="connsiteX21" fmla="*/ 782909 w 804854"/>
                  <a:gd name="connsiteY21" fmla="*/ 138989 h 534009"/>
                  <a:gd name="connsiteX22" fmla="*/ 797539 w 804854"/>
                  <a:gd name="connsiteY22" fmla="*/ 182880 h 534009"/>
                  <a:gd name="connsiteX23" fmla="*/ 790224 w 804854"/>
                  <a:gd name="connsiteY23" fmla="*/ 241401 h 534009"/>
                  <a:gd name="connsiteX24" fmla="*/ 782909 w 804854"/>
                  <a:gd name="connsiteY24" fmla="*/ 263347 h 534009"/>
                  <a:gd name="connsiteX25" fmla="*/ 790224 w 804854"/>
                  <a:gd name="connsiteY25" fmla="*/ 395021 h 534009"/>
                  <a:gd name="connsiteX26" fmla="*/ 804854 w 804854"/>
                  <a:gd name="connsiteY26" fmla="*/ 438912 h 534009"/>
                  <a:gd name="connsiteX27" fmla="*/ 782909 w 804854"/>
                  <a:gd name="connsiteY27" fmla="*/ 453542 h 534009"/>
                  <a:gd name="connsiteX28" fmla="*/ 731702 w 804854"/>
                  <a:gd name="connsiteY28" fmla="*/ 460857 h 534009"/>
                  <a:gd name="connsiteX29" fmla="*/ 709757 w 804854"/>
                  <a:gd name="connsiteY29" fmla="*/ 468173 h 534009"/>
                  <a:gd name="connsiteX30" fmla="*/ 695126 w 804854"/>
                  <a:gd name="connsiteY30" fmla="*/ 482803 h 534009"/>
                  <a:gd name="connsiteX31" fmla="*/ 643920 w 804854"/>
                  <a:gd name="connsiteY31" fmla="*/ 497433 h 534009"/>
                  <a:gd name="connsiteX32" fmla="*/ 621974 w 804854"/>
                  <a:gd name="connsiteY32" fmla="*/ 504749 h 534009"/>
                  <a:gd name="connsiteX33" fmla="*/ 592714 w 804854"/>
                  <a:gd name="connsiteY33" fmla="*/ 512064 h 534009"/>
                  <a:gd name="connsiteX34" fmla="*/ 548822 w 804854"/>
                  <a:gd name="connsiteY34" fmla="*/ 526694 h 534009"/>
                  <a:gd name="connsiteX35" fmla="*/ 526877 w 804854"/>
                  <a:gd name="connsiteY35" fmla="*/ 534009 h 534009"/>
                  <a:gd name="connsiteX36" fmla="*/ 482986 w 804854"/>
                  <a:gd name="connsiteY36" fmla="*/ 526694 h 534009"/>
                  <a:gd name="connsiteX37" fmla="*/ 461040 w 804854"/>
                  <a:gd name="connsiteY37" fmla="*/ 490118 h 534009"/>
                  <a:gd name="connsiteX38" fmla="*/ 329366 w 804854"/>
                  <a:gd name="connsiteY38" fmla="*/ 482803 h 534009"/>
                  <a:gd name="connsiteX39" fmla="*/ 314736 w 804854"/>
                  <a:gd name="connsiteY39" fmla="*/ 453542 h 534009"/>
                  <a:gd name="connsiteX40" fmla="*/ 263530 w 804854"/>
                  <a:gd name="connsiteY40" fmla="*/ 446227 h 534009"/>
                  <a:gd name="connsiteX41" fmla="*/ 241584 w 804854"/>
                  <a:gd name="connsiteY41" fmla="*/ 438912 h 534009"/>
                  <a:gd name="connsiteX42" fmla="*/ 219638 w 804854"/>
                  <a:gd name="connsiteY42" fmla="*/ 424281 h 534009"/>
                  <a:gd name="connsiteX43" fmla="*/ 139171 w 804854"/>
                  <a:gd name="connsiteY43" fmla="*/ 409651 h 534009"/>
                  <a:gd name="connsiteX44" fmla="*/ 124541 w 804854"/>
                  <a:gd name="connsiteY44" fmla="*/ 387705 h 534009"/>
                  <a:gd name="connsiteX45" fmla="*/ 102595 w 804854"/>
                  <a:gd name="connsiteY45" fmla="*/ 351129 h 534009"/>
                  <a:gd name="connsiteX46" fmla="*/ 44074 w 804854"/>
                  <a:gd name="connsiteY46" fmla="*/ 336499 h 534009"/>
                  <a:gd name="connsiteX47" fmla="*/ 22128 w 804854"/>
                  <a:gd name="connsiteY47" fmla="*/ 321869 h 534009"/>
                  <a:gd name="connsiteX48" fmla="*/ 182 w 804854"/>
                  <a:gd name="connsiteY48" fmla="*/ 329184 h 534009"/>
                  <a:gd name="connsiteX0" fmla="*/ 182 w 804854"/>
                  <a:gd name="connsiteY0" fmla="*/ 347120 h 551945"/>
                  <a:gd name="connsiteX1" fmla="*/ 36758 w 804854"/>
                  <a:gd name="connsiteY1" fmla="*/ 317859 h 551945"/>
                  <a:gd name="connsiteX2" fmla="*/ 44074 w 804854"/>
                  <a:gd name="connsiteY2" fmla="*/ 281283 h 551945"/>
                  <a:gd name="connsiteX3" fmla="*/ 58704 w 804854"/>
                  <a:gd name="connsiteY3" fmla="*/ 237392 h 551945"/>
                  <a:gd name="connsiteX4" fmla="*/ 73334 w 804854"/>
                  <a:gd name="connsiteY4" fmla="*/ 178870 h 551945"/>
                  <a:gd name="connsiteX5" fmla="*/ 80650 w 804854"/>
                  <a:gd name="connsiteY5" fmla="*/ 156925 h 551945"/>
                  <a:gd name="connsiteX6" fmla="*/ 95280 w 804854"/>
                  <a:gd name="connsiteY6" fmla="*/ 134979 h 551945"/>
                  <a:gd name="connsiteX7" fmla="*/ 117226 w 804854"/>
                  <a:gd name="connsiteY7" fmla="*/ 127664 h 551945"/>
                  <a:gd name="connsiteX8" fmla="*/ 219638 w 804854"/>
                  <a:gd name="connsiteY8" fmla="*/ 134979 h 551945"/>
                  <a:gd name="connsiteX9" fmla="*/ 263530 w 804854"/>
                  <a:gd name="connsiteY9" fmla="*/ 149609 h 551945"/>
                  <a:gd name="connsiteX10" fmla="*/ 424464 w 804854"/>
                  <a:gd name="connsiteY10" fmla="*/ 142294 h 551945"/>
                  <a:gd name="connsiteX11" fmla="*/ 446410 w 804854"/>
                  <a:gd name="connsiteY11" fmla="*/ 127664 h 551945"/>
                  <a:gd name="connsiteX12" fmla="*/ 475670 w 804854"/>
                  <a:gd name="connsiteY12" fmla="*/ 91088 h 551945"/>
                  <a:gd name="connsiteX13" fmla="*/ 482986 w 804854"/>
                  <a:gd name="connsiteY13" fmla="*/ 69142 h 551945"/>
                  <a:gd name="connsiteX14" fmla="*/ 512246 w 804854"/>
                  <a:gd name="connsiteY14" fmla="*/ 32566 h 551945"/>
                  <a:gd name="connsiteX15" fmla="*/ 534192 w 804854"/>
                  <a:gd name="connsiteY15" fmla="*/ 25251 h 551945"/>
                  <a:gd name="connsiteX16" fmla="*/ 556138 w 804854"/>
                  <a:gd name="connsiteY16" fmla="*/ 32566 h 551945"/>
                  <a:gd name="connsiteX17" fmla="*/ 632282 w 804854"/>
                  <a:gd name="connsiteY17" fmla="*/ 313 h 551945"/>
                  <a:gd name="connsiteX18" fmla="*/ 651235 w 804854"/>
                  <a:gd name="connsiteY18" fmla="*/ 17936 h 551945"/>
                  <a:gd name="connsiteX19" fmla="*/ 680496 w 804854"/>
                  <a:gd name="connsiteY19" fmla="*/ 76457 h 551945"/>
                  <a:gd name="connsiteX20" fmla="*/ 724387 w 804854"/>
                  <a:gd name="connsiteY20" fmla="*/ 91088 h 551945"/>
                  <a:gd name="connsiteX21" fmla="*/ 731702 w 804854"/>
                  <a:gd name="connsiteY21" fmla="*/ 149609 h 551945"/>
                  <a:gd name="connsiteX22" fmla="*/ 782909 w 804854"/>
                  <a:gd name="connsiteY22" fmla="*/ 156925 h 551945"/>
                  <a:gd name="connsiteX23" fmla="*/ 797539 w 804854"/>
                  <a:gd name="connsiteY23" fmla="*/ 200816 h 551945"/>
                  <a:gd name="connsiteX24" fmla="*/ 790224 w 804854"/>
                  <a:gd name="connsiteY24" fmla="*/ 259337 h 551945"/>
                  <a:gd name="connsiteX25" fmla="*/ 782909 w 804854"/>
                  <a:gd name="connsiteY25" fmla="*/ 281283 h 551945"/>
                  <a:gd name="connsiteX26" fmla="*/ 790224 w 804854"/>
                  <a:gd name="connsiteY26" fmla="*/ 412957 h 551945"/>
                  <a:gd name="connsiteX27" fmla="*/ 804854 w 804854"/>
                  <a:gd name="connsiteY27" fmla="*/ 456848 h 551945"/>
                  <a:gd name="connsiteX28" fmla="*/ 782909 w 804854"/>
                  <a:gd name="connsiteY28" fmla="*/ 471478 h 551945"/>
                  <a:gd name="connsiteX29" fmla="*/ 731702 w 804854"/>
                  <a:gd name="connsiteY29" fmla="*/ 478793 h 551945"/>
                  <a:gd name="connsiteX30" fmla="*/ 709757 w 804854"/>
                  <a:gd name="connsiteY30" fmla="*/ 486109 h 551945"/>
                  <a:gd name="connsiteX31" fmla="*/ 695126 w 804854"/>
                  <a:gd name="connsiteY31" fmla="*/ 500739 h 551945"/>
                  <a:gd name="connsiteX32" fmla="*/ 643920 w 804854"/>
                  <a:gd name="connsiteY32" fmla="*/ 515369 h 551945"/>
                  <a:gd name="connsiteX33" fmla="*/ 621974 w 804854"/>
                  <a:gd name="connsiteY33" fmla="*/ 522685 h 551945"/>
                  <a:gd name="connsiteX34" fmla="*/ 592714 w 804854"/>
                  <a:gd name="connsiteY34" fmla="*/ 530000 h 551945"/>
                  <a:gd name="connsiteX35" fmla="*/ 548822 w 804854"/>
                  <a:gd name="connsiteY35" fmla="*/ 544630 h 551945"/>
                  <a:gd name="connsiteX36" fmla="*/ 526877 w 804854"/>
                  <a:gd name="connsiteY36" fmla="*/ 551945 h 551945"/>
                  <a:gd name="connsiteX37" fmla="*/ 482986 w 804854"/>
                  <a:gd name="connsiteY37" fmla="*/ 544630 h 551945"/>
                  <a:gd name="connsiteX38" fmla="*/ 461040 w 804854"/>
                  <a:gd name="connsiteY38" fmla="*/ 508054 h 551945"/>
                  <a:gd name="connsiteX39" fmla="*/ 329366 w 804854"/>
                  <a:gd name="connsiteY39" fmla="*/ 500739 h 551945"/>
                  <a:gd name="connsiteX40" fmla="*/ 314736 w 804854"/>
                  <a:gd name="connsiteY40" fmla="*/ 471478 h 551945"/>
                  <a:gd name="connsiteX41" fmla="*/ 263530 w 804854"/>
                  <a:gd name="connsiteY41" fmla="*/ 464163 h 551945"/>
                  <a:gd name="connsiteX42" fmla="*/ 241584 w 804854"/>
                  <a:gd name="connsiteY42" fmla="*/ 456848 h 551945"/>
                  <a:gd name="connsiteX43" fmla="*/ 219638 w 804854"/>
                  <a:gd name="connsiteY43" fmla="*/ 442217 h 551945"/>
                  <a:gd name="connsiteX44" fmla="*/ 139171 w 804854"/>
                  <a:gd name="connsiteY44" fmla="*/ 427587 h 551945"/>
                  <a:gd name="connsiteX45" fmla="*/ 124541 w 804854"/>
                  <a:gd name="connsiteY45" fmla="*/ 405641 h 551945"/>
                  <a:gd name="connsiteX46" fmla="*/ 102595 w 804854"/>
                  <a:gd name="connsiteY46" fmla="*/ 369065 h 551945"/>
                  <a:gd name="connsiteX47" fmla="*/ 44074 w 804854"/>
                  <a:gd name="connsiteY47" fmla="*/ 354435 h 551945"/>
                  <a:gd name="connsiteX48" fmla="*/ 22128 w 804854"/>
                  <a:gd name="connsiteY48" fmla="*/ 339805 h 551945"/>
                  <a:gd name="connsiteX49" fmla="*/ 182 w 804854"/>
                  <a:gd name="connsiteY49" fmla="*/ 347120 h 551945"/>
                  <a:gd name="connsiteX0" fmla="*/ 182 w 804854"/>
                  <a:gd name="connsiteY0" fmla="*/ 347120 h 569758"/>
                  <a:gd name="connsiteX1" fmla="*/ 36758 w 804854"/>
                  <a:gd name="connsiteY1" fmla="*/ 317859 h 569758"/>
                  <a:gd name="connsiteX2" fmla="*/ 44074 w 804854"/>
                  <a:gd name="connsiteY2" fmla="*/ 281283 h 569758"/>
                  <a:gd name="connsiteX3" fmla="*/ 58704 w 804854"/>
                  <a:gd name="connsiteY3" fmla="*/ 237392 h 569758"/>
                  <a:gd name="connsiteX4" fmla="*/ 73334 w 804854"/>
                  <a:gd name="connsiteY4" fmla="*/ 178870 h 569758"/>
                  <a:gd name="connsiteX5" fmla="*/ 80650 w 804854"/>
                  <a:gd name="connsiteY5" fmla="*/ 156925 h 569758"/>
                  <a:gd name="connsiteX6" fmla="*/ 95280 w 804854"/>
                  <a:gd name="connsiteY6" fmla="*/ 134979 h 569758"/>
                  <a:gd name="connsiteX7" fmla="*/ 117226 w 804854"/>
                  <a:gd name="connsiteY7" fmla="*/ 127664 h 569758"/>
                  <a:gd name="connsiteX8" fmla="*/ 219638 w 804854"/>
                  <a:gd name="connsiteY8" fmla="*/ 134979 h 569758"/>
                  <a:gd name="connsiteX9" fmla="*/ 263530 w 804854"/>
                  <a:gd name="connsiteY9" fmla="*/ 149609 h 569758"/>
                  <a:gd name="connsiteX10" fmla="*/ 424464 w 804854"/>
                  <a:gd name="connsiteY10" fmla="*/ 142294 h 569758"/>
                  <a:gd name="connsiteX11" fmla="*/ 446410 w 804854"/>
                  <a:gd name="connsiteY11" fmla="*/ 127664 h 569758"/>
                  <a:gd name="connsiteX12" fmla="*/ 475670 w 804854"/>
                  <a:gd name="connsiteY12" fmla="*/ 91088 h 569758"/>
                  <a:gd name="connsiteX13" fmla="*/ 482986 w 804854"/>
                  <a:gd name="connsiteY13" fmla="*/ 69142 h 569758"/>
                  <a:gd name="connsiteX14" fmla="*/ 512246 w 804854"/>
                  <a:gd name="connsiteY14" fmla="*/ 32566 h 569758"/>
                  <a:gd name="connsiteX15" fmla="*/ 534192 w 804854"/>
                  <a:gd name="connsiteY15" fmla="*/ 25251 h 569758"/>
                  <a:gd name="connsiteX16" fmla="*/ 556138 w 804854"/>
                  <a:gd name="connsiteY16" fmla="*/ 32566 h 569758"/>
                  <a:gd name="connsiteX17" fmla="*/ 632282 w 804854"/>
                  <a:gd name="connsiteY17" fmla="*/ 313 h 569758"/>
                  <a:gd name="connsiteX18" fmla="*/ 651235 w 804854"/>
                  <a:gd name="connsiteY18" fmla="*/ 17936 h 569758"/>
                  <a:gd name="connsiteX19" fmla="*/ 680496 w 804854"/>
                  <a:gd name="connsiteY19" fmla="*/ 76457 h 569758"/>
                  <a:gd name="connsiteX20" fmla="*/ 724387 w 804854"/>
                  <a:gd name="connsiteY20" fmla="*/ 91088 h 569758"/>
                  <a:gd name="connsiteX21" fmla="*/ 731702 w 804854"/>
                  <a:gd name="connsiteY21" fmla="*/ 149609 h 569758"/>
                  <a:gd name="connsiteX22" fmla="*/ 782909 w 804854"/>
                  <a:gd name="connsiteY22" fmla="*/ 156925 h 569758"/>
                  <a:gd name="connsiteX23" fmla="*/ 797539 w 804854"/>
                  <a:gd name="connsiteY23" fmla="*/ 200816 h 569758"/>
                  <a:gd name="connsiteX24" fmla="*/ 790224 w 804854"/>
                  <a:gd name="connsiteY24" fmla="*/ 259337 h 569758"/>
                  <a:gd name="connsiteX25" fmla="*/ 782909 w 804854"/>
                  <a:gd name="connsiteY25" fmla="*/ 281283 h 569758"/>
                  <a:gd name="connsiteX26" fmla="*/ 790224 w 804854"/>
                  <a:gd name="connsiteY26" fmla="*/ 412957 h 569758"/>
                  <a:gd name="connsiteX27" fmla="*/ 804854 w 804854"/>
                  <a:gd name="connsiteY27" fmla="*/ 456848 h 569758"/>
                  <a:gd name="connsiteX28" fmla="*/ 782909 w 804854"/>
                  <a:gd name="connsiteY28" fmla="*/ 471478 h 569758"/>
                  <a:gd name="connsiteX29" fmla="*/ 731702 w 804854"/>
                  <a:gd name="connsiteY29" fmla="*/ 478793 h 569758"/>
                  <a:gd name="connsiteX30" fmla="*/ 709757 w 804854"/>
                  <a:gd name="connsiteY30" fmla="*/ 486109 h 569758"/>
                  <a:gd name="connsiteX31" fmla="*/ 695126 w 804854"/>
                  <a:gd name="connsiteY31" fmla="*/ 500739 h 569758"/>
                  <a:gd name="connsiteX32" fmla="*/ 643920 w 804854"/>
                  <a:gd name="connsiteY32" fmla="*/ 515369 h 569758"/>
                  <a:gd name="connsiteX33" fmla="*/ 621974 w 804854"/>
                  <a:gd name="connsiteY33" fmla="*/ 522685 h 569758"/>
                  <a:gd name="connsiteX34" fmla="*/ 592714 w 804854"/>
                  <a:gd name="connsiteY34" fmla="*/ 530000 h 569758"/>
                  <a:gd name="connsiteX35" fmla="*/ 548822 w 804854"/>
                  <a:gd name="connsiteY35" fmla="*/ 544630 h 569758"/>
                  <a:gd name="connsiteX36" fmla="*/ 526877 w 804854"/>
                  <a:gd name="connsiteY36" fmla="*/ 569758 h 569758"/>
                  <a:gd name="connsiteX37" fmla="*/ 482986 w 804854"/>
                  <a:gd name="connsiteY37" fmla="*/ 544630 h 569758"/>
                  <a:gd name="connsiteX38" fmla="*/ 461040 w 804854"/>
                  <a:gd name="connsiteY38" fmla="*/ 508054 h 569758"/>
                  <a:gd name="connsiteX39" fmla="*/ 329366 w 804854"/>
                  <a:gd name="connsiteY39" fmla="*/ 500739 h 569758"/>
                  <a:gd name="connsiteX40" fmla="*/ 314736 w 804854"/>
                  <a:gd name="connsiteY40" fmla="*/ 471478 h 569758"/>
                  <a:gd name="connsiteX41" fmla="*/ 263530 w 804854"/>
                  <a:gd name="connsiteY41" fmla="*/ 464163 h 569758"/>
                  <a:gd name="connsiteX42" fmla="*/ 241584 w 804854"/>
                  <a:gd name="connsiteY42" fmla="*/ 456848 h 569758"/>
                  <a:gd name="connsiteX43" fmla="*/ 219638 w 804854"/>
                  <a:gd name="connsiteY43" fmla="*/ 442217 h 569758"/>
                  <a:gd name="connsiteX44" fmla="*/ 139171 w 804854"/>
                  <a:gd name="connsiteY44" fmla="*/ 427587 h 569758"/>
                  <a:gd name="connsiteX45" fmla="*/ 124541 w 804854"/>
                  <a:gd name="connsiteY45" fmla="*/ 405641 h 569758"/>
                  <a:gd name="connsiteX46" fmla="*/ 102595 w 804854"/>
                  <a:gd name="connsiteY46" fmla="*/ 369065 h 569758"/>
                  <a:gd name="connsiteX47" fmla="*/ 44074 w 804854"/>
                  <a:gd name="connsiteY47" fmla="*/ 354435 h 569758"/>
                  <a:gd name="connsiteX48" fmla="*/ 22128 w 804854"/>
                  <a:gd name="connsiteY48" fmla="*/ 339805 h 569758"/>
                  <a:gd name="connsiteX49" fmla="*/ 182 w 804854"/>
                  <a:gd name="connsiteY49" fmla="*/ 347120 h 569758"/>
                  <a:gd name="connsiteX0" fmla="*/ 182 w 804854"/>
                  <a:gd name="connsiteY0" fmla="*/ 347120 h 569758"/>
                  <a:gd name="connsiteX1" fmla="*/ 36758 w 804854"/>
                  <a:gd name="connsiteY1" fmla="*/ 317859 h 569758"/>
                  <a:gd name="connsiteX2" fmla="*/ 44074 w 804854"/>
                  <a:gd name="connsiteY2" fmla="*/ 281283 h 569758"/>
                  <a:gd name="connsiteX3" fmla="*/ 58704 w 804854"/>
                  <a:gd name="connsiteY3" fmla="*/ 237392 h 569758"/>
                  <a:gd name="connsiteX4" fmla="*/ 73334 w 804854"/>
                  <a:gd name="connsiteY4" fmla="*/ 178870 h 569758"/>
                  <a:gd name="connsiteX5" fmla="*/ 80650 w 804854"/>
                  <a:gd name="connsiteY5" fmla="*/ 156925 h 569758"/>
                  <a:gd name="connsiteX6" fmla="*/ 95280 w 804854"/>
                  <a:gd name="connsiteY6" fmla="*/ 134979 h 569758"/>
                  <a:gd name="connsiteX7" fmla="*/ 117226 w 804854"/>
                  <a:gd name="connsiteY7" fmla="*/ 127664 h 569758"/>
                  <a:gd name="connsiteX8" fmla="*/ 219638 w 804854"/>
                  <a:gd name="connsiteY8" fmla="*/ 134979 h 569758"/>
                  <a:gd name="connsiteX9" fmla="*/ 263530 w 804854"/>
                  <a:gd name="connsiteY9" fmla="*/ 149609 h 569758"/>
                  <a:gd name="connsiteX10" fmla="*/ 424464 w 804854"/>
                  <a:gd name="connsiteY10" fmla="*/ 142294 h 569758"/>
                  <a:gd name="connsiteX11" fmla="*/ 446410 w 804854"/>
                  <a:gd name="connsiteY11" fmla="*/ 127664 h 569758"/>
                  <a:gd name="connsiteX12" fmla="*/ 475670 w 804854"/>
                  <a:gd name="connsiteY12" fmla="*/ 91088 h 569758"/>
                  <a:gd name="connsiteX13" fmla="*/ 482986 w 804854"/>
                  <a:gd name="connsiteY13" fmla="*/ 69142 h 569758"/>
                  <a:gd name="connsiteX14" fmla="*/ 512246 w 804854"/>
                  <a:gd name="connsiteY14" fmla="*/ 32566 h 569758"/>
                  <a:gd name="connsiteX15" fmla="*/ 534192 w 804854"/>
                  <a:gd name="connsiteY15" fmla="*/ 25251 h 569758"/>
                  <a:gd name="connsiteX16" fmla="*/ 556138 w 804854"/>
                  <a:gd name="connsiteY16" fmla="*/ 32566 h 569758"/>
                  <a:gd name="connsiteX17" fmla="*/ 632282 w 804854"/>
                  <a:gd name="connsiteY17" fmla="*/ 313 h 569758"/>
                  <a:gd name="connsiteX18" fmla="*/ 651235 w 804854"/>
                  <a:gd name="connsiteY18" fmla="*/ 17936 h 569758"/>
                  <a:gd name="connsiteX19" fmla="*/ 680496 w 804854"/>
                  <a:gd name="connsiteY19" fmla="*/ 76457 h 569758"/>
                  <a:gd name="connsiteX20" fmla="*/ 724387 w 804854"/>
                  <a:gd name="connsiteY20" fmla="*/ 91088 h 569758"/>
                  <a:gd name="connsiteX21" fmla="*/ 731702 w 804854"/>
                  <a:gd name="connsiteY21" fmla="*/ 149609 h 569758"/>
                  <a:gd name="connsiteX22" fmla="*/ 782909 w 804854"/>
                  <a:gd name="connsiteY22" fmla="*/ 156925 h 569758"/>
                  <a:gd name="connsiteX23" fmla="*/ 797539 w 804854"/>
                  <a:gd name="connsiteY23" fmla="*/ 200816 h 569758"/>
                  <a:gd name="connsiteX24" fmla="*/ 790224 w 804854"/>
                  <a:gd name="connsiteY24" fmla="*/ 259337 h 569758"/>
                  <a:gd name="connsiteX25" fmla="*/ 782909 w 804854"/>
                  <a:gd name="connsiteY25" fmla="*/ 281283 h 569758"/>
                  <a:gd name="connsiteX26" fmla="*/ 790224 w 804854"/>
                  <a:gd name="connsiteY26" fmla="*/ 412957 h 569758"/>
                  <a:gd name="connsiteX27" fmla="*/ 804854 w 804854"/>
                  <a:gd name="connsiteY27" fmla="*/ 456848 h 569758"/>
                  <a:gd name="connsiteX28" fmla="*/ 782909 w 804854"/>
                  <a:gd name="connsiteY28" fmla="*/ 471478 h 569758"/>
                  <a:gd name="connsiteX29" fmla="*/ 731702 w 804854"/>
                  <a:gd name="connsiteY29" fmla="*/ 478793 h 569758"/>
                  <a:gd name="connsiteX30" fmla="*/ 709757 w 804854"/>
                  <a:gd name="connsiteY30" fmla="*/ 486109 h 569758"/>
                  <a:gd name="connsiteX31" fmla="*/ 695126 w 804854"/>
                  <a:gd name="connsiteY31" fmla="*/ 500739 h 569758"/>
                  <a:gd name="connsiteX32" fmla="*/ 643920 w 804854"/>
                  <a:gd name="connsiteY32" fmla="*/ 515369 h 569758"/>
                  <a:gd name="connsiteX33" fmla="*/ 621974 w 804854"/>
                  <a:gd name="connsiteY33" fmla="*/ 522685 h 569758"/>
                  <a:gd name="connsiteX34" fmla="*/ 592714 w 804854"/>
                  <a:gd name="connsiteY34" fmla="*/ 530000 h 569758"/>
                  <a:gd name="connsiteX35" fmla="*/ 548822 w 804854"/>
                  <a:gd name="connsiteY35" fmla="*/ 544630 h 569758"/>
                  <a:gd name="connsiteX36" fmla="*/ 526877 w 804854"/>
                  <a:gd name="connsiteY36" fmla="*/ 569758 h 569758"/>
                  <a:gd name="connsiteX37" fmla="*/ 482986 w 804854"/>
                  <a:gd name="connsiteY37" fmla="*/ 544630 h 569758"/>
                  <a:gd name="connsiteX38" fmla="*/ 461040 w 804854"/>
                  <a:gd name="connsiteY38" fmla="*/ 508054 h 569758"/>
                  <a:gd name="connsiteX39" fmla="*/ 353116 w 804854"/>
                  <a:gd name="connsiteY39" fmla="*/ 500739 h 569758"/>
                  <a:gd name="connsiteX40" fmla="*/ 314736 w 804854"/>
                  <a:gd name="connsiteY40" fmla="*/ 471478 h 569758"/>
                  <a:gd name="connsiteX41" fmla="*/ 263530 w 804854"/>
                  <a:gd name="connsiteY41" fmla="*/ 464163 h 569758"/>
                  <a:gd name="connsiteX42" fmla="*/ 241584 w 804854"/>
                  <a:gd name="connsiteY42" fmla="*/ 456848 h 569758"/>
                  <a:gd name="connsiteX43" fmla="*/ 219638 w 804854"/>
                  <a:gd name="connsiteY43" fmla="*/ 442217 h 569758"/>
                  <a:gd name="connsiteX44" fmla="*/ 139171 w 804854"/>
                  <a:gd name="connsiteY44" fmla="*/ 427587 h 569758"/>
                  <a:gd name="connsiteX45" fmla="*/ 124541 w 804854"/>
                  <a:gd name="connsiteY45" fmla="*/ 405641 h 569758"/>
                  <a:gd name="connsiteX46" fmla="*/ 102595 w 804854"/>
                  <a:gd name="connsiteY46" fmla="*/ 369065 h 569758"/>
                  <a:gd name="connsiteX47" fmla="*/ 44074 w 804854"/>
                  <a:gd name="connsiteY47" fmla="*/ 354435 h 569758"/>
                  <a:gd name="connsiteX48" fmla="*/ 22128 w 804854"/>
                  <a:gd name="connsiteY48" fmla="*/ 339805 h 569758"/>
                  <a:gd name="connsiteX49" fmla="*/ 182 w 804854"/>
                  <a:gd name="connsiteY49" fmla="*/ 347120 h 569758"/>
                  <a:gd name="connsiteX0" fmla="*/ 182 w 804854"/>
                  <a:gd name="connsiteY0" fmla="*/ 347120 h 569758"/>
                  <a:gd name="connsiteX1" fmla="*/ 36758 w 804854"/>
                  <a:gd name="connsiteY1" fmla="*/ 317859 h 569758"/>
                  <a:gd name="connsiteX2" fmla="*/ 44074 w 804854"/>
                  <a:gd name="connsiteY2" fmla="*/ 281283 h 569758"/>
                  <a:gd name="connsiteX3" fmla="*/ 58704 w 804854"/>
                  <a:gd name="connsiteY3" fmla="*/ 237392 h 569758"/>
                  <a:gd name="connsiteX4" fmla="*/ 73334 w 804854"/>
                  <a:gd name="connsiteY4" fmla="*/ 178870 h 569758"/>
                  <a:gd name="connsiteX5" fmla="*/ 80650 w 804854"/>
                  <a:gd name="connsiteY5" fmla="*/ 156925 h 569758"/>
                  <a:gd name="connsiteX6" fmla="*/ 95280 w 804854"/>
                  <a:gd name="connsiteY6" fmla="*/ 134979 h 569758"/>
                  <a:gd name="connsiteX7" fmla="*/ 117226 w 804854"/>
                  <a:gd name="connsiteY7" fmla="*/ 127664 h 569758"/>
                  <a:gd name="connsiteX8" fmla="*/ 219638 w 804854"/>
                  <a:gd name="connsiteY8" fmla="*/ 134979 h 569758"/>
                  <a:gd name="connsiteX9" fmla="*/ 263530 w 804854"/>
                  <a:gd name="connsiteY9" fmla="*/ 149609 h 569758"/>
                  <a:gd name="connsiteX10" fmla="*/ 424464 w 804854"/>
                  <a:gd name="connsiteY10" fmla="*/ 142294 h 569758"/>
                  <a:gd name="connsiteX11" fmla="*/ 446410 w 804854"/>
                  <a:gd name="connsiteY11" fmla="*/ 127664 h 569758"/>
                  <a:gd name="connsiteX12" fmla="*/ 475670 w 804854"/>
                  <a:gd name="connsiteY12" fmla="*/ 91088 h 569758"/>
                  <a:gd name="connsiteX13" fmla="*/ 482986 w 804854"/>
                  <a:gd name="connsiteY13" fmla="*/ 69142 h 569758"/>
                  <a:gd name="connsiteX14" fmla="*/ 512246 w 804854"/>
                  <a:gd name="connsiteY14" fmla="*/ 32566 h 569758"/>
                  <a:gd name="connsiteX15" fmla="*/ 534192 w 804854"/>
                  <a:gd name="connsiteY15" fmla="*/ 25251 h 569758"/>
                  <a:gd name="connsiteX16" fmla="*/ 556138 w 804854"/>
                  <a:gd name="connsiteY16" fmla="*/ 32566 h 569758"/>
                  <a:gd name="connsiteX17" fmla="*/ 632282 w 804854"/>
                  <a:gd name="connsiteY17" fmla="*/ 313 h 569758"/>
                  <a:gd name="connsiteX18" fmla="*/ 651235 w 804854"/>
                  <a:gd name="connsiteY18" fmla="*/ 17936 h 569758"/>
                  <a:gd name="connsiteX19" fmla="*/ 680496 w 804854"/>
                  <a:gd name="connsiteY19" fmla="*/ 76457 h 569758"/>
                  <a:gd name="connsiteX20" fmla="*/ 724387 w 804854"/>
                  <a:gd name="connsiteY20" fmla="*/ 91088 h 569758"/>
                  <a:gd name="connsiteX21" fmla="*/ 731702 w 804854"/>
                  <a:gd name="connsiteY21" fmla="*/ 149609 h 569758"/>
                  <a:gd name="connsiteX22" fmla="*/ 782909 w 804854"/>
                  <a:gd name="connsiteY22" fmla="*/ 156925 h 569758"/>
                  <a:gd name="connsiteX23" fmla="*/ 797539 w 804854"/>
                  <a:gd name="connsiteY23" fmla="*/ 200816 h 569758"/>
                  <a:gd name="connsiteX24" fmla="*/ 790224 w 804854"/>
                  <a:gd name="connsiteY24" fmla="*/ 259337 h 569758"/>
                  <a:gd name="connsiteX25" fmla="*/ 782909 w 804854"/>
                  <a:gd name="connsiteY25" fmla="*/ 281283 h 569758"/>
                  <a:gd name="connsiteX26" fmla="*/ 790224 w 804854"/>
                  <a:gd name="connsiteY26" fmla="*/ 412957 h 569758"/>
                  <a:gd name="connsiteX27" fmla="*/ 804854 w 804854"/>
                  <a:gd name="connsiteY27" fmla="*/ 456848 h 569758"/>
                  <a:gd name="connsiteX28" fmla="*/ 782909 w 804854"/>
                  <a:gd name="connsiteY28" fmla="*/ 471478 h 569758"/>
                  <a:gd name="connsiteX29" fmla="*/ 731702 w 804854"/>
                  <a:gd name="connsiteY29" fmla="*/ 478793 h 569758"/>
                  <a:gd name="connsiteX30" fmla="*/ 709757 w 804854"/>
                  <a:gd name="connsiteY30" fmla="*/ 486109 h 569758"/>
                  <a:gd name="connsiteX31" fmla="*/ 695126 w 804854"/>
                  <a:gd name="connsiteY31" fmla="*/ 500739 h 569758"/>
                  <a:gd name="connsiteX32" fmla="*/ 643920 w 804854"/>
                  <a:gd name="connsiteY32" fmla="*/ 515369 h 569758"/>
                  <a:gd name="connsiteX33" fmla="*/ 621974 w 804854"/>
                  <a:gd name="connsiteY33" fmla="*/ 522685 h 569758"/>
                  <a:gd name="connsiteX34" fmla="*/ 592714 w 804854"/>
                  <a:gd name="connsiteY34" fmla="*/ 530000 h 569758"/>
                  <a:gd name="connsiteX35" fmla="*/ 548822 w 804854"/>
                  <a:gd name="connsiteY35" fmla="*/ 544630 h 569758"/>
                  <a:gd name="connsiteX36" fmla="*/ 526877 w 804854"/>
                  <a:gd name="connsiteY36" fmla="*/ 569758 h 569758"/>
                  <a:gd name="connsiteX37" fmla="*/ 482986 w 804854"/>
                  <a:gd name="connsiteY37" fmla="*/ 544630 h 569758"/>
                  <a:gd name="connsiteX38" fmla="*/ 478853 w 804854"/>
                  <a:gd name="connsiteY38" fmla="*/ 490241 h 569758"/>
                  <a:gd name="connsiteX39" fmla="*/ 353116 w 804854"/>
                  <a:gd name="connsiteY39" fmla="*/ 500739 h 569758"/>
                  <a:gd name="connsiteX40" fmla="*/ 314736 w 804854"/>
                  <a:gd name="connsiteY40" fmla="*/ 471478 h 569758"/>
                  <a:gd name="connsiteX41" fmla="*/ 263530 w 804854"/>
                  <a:gd name="connsiteY41" fmla="*/ 464163 h 569758"/>
                  <a:gd name="connsiteX42" fmla="*/ 241584 w 804854"/>
                  <a:gd name="connsiteY42" fmla="*/ 456848 h 569758"/>
                  <a:gd name="connsiteX43" fmla="*/ 219638 w 804854"/>
                  <a:gd name="connsiteY43" fmla="*/ 442217 h 569758"/>
                  <a:gd name="connsiteX44" fmla="*/ 139171 w 804854"/>
                  <a:gd name="connsiteY44" fmla="*/ 427587 h 569758"/>
                  <a:gd name="connsiteX45" fmla="*/ 124541 w 804854"/>
                  <a:gd name="connsiteY45" fmla="*/ 405641 h 569758"/>
                  <a:gd name="connsiteX46" fmla="*/ 102595 w 804854"/>
                  <a:gd name="connsiteY46" fmla="*/ 369065 h 569758"/>
                  <a:gd name="connsiteX47" fmla="*/ 44074 w 804854"/>
                  <a:gd name="connsiteY47" fmla="*/ 354435 h 569758"/>
                  <a:gd name="connsiteX48" fmla="*/ 22128 w 804854"/>
                  <a:gd name="connsiteY48" fmla="*/ 339805 h 569758"/>
                  <a:gd name="connsiteX49" fmla="*/ 182 w 804854"/>
                  <a:gd name="connsiteY49" fmla="*/ 347120 h 569758"/>
                  <a:gd name="connsiteX0" fmla="*/ 182 w 804854"/>
                  <a:gd name="connsiteY0" fmla="*/ 347120 h 569758"/>
                  <a:gd name="connsiteX1" fmla="*/ 36758 w 804854"/>
                  <a:gd name="connsiteY1" fmla="*/ 317859 h 569758"/>
                  <a:gd name="connsiteX2" fmla="*/ 44074 w 804854"/>
                  <a:gd name="connsiteY2" fmla="*/ 281283 h 569758"/>
                  <a:gd name="connsiteX3" fmla="*/ 58704 w 804854"/>
                  <a:gd name="connsiteY3" fmla="*/ 237392 h 569758"/>
                  <a:gd name="connsiteX4" fmla="*/ 73334 w 804854"/>
                  <a:gd name="connsiteY4" fmla="*/ 178870 h 569758"/>
                  <a:gd name="connsiteX5" fmla="*/ 80650 w 804854"/>
                  <a:gd name="connsiteY5" fmla="*/ 156925 h 569758"/>
                  <a:gd name="connsiteX6" fmla="*/ 95280 w 804854"/>
                  <a:gd name="connsiteY6" fmla="*/ 134979 h 569758"/>
                  <a:gd name="connsiteX7" fmla="*/ 117226 w 804854"/>
                  <a:gd name="connsiteY7" fmla="*/ 127664 h 569758"/>
                  <a:gd name="connsiteX8" fmla="*/ 219638 w 804854"/>
                  <a:gd name="connsiteY8" fmla="*/ 134979 h 569758"/>
                  <a:gd name="connsiteX9" fmla="*/ 263530 w 804854"/>
                  <a:gd name="connsiteY9" fmla="*/ 149609 h 569758"/>
                  <a:gd name="connsiteX10" fmla="*/ 424464 w 804854"/>
                  <a:gd name="connsiteY10" fmla="*/ 142294 h 569758"/>
                  <a:gd name="connsiteX11" fmla="*/ 446410 w 804854"/>
                  <a:gd name="connsiteY11" fmla="*/ 127664 h 569758"/>
                  <a:gd name="connsiteX12" fmla="*/ 475670 w 804854"/>
                  <a:gd name="connsiteY12" fmla="*/ 91088 h 569758"/>
                  <a:gd name="connsiteX13" fmla="*/ 482986 w 804854"/>
                  <a:gd name="connsiteY13" fmla="*/ 69142 h 569758"/>
                  <a:gd name="connsiteX14" fmla="*/ 512246 w 804854"/>
                  <a:gd name="connsiteY14" fmla="*/ 32566 h 569758"/>
                  <a:gd name="connsiteX15" fmla="*/ 534192 w 804854"/>
                  <a:gd name="connsiteY15" fmla="*/ 25251 h 569758"/>
                  <a:gd name="connsiteX16" fmla="*/ 556138 w 804854"/>
                  <a:gd name="connsiteY16" fmla="*/ 32566 h 569758"/>
                  <a:gd name="connsiteX17" fmla="*/ 632282 w 804854"/>
                  <a:gd name="connsiteY17" fmla="*/ 313 h 569758"/>
                  <a:gd name="connsiteX18" fmla="*/ 651235 w 804854"/>
                  <a:gd name="connsiteY18" fmla="*/ 17936 h 569758"/>
                  <a:gd name="connsiteX19" fmla="*/ 680496 w 804854"/>
                  <a:gd name="connsiteY19" fmla="*/ 76457 h 569758"/>
                  <a:gd name="connsiteX20" fmla="*/ 724387 w 804854"/>
                  <a:gd name="connsiteY20" fmla="*/ 91088 h 569758"/>
                  <a:gd name="connsiteX21" fmla="*/ 731702 w 804854"/>
                  <a:gd name="connsiteY21" fmla="*/ 149609 h 569758"/>
                  <a:gd name="connsiteX22" fmla="*/ 782909 w 804854"/>
                  <a:gd name="connsiteY22" fmla="*/ 156925 h 569758"/>
                  <a:gd name="connsiteX23" fmla="*/ 797539 w 804854"/>
                  <a:gd name="connsiteY23" fmla="*/ 200816 h 569758"/>
                  <a:gd name="connsiteX24" fmla="*/ 790224 w 804854"/>
                  <a:gd name="connsiteY24" fmla="*/ 259337 h 569758"/>
                  <a:gd name="connsiteX25" fmla="*/ 782909 w 804854"/>
                  <a:gd name="connsiteY25" fmla="*/ 281283 h 569758"/>
                  <a:gd name="connsiteX26" fmla="*/ 790224 w 804854"/>
                  <a:gd name="connsiteY26" fmla="*/ 412957 h 569758"/>
                  <a:gd name="connsiteX27" fmla="*/ 804854 w 804854"/>
                  <a:gd name="connsiteY27" fmla="*/ 456848 h 569758"/>
                  <a:gd name="connsiteX28" fmla="*/ 782909 w 804854"/>
                  <a:gd name="connsiteY28" fmla="*/ 471478 h 569758"/>
                  <a:gd name="connsiteX29" fmla="*/ 731702 w 804854"/>
                  <a:gd name="connsiteY29" fmla="*/ 478793 h 569758"/>
                  <a:gd name="connsiteX30" fmla="*/ 709757 w 804854"/>
                  <a:gd name="connsiteY30" fmla="*/ 486109 h 569758"/>
                  <a:gd name="connsiteX31" fmla="*/ 695126 w 804854"/>
                  <a:gd name="connsiteY31" fmla="*/ 500739 h 569758"/>
                  <a:gd name="connsiteX32" fmla="*/ 643920 w 804854"/>
                  <a:gd name="connsiteY32" fmla="*/ 515369 h 569758"/>
                  <a:gd name="connsiteX33" fmla="*/ 621974 w 804854"/>
                  <a:gd name="connsiteY33" fmla="*/ 522685 h 569758"/>
                  <a:gd name="connsiteX34" fmla="*/ 592714 w 804854"/>
                  <a:gd name="connsiteY34" fmla="*/ 530000 h 569758"/>
                  <a:gd name="connsiteX35" fmla="*/ 548822 w 804854"/>
                  <a:gd name="connsiteY35" fmla="*/ 544630 h 569758"/>
                  <a:gd name="connsiteX36" fmla="*/ 526877 w 804854"/>
                  <a:gd name="connsiteY36" fmla="*/ 569758 h 569758"/>
                  <a:gd name="connsiteX37" fmla="*/ 482986 w 804854"/>
                  <a:gd name="connsiteY37" fmla="*/ 544630 h 569758"/>
                  <a:gd name="connsiteX38" fmla="*/ 478853 w 804854"/>
                  <a:gd name="connsiteY38" fmla="*/ 490241 h 569758"/>
                  <a:gd name="connsiteX39" fmla="*/ 370929 w 804854"/>
                  <a:gd name="connsiteY39" fmla="*/ 506677 h 569758"/>
                  <a:gd name="connsiteX40" fmla="*/ 314736 w 804854"/>
                  <a:gd name="connsiteY40" fmla="*/ 471478 h 569758"/>
                  <a:gd name="connsiteX41" fmla="*/ 263530 w 804854"/>
                  <a:gd name="connsiteY41" fmla="*/ 464163 h 569758"/>
                  <a:gd name="connsiteX42" fmla="*/ 241584 w 804854"/>
                  <a:gd name="connsiteY42" fmla="*/ 456848 h 569758"/>
                  <a:gd name="connsiteX43" fmla="*/ 219638 w 804854"/>
                  <a:gd name="connsiteY43" fmla="*/ 442217 h 569758"/>
                  <a:gd name="connsiteX44" fmla="*/ 139171 w 804854"/>
                  <a:gd name="connsiteY44" fmla="*/ 427587 h 569758"/>
                  <a:gd name="connsiteX45" fmla="*/ 124541 w 804854"/>
                  <a:gd name="connsiteY45" fmla="*/ 405641 h 569758"/>
                  <a:gd name="connsiteX46" fmla="*/ 102595 w 804854"/>
                  <a:gd name="connsiteY46" fmla="*/ 369065 h 569758"/>
                  <a:gd name="connsiteX47" fmla="*/ 44074 w 804854"/>
                  <a:gd name="connsiteY47" fmla="*/ 354435 h 569758"/>
                  <a:gd name="connsiteX48" fmla="*/ 22128 w 804854"/>
                  <a:gd name="connsiteY48" fmla="*/ 339805 h 569758"/>
                  <a:gd name="connsiteX49" fmla="*/ 182 w 804854"/>
                  <a:gd name="connsiteY49" fmla="*/ 347120 h 569758"/>
                  <a:gd name="connsiteX0" fmla="*/ 182 w 804854"/>
                  <a:gd name="connsiteY0" fmla="*/ 347120 h 569794"/>
                  <a:gd name="connsiteX1" fmla="*/ 36758 w 804854"/>
                  <a:gd name="connsiteY1" fmla="*/ 317859 h 569794"/>
                  <a:gd name="connsiteX2" fmla="*/ 44074 w 804854"/>
                  <a:gd name="connsiteY2" fmla="*/ 281283 h 569794"/>
                  <a:gd name="connsiteX3" fmla="*/ 58704 w 804854"/>
                  <a:gd name="connsiteY3" fmla="*/ 237392 h 569794"/>
                  <a:gd name="connsiteX4" fmla="*/ 73334 w 804854"/>
                  <a:gd name="connsiteY4" fmla="*/ 178870 h 569794"/>
                  <a:gd name="connsiteX5" fmla="*/ 80650 w 804854"/>
                  <a:gd name="connsiteY5" fmla="*/ 156925 h 569794"/>
                  <a:gd name="connsiteX6" fmla="*/ 95280 w 804854"/>
                  <a:gd name="connsiteY6" fmla="*/ 134979 h 569794"/>
                  <a:gd name="connsiteX7" fmla="*/ 117226 w 804854"/>
                  <a:gd name="connsiteY7" fmla="*/ 127664 h 569794"/>
                  <a:gd name="connsiteX8" fmla="*/ 219638 w 804854"/>
                  <a:gd name="connsiteY8" fmla="*/ 134979 h 569794"/>
                  <a:gd name="connsiteX9" fmla="*/ 263530 w 804854"/>
                  <a:gd name="connsiteY9" fmla="*/ 149609 h 569794"/>
                  <a:gd name="connsiteX10" fmla="*/ 424464 w 804854"/>
                  <a:gd name="connsiteY10" fmla="*/ 142294 h 569794"/>
                  <a:gd name="connsiteX11" fmla="*/ 446410 w 804854"/>
                  <a:gd name="connsiteY11" fmla="*/ 127664 h 569794"/>
                  <a:gd name="connsiteX12" fmla="*/ 475670 w 804854"/>
                  <a:gd name="connsiteY12" fmla="*/ 91088 h 569794"/>
                  <a:gd name="connsiteX13" fmla="*/ 482986 w 804854"/>
                  <a:gd name="connsiteY13" fmla="*/ 69142 h 569794"/>
                  <a:gd name="connsiteX14" fmla="*/ 512246 w 804854"/>
                  <a:gd name="connsiteY14" fmla="*/ 32566 h 569794"/>
                  <a:gd name="connsiteX15" fmla="*/ 534192 w 804854"/>
                  <a:gd name="connsiteY15" fmla="*/ 25251 h 569794"/>
                  <a:gd name="connsiteX16" fmla="*/ 556138 w 804854"/>
                  <a:gd name="connsiteY16" fmla="*/ 32566 h 569794"/>
                  <a:gd name="connsiteX17" fmla="*/ 632282 w 804854"/>
                  <a:gd name="connsiteY17" fmla="*/ 313 h 569794"/>
                  <a:gd name="connsiteX18" fmla="*/ 651235 w 804854"/>
                  <a:gd name="connsiteY18" fmla="*/ 17936 h 569794"/>
                  <a:gd name="connsiteX19" fmla="*/ 680496 w 804854"/>
                  <a:gd name="connsiteY19" fmla="*/ 76457 h 569794"/>
                  <a:gd name="connsiteX20" fmla="*/ 724387 w 804854"/>
                  <a:gd name="connsiteY20" fmla="*/ 91088 h 569794"/>
                  <a:gd name="connsiteX21" fmla="*/ 731702 w 804854"/>
                  <a:gd name="connsiteY21" fmla="*/ 149609 h 569794"/>
                  <a:gd name="connsiteX22" fmla="*/ 782909 w 804854"/>
                  <a:gd name="connsiteY22" fmla="*/ 156925 h 569794"/>
                  <a:gd name="connsiteX23" fmla="*/ 797539 w 804854"/>
                  <a:gd name="connsiteY23" fmla="*/ 200816 h 569794"/>
                  <a:gd name="connsiteX24" fmla="*/ 790224 w 804854"/>
                  <a:gd name="connsiteY24" fmla="*/ 259337 h 569794"/>
                  <a:gd name="connsiteX25" fmla="*/ 782909 w 804854"/>
                  <a:gd name="connsiteY25" fmla="*/ 281283 h 569794"/>
                  <a:gd name="connsiteX26" fmla="*/ 790224 w 804854"/>
                  <a:gd name="connsiteY26" fmla="*/ 412957 h 569794"/>
                  <a:gd name="connsiteX27" fmla="*/ 804854 w 804854"/>
                  <a:gd name="connsiteY27" fmla="*/ 456848 h 569794"/>
                  <a:gd name="connsiteX28" fmla="*/ 782909 w 804854"/>
                  <a:gd name="connsiteY28" fmla="*/ 471478 h 569794"/>
                  <a:gd name="connsiteX29" fmla="*/ 731702 w 804854"/>
                  <a:gd name="connsiteY29" fmla="*/ 478793 h 569794"/>
                  <a:gd name="connsiteX30" fmla="*/ 709757 w 804854"/>
                  <a:gd name="connsiteY30" fmla="*/ 486109 h 569794"/>
                  <a:gd name="connsiteX31" fmla="*/ 695126 w 804854"/>
                  <a:gd name="connsiteY31" fmla="*/ 500739 h 569794"/>
                  <a:gd name="connsiteX32" fmla="*/ 643920 w 804854"/>
                  <a:gd name="connsiteY32" fmla="*/ 515369 h 569794"/>
                  <a:gd name="connsiteX33" fmla="*/ 621974 w 804854"/>
                  <a:gd name="connsiteY33" fmla="*/ 522685 h 569794"/>
                  <a:gd name="connsiteX34" fmla="*/ 592714 w 804854"/>
                  <a:gd name="connsiteY34" fmla="*/ 530000 h 569794"/>
                  <a:gd name="connsiteX35" fmla="*/ 548822 w 804854"/>
                  <a:gd name="connsiteY35" fmla="*/ 544630 h 569794"/>
                  <a:gd name="connsiteX36" fmla="*/ 526877 w 804854"/>
                  <a:gd name="connsiteY36" fmla="*/ 569758 h 569794"/>
                  <a:gd name="connsiteX37" fmla="*/ 500799 w 804854"/>
                  <a:gd name="connsiteY37" fmla="*/ 538693 h 569794"/>
                  <a:gd name="connsiteX38" fmla="*/ 478853 w 804854"/>
                  <a:gd name="connsiteY38" fmla="*/ 490241 h 569794"/>
                  <a:gd name="connsiteX39" fmla="*/ 370929 w 804854"/>
                  <a:gd name="connsiteY39" fmla="*/ 506677 h 569794"/>
                  <a:gd name="connsiteX40" fmla="*/ 314736 w 804854"/>
                  <a:gd name="connsiteY40" fmla="*/ 471478 h 569794"/>
                  <a:gd name="connsiteX41" fmla="*/ 263530 w 804854"/>
                  <a:gd name="connsiteY41" fmla="*/ 464163 h 569794"/>
                  <a:gd name="connsiteX42" fmla="*/ 241584 w 804854"/>
                  <a:gd name="connsiteY42" fmla="*/ 456848 h 569794"/>
                  <a:gd name="connsiteX43" fmla="*/ 219638 w 804854"/>
                  <a:gd name="connsiteY43" fmla="*/ 442217 h 569794"/>
                  <a:gd name="connsiteX44" fmla="*/ 139171 w 804854"/>
                  <a:gd name="connsiteY44" fmla="*/ 427587 h 569794"/>
                  <a:gd name="connsiteX45" fmla="*/ 124541 w 804854"/>
                  <a:gd name="connsiteY45" fmla="*/ 405641 h 569794"/>
                  <a:gd name="connsiteX46" fmla="*/ 102595 w 804854"/>
                  <a:gd name="connsiteY46" fmla="*/ 369065 h 569794"/>
                  <a:gd name="connsiteX47" fmla="*/ 44074 w 804854"/>
                  <a:gd name="connsiteY47" fmla="*/ 354435 h 569794"/>
                  <a:gd name="connsiteX48" fmla="*/ 22128 w 804854"/>
                  <a:gd name="connsiteY48" fmla="*/ 339805 h 569794"/>
                  <a:gd name="connsiteX49" fmla="*/ 182 w 804854"/>
                  <a:gd name="connsiteY49" fmla="*/ 347120 h 569794"/>
                  <a:gd name="connsiteX0" fmla="*/ 182 w 808992"/>
                  <a:gd name="connsiteY0" fmla="*/ 347120 h 569794"/>
                  <a:gd name="connsiteX1" fmla="*/ 36758 w 808992"/>
                  <a:gd name="connsiteY1" fmla="*/ 317859 h 569794"/>
                  <a:gd name="connsiteX2" fmla="*/ 44074 w 808992"/>
                  <a:gd name="connsiteY2" fmla="*/ 281283 h 569794"/>
                  <a:gd name="connsiteX3" fmla="*/ 58704 w 808992"/>
                  <a:gd name="connsiteY3" fmla="*/ 237392 h 569794"/>
                  <a:gd name="connsiteX4" fmla="*/ 73334 w 808992"/>
                  <a:gd name="connsiteY4" fmla="*/ 178870 h 569794"/>
                  <a:gd name="connsiteX5" fmla="*/ 80650 w 808992"/>
                  <a:gd name="connsiteY5" fmla="*/ 156925 h 569794"/>
                  <a:gd name="connsiteX6" fmla="*/ 95280 w 808992"/>
                  <a:gd name="connsiteY6" fmla="*/ 134979 h 569794"/>
                  <a:gd name="connsiteX7" fmla="*/ 117226 w 808992"/>
                  <a:gd name="connsiteY7" fmla="*/ 127664 h 569794"/>
                  <a:gd name="connsiteX8" fmla="*/ 219638 w 808992"/>
                  <a:gd name="connsiteY8" fmla="*/ 134979 h 569794"/>
                  <a:gd name="connsiteX9" fmla="*/ 263530 w 808992"/>
                  <a:gd name="connsiteY9" fmla="*/ 149609 h 569794"/>
                  <a:gd name="connsiteX10" fmla="*/ 424464 w 808992"/>
                  <a:gd name="connsiteY10" fmla="*/ 142294 h 569794"/>
                  <a:gd name="connsiteX11" fmla="*/ 446410 w 808992"/>
                  <a:gd name="connsiteY11" fmla="*/ 127664 h 569794"/>
                  <a:gd name="connsiteX12" fmla="*/ 475670 w 808992"/>
                  <a:gd name="connsiteY12" fmla="*/ 91088 h 569794"/>
                  <a:gd name="connsiteX13" fmla="*/ 482986 w 808992"/>
                  <a:gd name="connsiteY13" fmla="*/ 69142 h 569794"/>
                  <a:gd name="connsiteX14" fmla="*/ 512246 w 808992"/>
                  <a:gd name="connsiteY14" fmla="*/ 32566 h 569794"/>
                  <a:gd name="connsiteX15" fmla="*/ 534192 w 808992"/>
                  <a:gd name="connsiteY15" fmla="*/ 25251 h 569794"/>
                  <a:gd name="connsiteX16" fmla="*/ 556138 w 808992"/>
                  <a:gd name="connsiteY16" fmla="*/ 32566 h 569794"/>
                  <a:gd name="connsiteX17" fmla="*/ 632282 w 808992"/>
                  <a:gd name="connsiteY17" fmla="*/ 313 h 569794"/>
                  <a:gd name="connsiteX18" fmla="*/ 651235 w 808992"/>
                  <a:gd name="connsiteY18" fmla="*/ 17936 h 569794"/>
                  <a:gd name="connsiteX19" fmla="*/ 680496 w 808992"/>
                  <a:gd name="connsiteY19" fmla="*/ 76457 h 569794"/>
                  <a:gd name="connsiteX20" fmla="*/ 724387 w 808992"/>
                  <a:gd name="connsiteY20" fmla="*/ 91088 h 569794"/>
                  <a:gd name="connsiteX21" fmla="*/ 731702 w 808992"/>
                  <a:gd name="connsiteY21" fmla="*/ 149609 h 569794"/>
                  <a:gd name="connsiteX22" fmla="*/ 782909 w 808992"/>
                  <a:gd name="connsiteY22" fmla="*/ 156925 h 569794"/>
                  <a:gd name="connsiteX23" fmla="*/ 797539 w 808992"/>
                  <a:gd name="connsiteY23" fmla="*/ 200816 h 569794"/>
                  <a:gd name="connsiteX24" fmla="*/ 790224 w 808992"/>
                  <a:gd name="connsiteY24" fmla="*/ 259337 h 569794"/>
                  <a:gd name="connsiteX25" fmla="*/ 782909 w 808992"/>
                  <a:gd name="connsiteY25" fmla="*/ 281283 h 569794"/>
                  <a:gd name="connsiteX26" fmla="*/ 808037 w 808992"/>
                  <a:gd name="connsiteY26" fmla="*/ 407020 h 569794"/>
                  <a:gd name="connsiteX27" fmla="*/ 804854 w 808992"/>
                  <a:gd name="connsiteY27" fmla="*/ 456848 h 569794"/>
                  <a:gd name="connsiteX28" fmla="*/ 782909 w 808992"/>
                  <a:gd name="connsiteY28" fmla="*/ 471478 h 569794"/>
                  <a:gd name="connsiteX29" fmla="*/ 731702 w 808992"/>
                  <a:gd name="connsiteY29" fmla="*/ 478793 h 569794"/>
                  <a:gd name="connsiteX30" fmla="*/ 709757 w 808992"/>
                  <a:gd name="connsiteY30" fmla="*/ 486109 h 569794"/>
                  <a:gd name="connsiteX31" fmla="*/ 695126 w 808992"/>
                  <a:gd name="connsiteY31" fmla="*/ 500739 h 569794"/>
                  <a:gd name="connsiteX32" fmla="*/ 643920 w 808992"/>
                  <a:gd name="connsiteY32" fmla="*/ 515369 h 569794"/>
                  <a:gd name="connsiteX33" fmla="*/ 621974 w 808992"/>
                  <a:gd name="connsiteY33" fmla="*/ 522685 h 569794"/>
                  <a:gd name="connsiteX34" fmla="*/ 592714 w 808992"/>
                  <a:gd name="connsiteY34" fmla="*/ 530000 h 569794"/>
                  <a:gd name="connsiteX35" fmla="*/ 548822 w 808992"/>
                  <a:gd name="connsiteY35" fmla="*/ 544630 h 569794"/>
                  <a:gd name="connsiteX36" fmla="*/ 526877 w 808992"/>
                  <a:gd name="connsiteY36" fmla="*/ 569758 h 569794"/>
                  <a:gd name="connsiteX37" fmla="*/ 500799 w 808992"/>
                  <a:gd name="connsiteY37" fmla="*/ 538693 h 569794"/>
                  <a:gd name="connsiteX38" fmla="*/ 478853 w 808992"/>
                  <a:gd name="connsiteY38" fmla="*/ 490241 h 569794"/>
                  <a:gd name="connsiteX39" fmla="*/ 370929 w 808992"/>
                  <a:gd name="connsiteY39" fmla="*/ 506677 h 569794"/>
                  <a:gd name="connsiteX40" fmla="*/ 314736 w 808992"/>
                  <a:gd name="connsiteY40" fmla="*/ 471478 h 569794"/>
                  <a:gd name="connsiteX41" fmla="*/ 263530 w 808992"/>
                  <a:gd name="connsiteY41" fmla="*/ 464163 h 569794"/>
                  <a:gd name="connsiteX42" fmla="*/ 241584 w 808992"/>
                  <a:gd name="connsiteY42" fmla="*/ 456848 h 569794"/>
                  <a:gd name="connsiteX43" fmla="*/ 219638 w 808992"/>
                  <a:gd name="connsiteY43" fmla="*/ 442217 h 569794"/>
                  <a:gd name="connsiteX44" fmla="*/ 139171 w 808992"/>
                  <a:gd name="connsiteY44" fmla="*/ 427587 h 569794"/>
                  <a:gd name="connsiteX45" fmla="*/ 124541 w 808992"/>
                  <a:gd name="connsiteY45" fmla="*/ 405641 h 569794"/>
                  <a:gd name="connsiteX46" fmla="*/ 102595 w 808992"/>
                  <a:gd name="connsiteY46" fmla="*/ 369065 h 569794"/>
                  <a:gd name="connsiteX47" fmla="*/ 44074 w 808992"/>
                  <a:gd name="connsiteY47" fmla="*/ 354435 h 569794"/>
                  <a:gd name="connsiteX48" fmla="*/ 22128 w 808992"/>
                  <a:gd name="connsiteY48" fmla="*/ 339805 h 569794"/>
                  <a:gd name="connsiteX49" fmla="*/ 182 w 808992"/>
                  <a:gd name="connsiteY49" fmla="*/ 347120 h 569794"/>
                  <a:gd name="connsiteX0" fmla="*/ 182 w 808992"/>
                  <a:gd name="connsiteY0" fmla="*/ 347120 h 569794"/>
                  <a:gd name="connsiteX1" fmla="*/ 36758 w 808992"/>
                  <a:gd name="connsiteY1" fmla="*/ 317859 h 569794"/>
                  <a:gd name="connsiteX2" fmla="*/ 44074 w 808992"/>
                  <a:gd name="connsiteY2" fmla="*/ 281283 h 569794"/>
                  <a:gd name="connsiteX3" fmla="*/ 58704 w 808992"/>
                  <a:gd name="connsiteY3" fmla="*/ 237392 h 569794"/>
                  <a:gd name="connsiteX4" fmla="*/ 73334 w 808992"/>
                  <a:gd name="connsiteY4" fmla="*/ 178870 h 569794"/>
                  <a:gd name="connsiteX5" fmla="*/ 80650 w 808992"/>
                  <a:gd name="connsiteY5" fmla="*/ 156925 h 569794"/>
                  <a:gd name="connsiteX6" fmla="*/ 95280 w 808992"/>
                  <a:gd name="connsiteY6" fmla="*/ 134979 h 569794"/>
                  <a:gd name="connsiteX7" fmla="*/ 117226 w 808992"/>
                  <a:gd name="connsiteY7" fmla="*/ 127664 h 569794"/>
                  <a:gd name="connsiteX8" fmla="*/ 219638 w 808992"/>
                  <a:gd name="connsiteY8" fmla="*/ 134979 h 569794"/>
                  <a:gd name="connsiteX9" fmla="*/ 251655 w 808992"/>
                  <a:gd name="connsiteY9" fmla="*/ 78357 h 569794"/>
                  <a:gd name="connsiteX10" fmla="*/ 424464 w 808992"/>
                  <a:gd name="connsiteY10" fmla="*/ 142294 h 569794"/>
                  <a:gd name="connsiteX11" fmla="*/ 446410 w 808992"/>
                  <a:gd name="connsiteY11" fmla="*/ 127664 h 569794"/>
                  <a:gd name="connsiteX12" fmla="*/ 475670 w 808992"/>
                  <a:gd name="connsiteY12" fmla="*/ 91088 h 569794"/>
                  <a:gd name="connsiteX13" fmla="*/ 482986 w 808992"/>
                  <a:gd name="connsiteY13" fmla="*/ 69142 h 569794"/>
                  <a:gd name="connsiteX14" fmla="*/ 512246 w 808992"/>
                  <a:gd name="connsiteY14" fmla="*/ 32566 h 569794"/>
                  <a:gd name="connsiteX15" fmla="*/ 534192 w 808992"/>
                  <a:gd name="connsiteY15" fmla="*/ 25251 h 569794"/>
                  <a:gd name="connsiteX16" fmla="*/ 556138 w 808992"/>
                  <a:gd name="connsiteY16" fmla="*/ 32566 h 569794"/>
                  <a:gd name="connsiteX17" fmla="*/ 632282 w 808992"/>
                  <a:gd name="connsiteY17" fmla="*/ 313 h 569794"/>
                  <a:gd name="connsiteX18" fmla="*/ 651235 w 808992"/>
                  <a:gd name="connsiteY18" fmla="*/ 17936 h 569794"/>
                  <a:gd name="connsiteX19" fmla="*/ 680496 w 808992"/>
                  <a:gd name="connsiteY19" fmla="*/ 76457 h 569794"/>
                  <a:gd name="connsiteX20" fmla="*/ 724387 w 808992"/>
                  <a:gd name="connsiteY20" fmla="*/ 91088 h 569794"/>
                  <a:gd name="connsiteX21" fmla="*/ 731702 w 808992"/>
                  <a:gd name="connsiteY21" fmla="*/ 149609 h 569794"/>
                  <a:gd name="connsiteX22" fmla="*/ 782909 w 808992"/>
                  <a:gd name="connsiteY22" fmla="*/ 156925 h 569794"/>
                  <a:gd name="connsiteX23" fmla="*/ 797539 w 808992"/>
                  <a:gd name="connsiteY23" fmla="*/ 200816 h 569794"/>
                  <a:gd name="connsiteX24" fmla="*/ 790224 w 808992"/>
                  <a:gd name="connsiteY24" fmla="*/ 259337 h 569794"/>
                  <a:gd name="connsiteX25" fmla="*/ 782909 w 808992"/>
                  <a:gd name="connsiteY25" fmla="*/ 281283 h 569794"/>
                  <a:gd name="connsiteX26" fmla="*/ 808037 w 808992"/>
                  <a:gd name="connsiteY26" fmla="*/ 407020 h 569794"/>
                  <a:gd name="connsiteX27" fmla="*/ 804854 w 808992"/>
                  <a:gd name="connsiteY27" fmla="*/ 456848 h 569794"/>
                  <a:gd name="connsiteX28" fmla="*/ 782909 w 808992"/>
                  <a:gd name="connsiteY28" fmla="*/ 471478 h 569794"/>
                  <a:gd name="connsiteX29" fmla="*/ 731702 w 808992"/>
                  <a:gd name="connsiteY29" fmla="*/ 478793 h 569794"/>
                  <a:gd name="connsiteX30" fmla="*/ 709757 w 808992"/>
                  <a:gd name="connsiteY30" fmla="*/ 486109 h 569794"/>
                  <a:gd name="connsiteX31" fmla="*/ 695126 w 808992"/>
                  <a:gd name="connsiteY31" fmla="*/ 500739 h 569794"/>
                  <a:gd name="connsiteX32" fmla="*/ 643920 w 808992"/>
                  <a:gd name="connsiteY32" fmla="*/ 515369 h 569794"/>
                  <a:gd name="connsiteX33" fmla="*/ 621974 w 808992"/>
                  <a:gd name="connsiteY33" fmla="*/ 522685 h 569794"/>
                  <a:gd name="connsiteX34" fmla="*/ 592714 w 808992"/>
                  <a:gd name="connsiteY34" fmla="*/ 530000 h 569794"/>
                  <a:gd name="connsiteX35" fmla="*/ 548822 w 808992"/>
                  <a:gd name="connsiteY35" fmla="*/ 544630 h 569794"/>
                  <a:gd name="connsiteX36" fmla="*/ 526877 w 808992"/>
                  <a:gd name="connsiteY36" fmla="*/ 569758 h 569794"/>
                  <a:gd name="connsiteX37" fmla="*/ 500799 w 808992"/>
                  <a:gd name="connsiteY37" fmla="*/ 538693 h 569794"/>
                  <a:gd name="connsiteX38" fmla="*/ 478853 w 808992"/>
                  <a:gd name="connsiteY38" fmla="*/ 490241 h 569794"/>
                  <a:gd name="connsiteX39" fmla="*/ 370929 w 808992"/>
                  <a:gd name="connsiteY39" fmla="*/ 506677 h 569794"/>
                  <a:gd name="connsiteX40" fmla="*/ 314736 w 808992"/>
                  <a:gd name="connsiteY40" fmla="*/ 471478 h 569794"/>
                  <a:gd name="connsiteX41" fmla="*/ 263530 w 808992"/>
                  <a:gd name="connsiteY41" fmla="*/ 464163 h 569794"/>
                  <a:gd name="connsiteX42" fmla="*/ 241584 w 808992"/>
                  <a:gd name="connsiteY42" fmla="*/ 456848 h 569794"/>
                  <a:gd name="connsiteX43" fmla="*/ 219638 w 808992"/>
                  <a:gd name="connsiteY43" fmla="*/ 442217 h 569794"/>
                  <a:gd name="connsiteX44" fmla="*/ 139171 w 808992"/>
                  <a:gd name="connsiteY44" fmla="*/ 427587 h 569794"/>
                  <a:gd name="connsiteX45" fmla="*/ 124541 w 808992"/>
                  <a:gd name="connsiteY45" fmla="*/ 405641 h 569794"/>
                  <a:gd name="connsiteX46" fmla="*/ 102595 w 808992"/>
                  <a:gd name="connsiteY46" fmla="*/ 369065 h 569794"/>
                  <a:gd name="connsiteX47" fmla="*/ 44074 w 808992"/>
                  <a:gd name="connsiteY47" fmla="*/ 354435 h 569794"/>
                  <a:gd name="connsiteX48" fmla="*/ 22128 w 808992"/>
                  <a:gd name="connsiteY48" fmla="*/ 339805 h 569794"/>
                  <a:gd name="connsiteX49" fmla="*/ 182 w 808992"/>
                  <a:gd name="connsiteY49" fmla="*/ 347120 h 569794"/>
                  <a:gd name="connsiteX0" fmla="*/ 182 w 808992"/>
                  <a:gd name="connsiteY0" fmla="*/ 347120 h 569794"/>
                  <a:gd name="connsiteX1" fmla="*/ 36758 w 808992"/>
                  <a:gd name="connsiteY1" fmla="*/ 317859 h 569794"/>
                  <a:gd name="connsiteX2" fmla="*/ 44074 w 808992"/>
                  <a:gd name="connsiteY2" fmla="*/ 281283 h 569794"/>
                  <a:gd name="connsiteX3" fmla="*/ 58704 w 808992"/>
                  <a:gd name="connsiteY3" fmla="*/ 237392 h 569794"/>
                  <a:gd name="connsiteX4" fmla="*/ 73334 w 808992"/>
                  <a:gd name="connsiteY4" fmla="*/ 178870 h 569794"/>
                  <a:gd name="connsiteX5" fmla="*/ 80650 w 808992"/>
                  <a:gd name="connsiteY5" fmla="*/ 156925 h 569794"/>
                  <a:gd name="connsiteX6" fmla="*/ 95280 w 808992"/>
                  <a:gd name="connsiteY6" fmla="*/ 134979 h 569794"/>
                  <a:gd name="connsiteX7" fmla="*/ 117226 w 808992"/>
                  <a:gd name="connsiteY7" fmla="*/ 127664 h 569794"/>
                  <a:gd name="connsiteX8" fmla="*/ 219638 w 808992"/>
                  <a:gd name="connsiteY8" fmla="*/ 134979 h 569794"/>
                  <a:gd name="connsiteX9" fmla="*/ 251655 w 808992"/>
                  <a:gd name="connsiteY9" fmla="*/ 78357 h 569794"/>
                  <a:gd name="connsiteX10" fmla="*/ 424464 w 808992"/>
                  <a:gd name="connsiteY10" fmla="*/ 142294 h 569794"/>
                  <a:gd name="connsiteX11" fmla="*/ 446410 w 808992"/>
                  <a:gd name="connsiteY11" fmla="*/ 127664 h 569794"/>
                  <a:gd name="connsiteX12" fmla="*/ 475670 w 808992"/>
                  <a:gd name="connsiteY12" fmla="*/ 91088 h 569794"/>
                  <a:gd name="connsiteX13" fmla="*/ 429547 w 808992"/>
                  <a:gd name="connsiteY13" fmla="*/ 15703 h 569794"/>
                  <a:gd name="connsiteX14" fmla="*/ 512246 w 808992"/>
                  <a:gd name="connsiteY14" fmla="*/ 32566 h 569794"/>
                  <a:gd name="connsiteX15" fmla="*/ 534192 w 808992"/>
                  <a:gd name="connsiteY15" fmla="*/ 25251 h 569794"/>
                  <a:gd name="connsiteX16" fmla="*/ 556138 w 808992"/>
                  <a:gd name="connsiteY16" fmla="*/ 32566 h 569794"/>
                  <a:gd name="connsiteX17" fmla="*/ 632282 w 808992"/>
                  <a:gd name="connsiteY17" fmla="*/ 313 h 569794"/>
                  <a:gd name="connsiteX18" fmla="*/ 651235 w 808992"/>
                  <a:gd name="connsiteY18" fmla="*/ 17936 h 569794"/>
                  <a:gd name="connsiteX19" fmla="*/ 680496 w 808992"/>
                  <a:gd name="connsiteY19" fmla="*/ 76457 h 569794"/>
                  <a:gd name="connsiteX20" fmla="*/ 724387 w 808992"/>
                  <a:gd name="connsiteY20" fmla="*/ 91088 h 569794"/>
                  <a:gd name="connsiteX21" fmla="*/ 731702 w 808992"/>
                  <a:gd name="connsiteY21" fmla="*/ 149609 h 569794"/>
                  <a:gd name="connsiteX22" fmla="*/ 782909 w 808992"/>
                  <a:gd name="connsiteY22" fmla="*/ 156925 h 569794"/>
                  <a:gd name="connsiteX23" fmla="*/ 797539 w 808992"/>
                  <a:gd name="connsiteY23" fmla="*/ 200816 h 569794"/>
                  <a:gd name="connsiteX24" fmla="*/ 790224 w 808992"/>
                  <a:gd name="connsiteY24" fmla="*/ 259337 h 569794"/>
                  <a:gd name="connsiteX25" fmla="*/ 782909 w 808992"/>
                  <a:gd name="connsiteY25" fmla="*/ 281283 h 569794"/>
                  <a:gd name="connsiteX26" fmla="*/ 808037 w 808992"/>
                  <a:gd name="connsiteY26" fmla="*/ 407020 h 569794"/>
                  <a:gd name="connsiteX27" fmla="*/ 804854 w 808992"/>
                  <a:gd name="connsiteY27" fmla="*/ 456848 h 569794"/>
                  <a:gd name="connsiteX28" fmla="*/ 782909 w 808992"/>
                  <a:gd name="connsiteY28" fmla="*/ 471478 h 569794"/>
                  <a:gd name="connsiteX29" fmla="*/ 731702 w 808992"/>
                  <a:gd name="connsiteY29" fmla="*/ 478793 h 569794"/>
                  <a:gd name="connsiteX30" fmla="*/ 709757 w 808992"/>
                  <a:gd name="connsiteY30" fmla="*/ 486109 h 569794"/>
                  <a:gd name="connsiteX31" fmla="*/ 695126 w 808992"/>
                  <a:gd name="connsiteY31" fmla="*/ 500739 h 569794"/>
                  <a:gd name="connsiteX32" fmla="*/ 643920 w 808992"/>
                  <a:gd name="connsiteY32" fmla="*/ 515369 h 569794"/>
                  <a:gd name="connsiteX33" fmla="*/ 621974 w 808992"/>
                  <a:gd name="connsiteY33" fmla="*/ 522685 h 569794"/>
                  <a:gd name="connsiteX34" fmla="*/ 592714 w 808992"/>
                  <a:gd name="connsiteY34" fmla="*/ 530000 h 569794"/>
                  <a:gd name="connsiteX35" fmla="*/ 548822 w 808992"/>
                  <a:gd name="connsiteY35" fmla="*/ 544630 h 569794"/>
                  <a:gd name="connsiteX36" fmla="*/ 526877 w 808992"/>
                  <a:gd name="connsiteY36" fmla="*/ 569758 h 569794"/>
                  <a:gd name="connsiteX37" fmla="*/ 500799 w 808992"/>
                  <a:gd name="connsiteY37" fmla="*/ 538693 h 569794"/>
                  <a:gd name="connsiteX38" fmla="*/ 478853 w 808992"/>
                  <a:gd name="connsiteY38" fmla="*/ 490241 h 569794"/>
                  <a:gd name="connsiteX39" fmla="*/ 370929 w 808992"/>
                  <a:gd name="connsiteY39" fmla="*/ 506677 h 569794"/>
                  <a:gd name="connsiteX40" fmla="*/ 314736 w 808992"/>
                  <a:gd name="connsiteY40" fmla="*/ 471478 h 569794"/>
                  <a:gd name="connsiteX41" fmla="*/ 263530 w 808992"/>
                  <a:gd name="connsiteY41" fmla="*/ 464163 h 569794"/>
                  <a:gd name="connsiteX42" fmla="*/ 241584 w 808992"/>
                  <a:gd name="connsiteY42" fmla="*/ 456848 h 569794"/>
                  <a:gd name="connsiteX43" fmla="*/ 219638 w 808992"/>
                  <a:gd name="connsiteY43" fmla="*/ 442217 h 569794"/>
                  <a:gd name="connsiteX44" fmla="*/ 139171 w 808992"/>
                  <a:gd name="connsiteY44" fmla="*/ 427587 h 569794"/>
                  <a:gd name="connsiteX45" fmla="*/ 124541 w 808992"/>
                  <a:gd name="connsiteY45" fmla="*/ 405641 h 569794"/>
                  <a:gd name="connsiteX46" fmla="*/ 102595 w 808992"/>
                  <a:gd name="connsiteY46" fmla="*/ 369065 h 569794"/>
                  <a:gd name="connsiteX47" fmla="*/ 44074 w 808992"/>
                  <a:gd name="connsiteY47" fmla="*/ 354435 h 569794"/>
                  <a:gd name="connsiteX48" fmla="*/ 22128 w 808992"/>
                  <a:gd name="connsiteY48" fmla="*/ 339805 h 569794"/>
                  <a:gd name="connsiteX49" fmla="*/ 182 w 808992"/>
                  <a:gd name="connsiteY49" fmla="*/ 347120 h 569794"/>
                  <a:gd name="connsiteX0" fmla="*/ 182 w 808992"/>
                  <a:gd name="connsiteY0" fmla="*/ 347120 h 569794"/>
                  <a:gd name="connsiteX1" fmla="*/ 36758 w 808992"/>
                  <a:gd name="connsiteY1" fmla="*/ 317859 h 569794"/>
                  <a:gd name="connsiteX2" fmla="*/ 44074 w 808992"/>
                  <a:gd name="connsiteY2" fmla="*/ 281283 h 569794"/>
                  <a:gd name="connsiteX3" fmla="*/ 58704 w 808992"/>
                  <a:gd name="connsiteY3" fmla="*/ 237392 h 569794"/>
                  <a:gd name="connsiteX4" fmla="*/ 73334 w 808992"/>
                  <a:gd name="connsiteY4" fmla="*/ 178870 h 569794"/>
                  <a:gd name="connsiteX5" fmla="*/ 80650 w 808992"/>
                  <a:gd name="connsiteY5" fmla="*/ 156925 h 569794"/>
                  <a:gd name="connsiteX6" fmla="*/ 95280 w 808992"/>
                  <a:gd name="connsiteY6" fmla="*/ 134979 h 569794"/>
                  <a:gd name="connsiteX7" fmla="*/ 117226 w 808992"/>
                  <a:gd name="connsiteY7" fmla="*/ 127664 h 569794"/>
                  <a:gd name="connsiteX8" fmla="*/ 219638 w 808992"/>
                  <a:gd name="connsiteY8" fmla="*/ 134979 h 569794"/>
                  <a:gd name="connsiteX9" fmla="*/ 251655 w 808992"/>
                  <a:gd name="connsiteY9" fmla="*/ 78357 h 569794"/>
                  <a:gd name="connsiteX10" fmla="*/ 424464 w 808992"/>
                  <a:gd name="connsiteY10" fmla="*/ 142294 h 569794"/>
                  <a:gd name="connsiteX11" fmla="*/ 446410 w 808992"/>
                  <a:gd name="connsiteY11" fmla="*/ 127664 h 569794"/>
                  <a:gd name="connsiteX12" fmla="*/ 410356 w 808992"/>
                  <a:gd name="connsiteY12" fmla="*/ 49524 h 569794"/>
                  <a:gd name="connsiteX13" fmla="*/ 429547 w 808992"/>
                  <a:gd name="connsiteY13" fmla="*/ 15703 h 569794"/>
                  <a:gd name="connsiteX14" fmla="*/ 512246 w 808992"/>
                  <a:gd name="connsiteY14" fmla="*/ 32566 h 569794"/>
                  <a:gd name="connsiteX15" fmla="*/ 534192 w 808992"/>
                  <a:gd name="connsiteY15" fmla="*/ 25251 h 569794"/>
                  <a:gd name="connsiteX16" fmla="*/ 556138 w 808992"/>
                  <a:gd name="connsiteY16" fmla="*/ 32566 h 569794"/>
                  <a:gd name="connsiteX17" fmla="*/ 632282 w 808992"/>
                  <a:gd name="connsiteY17" fmla="*/ 313 h 569794"/>
                  <a:gd name="connsiteX18" fmla="*/ 651235 w 808992"/>
                  <a:gd name="connsiteY18" fmla="*/ 17936 h 569794"/>
                  <a:gd name="connsiteX19" fmla="*/ 680496 w 808992"/>
                  <a:gd name="connsiteY19" fmla="*/ 76457 h 569794"/>
                  <a:gd name="connsiteX20" fmla="*/ 724387 w 808992"/>
                  <a:gd name="connsiteY20" fmla="*/ 91088 h 569794"/>
                  <a:gd name="connsiteX21" fmla="*/ 731702 w 808992"/>
                  <a:gd name="connsiteY21" fmla="*/ 149609 h 569794"/>
                  <a:gd name="connsiteX22" fmla="*/ 782909 w 808992"/>
                  <a:gd name="connsiteY22" fmla="*/ 156925 h 569794"/>
                  <a:gd name="connsiteX23" fmla="*/ 797539 w 808992"/>
                  <a:gd name="connsiteY23" fmla="*/ 200816 h 569794"/>
                  <a:gd name="connsiteX24" fmla="*/ 790224 w 808992"/>
                  <a:gd name="connsiteY24" fmla="*/ 259337 h 569794"/>
                  <a:gd name="connsiteX25" fmla="*/ 782909 w 808992"/>
                  <a:gd name="connsiteY25" fmla="*/ 281283 h 569794"/>
                  <a:gd name="connsiteX26" fmla="*/ 808037 w 808992"/>
                  <a:gd name="connsiteY26" fmla="*/ 407020 h 569794"/>
                  <a:gd name="connsiteX27" fmla="*/ 804854 w 808992"/>
                  <a:gd name="connsiteY27" fmla="*/ 456848 h 569794"/>
                  <a:gd name="connsiteX28" fmla="*/ 782909 w 808992"/>
                  <a:gd name="connsiteY28" fmla="*/ 471478 h 569794"/>
                  <a:gd name="connsiteX29" fmla="*/ 731702 w 808992"/>
                  <a:gd name="connsiteY29" fmla="*/ 478793 h 569794"/>
                  <a:gd name="connsiteX30" fmla="*/ 709757 w 808992"/>
                  <a:gd name="connsiteY30" fmla="*/ 486109 h 569794"/>
                  <a:gd name="connsiteX31" fmla="*/ 695126 w 808992"/>
                  <a:gd name="connsiteY31" fmla="*/ 500739 h 569794"/>
                  <a:gd name="connsiteX32" fmla="*/ 643920 w 808992"/>
                  <a:gd name="connsiteY32" fmla="*/ 515369 h 569794"/>
                  <a:gd name="connsiteX33" fmla="*/ 621974 w 808992"/>
                  <a:gd name="connsiteY33" fmla="*/ 522685 h 569794"/>
                  <a:gd name="connsiteX34" fmla="*/ 592714 w 808992"/>
                  <a:gd name="connsiteY34" fmla="*/ 530000 h 569794"/>
                  <a:gd name="connsiteX35" fmla="*/ 548822 w 808992"/>
                  <a:gd name="connsiteY35" fmla="*/ 544630 h 569794"/>
                  <a:gd name="connsiteX36" fmla="*/ 526877 w 808992"/>
                  <a:gd name="connsiteY36" fmla="*/ 569758 h 569794"/>
                  <a:gd name="connsiteX37" fmla="*/ 500799 w 808992"/>
                  <a:gd name="connsiteY37" fmla="*/ 538693 h 569794"/>
                  <a:gd name="connsiteX38" fmla="*/ 478853 w 808992"/>
                  <a:gd name="connsiteY38" fmla="*/ 490241 h 569794"/>
                  <a:gd name="connsiteX39" fmla="*/ 370929 w 808992"/>
                  <a:gd name="connsiteY39" fmla="*/ 506677 h 569794"/>
                  <a:gd name="connsiteX40" fmla="*/ 314736 w 808992"/>
                  <a:gd name="connsiteY40" fmla="*/ 471478 h 569794"/>
                  <a:gd name="connsiteX41" fmla="*/ 263530 w 808992"/>
                  <a:gd name="connsiteY41" fmla="*/ 464163 h 569794"/>
                  <a:gd name="connsiteX42" fmla="*/ 241584 w 808992"/>
                  <a:gd name="connsiteY42" fmla="*/ 456848 h 569794"/>
                  <a:gd name="connsiteX43" fmla="*/ 219638 w 808992"/>
                  <a:gd name="connsiteY43" fmla="*/ 442217 h 569794"/>
                  <a:gd name="connsiteX44" fmla="*/ 139171 w 808992"/>
                  <a:gd name="connsiteY44" fmla="*/ 427587 h 569794"/>
                  <a:gd name="connsiteX45" fmla="*/ 124541 w 808992"/>
                  <a:gd name="connsiteY45" fmla="*/ 405641 h 569794"/>
                  <a:gd name="connsiteX46" fmla="*/ 102595 w 808992"/>
                  <a:gd name="connsiteY46" fmla="*/ 369065 h 569794"/>
                  <a:gd name="connsiteX47" fmla="*/ 44074 w 808992"/>
                  <a:gd name="connsiteY47" fmla="*/ 354435 h 569794"/>
                  <a:gd name="connsiteX48" fmla="*/ 22128 w 808992"/>
                  <a:gd name="connsiteY48" fmla="*/ 339805 h 569794"/>
                  <a:gd name="connsiteX49" fmla="*/ 182 w 808992"/>
                  <a:gd name="connsiteY49" fmla="*/ 347120 h 569794"/>
                  <a:gd name="connsiteX0" fmla="*/ 182 w 808992"/>
                  <a:gd name="connsiteY0" fmla="*/ 347120 h 569794"/>
                  <a:gd name="connsiteX1" fmla="*/ 36758 w 808992"/>
                  <a:gd name="connsiteY1" fmla="*/ 317859 h 569794"/>
                  <a:gd name="connsiteX2" fmla="*/ 44074 w 808992"/>
                  <a:gd name="connsiteY2" fmla="*/ 281283 h 569794"/>
                  <a:gd name="connsiteX3" fmla="*/ 58704 w 808992"/>
                  <a:gd name="connsiteY3" fmla="*/ 237392 h 569794"/>
                  <a:gd name="connsiteX4" fmla="*/ 73334 w 808992"/>
                  <a:gd name="connsiteY4" fmla="*/ 178870 h 569794"/>
                  <a:gd name="connsiteX5" fmla="*/ 80650 w 808992"/>
                  <a:gd name="connsiteY5" fmla="*/ 156925 h 569794"/>
                  <a:gd name="connsiteX6" fmla="*/ 95280 w 808992"/>
                  <a:gd name="connsiteY6" fmla="*/ 134979 h 569794"/>
                  <a:gd name="connsiteX7" fmla="*/ 117226 w 808992"/>
                  <a:gd name="connsiteY7" fmla="*/ 127664 h 569794"/>
                  <a:gd name="connsiteX8" fmla="*/ 219638 w 808992"/>
                  <a:gd name="connsiteY8" fmla="*/ 134979 h 569794"/>
                  <a:gd name="connsiteX9" fmla="*/ 263531 w 808992"/>
                  <a:gd name="connsiteY9" fmla="*/ 42731 h 569794"/>
                  <a:gd name="connsiteX10" fmla="*/ 424464 w 808992"/>
                  <a:gd name="connsiteY10" fmla="*/ 142294 h 569794"/>
                  <a:gd name="connsiteX11" fmla="*/ 446410 w 808992"/>
                  <a:gd name="connsiteY11" fmla="*/ 127664 h 569794"/>
                  <a:gd name="connsiteX12" fmla="*/ 410356 w 808992"/>
                  <a:gd name="connsiteY12" fmla="*/ 49524 h 569794"/>
                  <a:gd name="connsiteX13" fmla="*/ 429547 w 808992"/>
                  <a:gd name="connsiteY13" fmla="*/ 15703 h 569794"/>
                  <a:gd name="connsiteX14" fmla="*/ 512246 w 808992"/>
                  <a:gd name="connsiteY14" fmla="*/ 32566 h 569794"/>
                  <a:gd name="connsiteX15" fmla="*/ 534192 w 808992"/>
                  <a:gd name="connsiteY15" fmla="*/ 25251 h 569794"/>
                  <a:gd name="connsiteX16" fmla="*/ 556138 w 808992"/>
                  <a:gd name="connsiteY16" fmla="*/ 32566 h 569794"/>
                  <a:gd name="connsiteX17" fmla="*/ 632282 w 808992"/>
                  <a:gd name="connsiteY17" fmla="*/ 313 h 569794"/>
                  <a:gd name="connsiteX18" fmla="*/ 651235 w 808992"/>
                  <a:gd name="connsiteY18" fmla="*/ 17936 h 569794"/>
                  <a:gd name="connsiteX19" fmla="*/ 680496 w 808992"/>
                  <a:gd name="connsiteY19" fmla="*/ 76457 h 569794"/>
                  <a:gd name="connsiteX20" fmla="*/ 724387 w 808992"/>
                  <a:gd name="connsiteY20" fmla="*/ 91088 h 569794"/>
                  <a:gd name="connsiteX21" fmla="*/ 731702 w 808992"/>
                  <a:gd name="connsiteY21" fmla="*/ 149609 h 569794"/>
                  <a:gd name="connsiteX22" fmla="*/ 782909 w 808992"/>
                  <a:gd name="connsiteY22" fmla="*/ 156925 h 569794"/>
                  <a:gd name="connsiteX23" fmla="*/ 797539 w 808992"/>
                  <a:gd name="connsiteY23" fmla="*/ 200816 h 569794"/>
                  <a:gd name="connsiteX24" fmla="*/ 790224 w 808992"/>
                  <a:gd name="connsiteY24" fmla="*/ 259337 h 569794"/>
                  <a:gd name="connsiteX25" fmla="*/ 782909 w 808992"/>
                  <a:gd name="connsiteY25" fmla="*/ 281283 h 569794"/>
                  <a:gd name="connsiteX26" fmla="*/ 808037 w 808992"/>
                  <a:gd name="connsiteY26" fmla="*/ 407020 h 569794"/>
                  <a:gd name="connsiteX27" fmla="*/ 804854 w 808992"/>
                  <a:gd name="connsiteY27" fmla="*/ 456848 h 569794"/>
                  <a:gd name="connsiteX28" fmla="*/ 782909 w 808992"/>
                  <a:gd name="connsiteY28" fmla="*/ 471478 h 569794"/>
                  <a:gd name="connsiteX29" fmla="*/ 731702 w 808992"/>
                  <a:gd name="connsiteY29" fmla="*/ 478793 h 569794"/>
                  <a:gd name="connsiteX30" fmla="*/ 709757 w 808992"/>
                  <a:gd name="connsiteY30" fmla="*/ 486109 h 569794"/>
                  <a:gd name="connsiteX31" fmla="*/ 695126 w 808992"/>
                  <a:gd name="connsiteY31" fmla="*/ 500739 h 569794"/>
                  <a:gd name="connsiteX32" fmla="*/ 643920 w 808992"/>
                  <a:gd name="connsiteY32" fmla="*/ 515369 h 569794"/>
                  <a:gd name="connsiteX33" fmla="*/ 621974 w 808992"/>
                  <a:gd name="connsiteY33" fmla="*/ 522685 h 569794"/>
                  <a:gd name="connsiteX34" fmla="*/ 592714 w 808992"/>
                  <a:gd name="connsiteY34" fmla="*/ 530000 h 569794"/>
                  <a:gd name="connsiteX35" fmla="*/ 548822 w 808992"/>
                  <a:gd name="connsiteY35" fmla="*/ 544630 h 569794"/>
                  <a:gd name="connsiteX36" fmla="*/ 526877 w 808992"/>
                  <a:gd name="connsiteY36" fmla="*/ 569758 h 569794"/>
                  <a:gd name="connsiteX37" fmla="*/ 500799 w 808992"/>
                  <a:gd name="connsiteY37" fmla="*/ 538693 h 569794"/>
                  <a:gd name="connsiteX38" fmla="*/ 478853 w 808992"/>
                  <a:gd name="connsiteY38" fmla="*/ 490241 h 569794"/>
                  <a:gd name="connsiteX39" fmla="*/ 370929 w 808992"/>
                  <a:gd name="connsiteY39" fmla="*/ 506677 h 569794"/>
                  <a:gd name="connsiteX40" fmla="*/ 314736 w 808992"/>
                  <a:gd name="connsiteY40" fmla="*/ 471478 h 569794"/>
                  <a:gd name="connsiteX41" fmla="*/ 263530 w 808992"/>
                  <a:gd name="connsiteY41" fmla="*/ 464163 h 569794"/>
                  <a:gd name="connsiteX42" fmla="*/ 241584 w 808992"/>
                  <a:gd name="connsiteY42" fmla="*/ 456848 h 569794"/>
                  <a:gd name="connsiteX43" fmla="*/ 219638 w 808992"/>
                  <a:gd name="connsiteY43" fmla="*/ 442217 h 569794"/>
                  <a:gd name="connsiteX44" fmla="*/ 139171 w 808992"/>
                  <a:gd name="connsiteY44" fmla="*/ 427587 h 569794"/>
                  <a:gd name="connsiteX45" fmla="*/ 124541 w 808992"/>
                  <a:gd name="connsiteY45" fmla="*/ 405641 h 569794"/>
                  <a:gd name="connsiteX46" fmla="*/ 102595 w 808992"/>
                  <a:gd name="connsiteY46" fmla="*/ 369065 h 569794"/>
                  <a:gd name="connsiteX47" fmla="*/ 44074 w 808992"/>
                  <a:gd name="connsiteY47" fmla="*/ 354435 h 569794"/>
                  <a:gd name="connsiteX48" fmla="*/ 22128 w 808992"/>
                  <a:gd name="connsiteY48" fmla="*/ 339805 h 569794"/>
                  <a:gd name="connsiteX49" fmla="*/ 182 w 808992"/>
                  <a:gd name="connsiteY49" fmla="*/ 347120 h 569794"/>
                  <a:gd name="connsiteX0" fmla="*/ 182 w 808992"/>
                  <a:gd name="connsiteY0" fmla="*/ 347120 h 569794"/>
                  <a:gd name="connsiteX1" fmla="*/ 36758 w 808992"/>
                  <a:gd name="connsiteY1" fmla="*/ 317859 h 569794"/>
                  <a:gd name="connsiteX2" fmla="*/ 44074 w 808992"/>
                  <a:gd name="connsiteY2" fmla="*/ 281283 h 569794"/>
                  <a:gd name="connsiteX3" fmla="*/ 58704 w 808992"/>
                  <a:gd name="connsiteY3" fmla="*/ 237392 h 569794"/>
                  <a:gd name="connsiteX4" fmla="*/ 73334 w 808992"/>
                  <a:gd name="connsiteY4" fmla="*/ 178870 h 569794"/>
                  <a:gd name="connsiteX5" fmla="*/ 80650 w 808992"/>
                  <a:gd name="connsiteY5" fmla="*/ 156925 h 569794"/>
                  <a:gd name="connsiteX6" fmla="*/ 95280 w 808992"/>
                  <a:gd name="connsiteY6" fmla="*/ 134979 h 569794"/>
                  <a:gd name="connsiteX7" fmla="*/ 117226 w 808992"/>
                  <a:gd name="connsiteY7" fmla="*/ 127664 h 569794"/>
                  <a:gd name="connsiteX8" fmla="*/ 219638 w 808992"/>
                  <a:gd name="connsiteY8" fmla="*/ 134979 h 569794"/>
                  <a:gd name="connsiteX9" fmla="*/ 263531 w 808992"/>
                  <a:gd name="connsiteY9" fmla="*/ 42731 h 569794"/>
                  <a:gd name="connsiteX10" fmla="*/ 424464 w 808992"/>
                  <a:gd name="connsiteY10" fmla="*/ 142294 h 569794"/>
                  <a:gd name="connsiteX11" fmla="*/ 446410 w 808992"/>
                  <a:gd name="connsiteY11" fmla="*/ 127664 h 569794"/>
                  <a:gd name="connsiteX12" fmla="*/ 410356 w 808992"/>
                  <a:gd name="connsiteY12" fmla="*/ 49524 h 569794"/>
                  <a:gd name="connsiteX13" fmla="*/ 429547 w 808992"/>
                  <a:gd name="connsiteY13" fmla="*/ 15703 h 569794"/>
                  <a:gd name="connsiteX14" fmla="*/ 512246 w 808992"/>
                  <a:gd name="connsiteY14" fmla="*/ 32566 h 569794"/>
                  <a:gd name="connsiteX15" fmla="*/ 534192 w 808992"/>
                  <a:gd name="connsiteY15" fmla="*/ 25251 h 569794"/>
                  <a:gd name="connsiteX16" fmla="*/ 556138 w 808992"/>
                  <a:gd name="connsiteY16" fmla="*/ 32566 h 569794"/>
                  <a:gd name="connsiteX17" fmla="*/ 632282 w 808992"/>
                  <a:gd name="connsiteY17" fmla="*/ 313 h 569794"/>
                  <a:gd name="connsiteX18" fmla="*/ 651235 w 808992"/>
                  <a:gd name="connsiteY18" fmla="*/ 17936 h 569794"/>
                  <a:gd name="connsiteX19" fmla="*/ 680496 w 808992"/>
                  <a:gd name="connsiteY19" fmla="*/ 76457 h 569794"/>
                  <a:gd name="connsiteX20" fmla="*/ 724387 w 808992"/>
                  <a:gd name="connsiteY20" fmla="*/ 67338 h 569794"/>
                  <a:gd name="connsiteX21" fmla="*/ 731702 w 808992"/>
                  <a:gd name="connsiteY21" fmla="*/ 149609 h 569794"/>
                  <a:gd name="connsiteX22" fmla="*/ 782909 w 808992"/>
                  <a:gd name="connsiteY22" fmla="*/ 156925 h 569794"/>
                  <a:gd name="connsiteX23" fmla="*/ 797539 w 808992"/>
                  <a:gd name="connsiteY23" fmla="*/ 200816 h 569794"/>
                  <a:gd name="connsiteX24" fmla="*/ 790224 w 808992"/>
                  <a:gd name="connsiteY24" fmla="*/ 259337 h 569794"/>
                  <a:gd name="connsiteX25" fmla="*/ 782909 w 808992"/>
                  <a:gd name="connsiteY25" fmla="*/ 281283 h 569794"/>
                  <a:gd name="connsiteX26" fmla="*/ 808037 w 808992"/>
                  <a:gd name="connsiteY26" fmla="*/ 407020 h 569794"/>
                  <a:gd name="connsiteX27" fmla="*/ 804854 w 808992"/>
                  <a:gd name="connsiteY27" fmla="*/ 456848 h 569794"/>
                  <a:gd name="connsiteX28" fmla="*/ 782909 w 808992"/>
                  <a:gd name="connsiteY28" fmla="*/ 471478 h 569794"/>
                  <a:gd name="connsiteX29" fmla="*/ 731702 w 808992"/>
                  <a:gd name="connsiteY29" fmla="*/ 478793 h 569794"/>
                  <a:gd name="connsiteX30" fmla="*/ 709757 w 808992"/>
                  <a:gd name="connsiteY30" fmla="*/ 486109 h 569794"/>
                  <a:gd name="connsiteX31" fmla="*/ 695126 w 808992"/>
                  <a:gd name="connsiteY31" fmla="*/ 500739 h 569794"/>
                  <a:gd name="connsiteX32" fmla="*/ 643920 w 808992"/>
                  <a:gd name="connsiteY32" fmla="*/ 515369 h 569794"/>
                  <a:gd name="connsiteX33" fmla="*/ 621974 w 808992"/>
                  <a:gd name="connsiteY33" fmla="*/ 522685 h 569794"/>
                  <a:gd name="connsiteX34" fmla="*/ 592714 w 808992"/>
                  <a:gd name="connsiteY34" fmla="*/ 530000 h 569794"/>
                  <a:gd name="connsiteX35" fmla="*/ 548822 w 808992"/>
                  <a:gd name="connsiteY35" fmla="*/ 544630 h 569794"/>
                  <a:gd name="connsiteX36" fmla="*/ 526877 w 808992"/>
                  <a:gd name="connsiteY36" fmla="*/ 569758 h 569794"/>
                  <a:gd name="connsiteX37" fmla="*/ 500799 w 808992"/>
                  <a:gd name="connsiteY37" fmla="*/ 538693 h 569794"/>
                  <a:gd name="connsiteX38" fmla="*/ 478853 w 808992"/>
                  <a:gd name="connsiteY38" fmla="*/ 490241 h 569794"/>
                  <a:gd name="connsiteX39" fmla="*/ 370929 w 808992"/>
                  <a:gd name="connsiteY39" fmla="*/ 506677 h 569794"/>
                  <a:gd name="connsiteX40" fmla="*/ 314736 w 808992"/>
                  <a:gd name="connsiteY40" fmla="*/ 471478 h 569794"/>
                  <a:gd name="connsiteX41" fmla="*/ 263530 w 808992"/>
                  <a:gd name="connsiteY41" fmla="*/ 464163 h 569794"/>
                  <a:gd name="connsiteX42" fmla="*/ 241584 w 808992"/>
                  <a:gd name="connsiteY42" fmla="*/ 456848 h 569794"/>
                  <a:gd name="connsiteX43" fmla="*/ 219638 w 808992"/>
                  <a:gd name="connsiteY43" fmla="*/ 442217 h 569794"/>
                  <a:gd name="connsiteX44" fmla="*/ 139171 w 808992"/>
                  <a:gd name="connsiteY44" fmla="*/ 427587 h 569794"/>
                  <a:gd name="connsiteX45" fmla="*/ 124541 w 808992"/>
                  <a:gd name="connsiteY45" fmla="*/ 405641 h 569794"/>
                  <a:gd name="connsiteX46" fmla="*/ 102595 w 808992"/>
                  <a:gd name="connsiteY46" fmla="*/ 369065 h 569794"/>
                  <a:gd name="connsiteX47" fmla="*/ 44074 w 808992"/>
                  <a:gd name="connsiteY47" fmla="*/ 354435 h 569794"/>
                  <a:gd name="connsiteX48" fmla="*/ 22128 w 808992"/>
                  <a:gd name="connsiteY48" fmla="*/ 339805 h 569794"/>
                  <a:gd name="connsiteX49" fmla="*/ 182 w 808992"/>
                  <a:gd name="connsiteY49" fmla="*/ 347120 h 569794"/>
                  <a:gd name="connsiteX0" fmla="*/ 182 w 808992"/>
                  <a:gd name="connsiteY0" fmla="*/ 347120 h 569794"/>
                  <a:gd name="connsiteX1" fmla="*/ 36758 w 808992"/>
                  <a:gd name="connsiteY1" fmla="*/ 317859 h 569794"/>
                  <a:gd name="connsiteX2" fmla="*/ 44074 w 808992"/>
                  <a:gd name="connsiteY2" fmla="*/ 281283 h 569794"/>
                  <a:gd name="connsiteX3" fmla="*/ 58704 w 808992"/>
                  <a:gd name="connsiteY3" fmla="*/ 237392 h 569794"/>
                  <a:gd name="connsiteX4" fmla="*/ 73334 w 808992"/>
                  <a:gd name="connsiteY4" fmla="*/ 178870 h 569794"/>
                  <a:gd name="connsiteX5" fmla="*/ 80650 w 808992"/>
                  <a:gd name="connsiteY5" fmla="*/ 156925 h 569794"/>
                  <a:gd name="connsiteX6" fmla="*/ 95280 w 808992"/>
                  <a:gd name="connsiteY6" fmla="*/ 134979 h 569794"/>
                  <a:gd name="connsiteX7" fmla="*/ 117226 w 808992"/>
                  <a:gd name="connsiteY7" fmla="*/ 127664 h 569794"/>
                  <a:gd name="connsiteX8" fmla="*/ 219638 w 808992"/>
                  <a:gd name="connsiteY8" fmla="*/ 134979 h 569794"/>
                  <a:gd name="connsiteX9" fmla="*/ 263531 w 808992"/>
                  <a:gd name="connsiteY9" fmla="*/ 42731 h 569794"/>
                  <a:gd name="connsiteX10" fmla="*/ 424464 w 808992"/>
                  <a:gd name="connsiteY10" fmla="*/ 142294 h 569794"/>
                  <a:gd name="connsiteX11" fmla="*/ 446410 w 808992"/>
                  <a:gd name="connsiteY11" fmla="*/ 127664 h 569794"/>
                  <a:gd name="connsiteX12" fmla="*/ 410356 w 808992"/>
                  <a:gd name="connsiteY12" fmla="*/ 49524 h 569794"/>
                  <a:gd name="connsiteX13" fmla="*/ 429547 w 808992"/>
                  <a:gd name="connsiteY13" fmla="*/ 15703 h 569794"/>
                  <a:gd name="connsiteX14" fmla="*/ 512246 w 808992"/>
                  <a:gd name="connsiteY14" fmla="*/ 32566 h 569794"/>
                  <a:gd name="connsiteX15" fmla="*/ 534192 w 808992"/>
                  <a:gd name="connsiteY15" fmla="*/ 25251 h 569794"/>
                  <a:gd name="connsiteX16" fmla="*/ 556138 w 808992"/>
                  <a:gd name="connsiteY16" fmla="*/ 32566 h 569794"/>
                  <a:gd name="connsiteX17" fmla="*/ 632282 w 808992"/>
                  <a:gd name="connsiteY17" fmla="*/ 313 h 569794"/>
                  <a:gd name="connsiteX18" fmla="*/ 651235 w 808992"/>
                  <a:gd name="connsiteY18" fmla="*/ 17936 h 569794"/>
                  <a:gd name="connsiteX19" fmla="*/ 680496 w 808992"/>
                  <a:gd name="connsiteY19" fmla="*/ 76457 h 569794"/>
                  <a:gd name="connsiteX20" fmla="*/ 724387 w 808992"/>
                  <a:gd name="connsiteY20" fmla="*/ 67338 h 569794"/>
                  <a:gd name="connsiteX21" fmla="*/ 731702 w 808992"/>
                  <a:gd name="connsiteY21" fmla="*/ 149609 h 569794"/>
                  <a:gd name="connsiteX22" fmla="*/ 782909 w 808992"/>
                  <a:gd name="connsiteY22" fmla="*/ 133174 h 569794"/>
                  <a:gd name="connsiteX23" fmla="*/ 797539 w 808992"/>
                  <a:gd name="connsiteY23" fmla="*/ 200816 h 569794"/>
                  <a:gd name="connsiteX24" fmla="*/ 790224 w 808992"/>
                  <a:gd name="connsiteY24" fmla="*/ 259337 h 569794"/>
                  <a:gd name="connsiteX25" fmla="*/ 782909 w 808992"/>
                  <a:gd name="connsiteY25" fmla="*/ 281283 h 569794"/>
                  <a:gd name="connsiteX26" fmla="*/ 808037 w 808992"/>
                  <a:gd name="connsiteY26" fmla="*/ 407020 h 569794"/>
                  <a:gd name="connsiteX27" fmla="*/ 804854 w 808992"/>
                  <a:gd name="connsiteY27" fmla="*/ 456848 h 569794"/>
                  <a:gd name="connsiteX28" fmla="*/ 782909 w 808992"/>
                  <a:gd name="connsiteY28" fmla="*/ 471478 h 569794"/>
                  <a:gd name="connsiteX29" fmla="*/ 731702 w 808992"/>
                  <a:gd name="connsiteY29" fmla="*/ 478793 h 569794"/>
                  <a:gd name="connsiteX30" fmla="*/ 709757 w 808992"/>
                  <a:gd name="connsiteY30" fmla="*/ 486109 h 569794"/>
                  <a:gd name="connsiteX31" fmla="*/ 695126 w 808992"/>
                  <a:gd name="connsiteY31" fmla="*/ 500739 h 569794"/>
                  <a:gd name="connsiteX32" fmla="*/ 643920 w 808992"/>
                  <a:gd name="connsiteY32" fmla="*/ 515369 h 569794"/>
                  <a:gd name="connsiteX33" fmla="*/ 621974 w 808992"/>
                  <a:gd name="connsiteY33" fmla="*/ 522685 h 569794"/>
                  <a:gd name="connsiteX34" fmla="*/ 592714 w 808992"/>
                  <a:gd name="connsiteY34" fmla="*/ 530000 h 569794"/>
                  <a:gd name="connsiteX35" fmla="*/ 548822 w 808992"/>
                  <a:gd name="connsiteY35" fmla="*/ 544630 h 569794"/>
                  <a:gd name="connsiteX36" fmla="*/ 526877 w 808992"/>
                  <a:gd name="connsiteY36" fmla="*/ 569758 h 569794"/>
                  <a:gd name="connsiteX37" fmla="*/ 500799 w 808992"/>
                  <a:gd name="connsiteY37" fmla="*/ 538693 h 569794"/>
                  <a:gd name="connsiteX38" fmla="*/ 478853 w 808992"/>
                  <a:gd name="connsiteY38" fmla="*/ 490241 h 569794"/>
                  <a:gd name="connsiteX39" fmla="*/ 370929 w 808992"/>
                  <a:gd name="connsiteY39" fmla="*/ 506677 h 569794"/>
                  <a:gd name="connsiteX40" fmla="*/ 314736 w 808992"/>
                  <a:gd name="connsiteY40" fmla="*/ 471478 h 569794"/>
                  <a:gd name="connsiteX41" fmla="*/ 263530 w 808992"/>
                  <a:gd name="connsiteY41" fmla="*/ 464163 h 569794"/>
                  <a:gd name="connsiteX42" fmla="*/ 241584 w 808992"/>
                  <a:gd name="connsiteY42" fmla="*/ 456848 h 569794"/>
                  <a:gd name="connsiteX43" fmla="*/ 219638 w 808992"/>
                  <a:gd name="connsiteY43" fmla="*/ 442217 h 569794"/>
                  <a:gd name="connsiteX44" fmla="*/ 139171 w 808992"/>
                  <a:gd name="connsiteY44" fmla="*/ 427587 h 569794"/>
                  <a:gd name="connsiteX45" fmla="*/ 124541 w 808992"/>
                  <a:gd name="connsiteY45" fmla="*/ 405641 h 569794"/>
                  <a:gd name="connsiteX46" fmla="*/ 102595 w 808992"/>
                  <a:gd name="connsiteY46" fmla="*/ 369065 h 569794"/>
                  <a:gd name="connsiteX47" fmla="*/ 44074 w 808992"/>
                  <a:gd name="connsiteY47" fmla="*/ 354435 h 569794"/>
                  <a:gd name="connsiteX48" fmla="*/ 22128 w 808992"/>
                  <a:gd name="connsiteY48" fmla="*/ 339805 h 569794"/>
                  <a:gd name="connsiteX49" fmla="*/ 182 w 808992"/>
                  <a:gd name="connsiteY49" fmla="*/ 347120 h 569794"/>
                  <a:gd name="connsiteX0" fmla="*/ 182 w 808992"/>
                  <a:gd name="connsiteY0" fmla="*/ 348985 h 571659"/>
                  <a:gd name="connsiteX1" fmla="*/ 36758 w 808992"/>
                  <a:gd name="connsiteY1" fmla="*/ 319724 h 571659"/>
                  <a:gd name="connsiteX2" fmla="*/ 44074 w 808992"/>
                  <a:gd name="connsiteY2" fmla="*/ 283148 h 571659"/>
                  <a:gd name="connsiteX3" fmla="*/ 58704 w 808992"/>
                  <a:gd name="connsiteY3" fmla="*/ 239257 h 571659"/>
                  <a:gd name="connsiteX4" fmla="*/ 73334 w 808992"/>
                  <a:gd name="connsiteY4" fmla="*/ 180735 h 571659"/>
                  <a:gd name="connsiteX5" fmla="*/ 80650 w 808992"/>
                  <a:gd name="connsiteY5" fmla="*/ 158790 h 571659"/>
                  <a:gd name="connsiteX6" fmla="*/ 95280 w 808992"/>
                  <a:gd name="connsiteY6" fmla="*/ 136844 h 571659"/>
                  <a:gd name="connsiteX7" fmla="*/ 117226 w 808992"/>
                  <a:gd name="connsiteY7" fmla="*/ 129529 h 571659"/>
                  <a:gd name="connsiteX8" fmla="*/ 219638 w 808992"/>
                  <a:gd name="connsiteY8" fmla="*/ 136844 h 571659"/>
                  <a:gd name="connsiteX9" fmla="*/ 263531 w 808992"/>
                  <a:gd name="connsiteY9" fmla="*/ 44596 h 571659"/>
                  <a:gd name="connsiteX10" fmla="*/ 424464 w 808992"/>
                  <a:gd name="connsiteY10" fmla="*/ 144159 h 571659"/>
                  <a:gd name="connsiteX11" fmla="*/ 446410 w 808992"/>
                  <a:gd name="connsiteY11" fmla="*/ 129529 h 571659"/>
                  <a:gd name="connsiteX12" fmla="*/ 410356 w 808992"/>
                  <a:gd name="connsiteY12" fmla="*/ 51389 h 571659"/>
                  <a:gd name="connsiteX13" fmla="*/ 429547 w 808992"/>
                  <a:gd name="connsiteY13" fmla="*/ 17568 h 571659"/>
                  <a:gd name="connsiteX14" fmla="*/ 512246 w 808992"/>
                  <a:gd name="connsiteY14" fmla="*/ 34431 h 571659"/>
                  <a:gd name="connsiteX15" fmla="*/ 534192 w 808992"/>
                  <a:gd name="connsiteY15" fmla="*/ 27116 h 571659"/>
                  <a:gd name="connsiteX16" fmla="*/ 556138 w 808992"/>
                  <a:gd name="connsiteY16" fmla="*/ 34431 h 571659"/>
                  <a:gd name="connsiteX17" fmla="*/ 584781 w 808992"/>
                  <a:gd name="connsiteY17" fmla="*/ 2177 h 571659"/>
                  <a:gd name="connsiteX18" fmla="*/ 632282 w 808992"/>
                  <a:gd name="connsiteY18" fmla="*/ 2178 h 571659"/>
                  <a:gd name="connsiteX19" fmla="*/ 651235 w 808992"/>
                  <a:gd name="connsiteY19" fmla="*/ 19801 h 571659"/>
                  <a:gd name="connsiteX20" fmla="*/ 680496 w 808992"/>
                  <a:gd name="connsiteY20" fmla="*/ 78322 h 571659"/>
                  <a:gd name="connsiteX21" fmla="*/ 724387 w 808992"/>
                  <a:gd name="connsiteY21" fmla="*/ 69203 h 571659"/>
                  <a:gd name="connsiteX22" fmla="*/ 731702 w 808992"/>
                  <a:gd name="connsiteY22" fmla="*/ 151474 h 571659"/>
                  <a:gd name="connsiteX23" fmla="*/ 782909 w 808992"/>
                  <a:gd name="connsiteY23" fmla="*/ 135039 h 571659"/>
                  <a:gd name="connsiteX24" fmla="*/ 797539 w 808992"/>
                  <a:gd name="connsiteY24" fmla="*/ 202681 h 571659"/>
                  <a:gd name="connsiteX25" fmla="*/ 790224 w 808992"/>
                  <a:gd name="connsiteY25" fmla="*/ 261202 h 571659"/>
                  <a:gd name="connsiteX26" fmla="*/ 782909 w 808992"/>
                  <a:gd name="connsiteY26" fmla="*/ 283148 h 571659"/>
                  <a:gd name="connsiteX27" fmla="*/ 808037 w 808992"/>
                  <a:gd name="connsiteY27" fmla="*/ 408885 h 571659"/>
                  <a:gd name="connsiteX28" fmla="*/ 804854 w 808992"/>
                  <a:gd name="connsiteY28" fmla="*/ 458713 h 571659"/>
                  <a:gd name="connsiteX29" fmla="*/ 782909 w 808992"/>
                  <a:gd name="connsiteY29" fmla="*/ 473343 h 571659"/>
                  <a:gd name="connsiteX30" fmla="*/ 731702 w 808992"/>
                  <a:gd name="connsiteY30" fmla="*/ 480658 h 571659"/>
                  <a:gd name="connsiteX31" fmla="*/ 709757 w 808992"/>
                  <a:gd name="connsiteY31" fmla="*/ 487974 h 571659"/>
                  <a:gd name="connsiteX32" fmla="*/ 695126 w 808992"/>
                  <a:gd name="connsiteY32" fmla="*/ 502604 h 571659"/>
                  <a:gd name="connsiteX33" fmla="*/ 643920 w 808992"/>
                  <a:gd name="connsiteY33" fmla="*/ 517234 h 571659"/>
                  <a:gd name="connsiteX34" fmla="*/ 621974 w 808992"/>
                  <a:gd name="connsiteY34" fmla="*/ 524550 h 571659"/>
                  <a:gd name="connsiteX35" fmla="*/ 592714 w 808992"/>
                  <a:gd name="connsiteY35" fmla="*/ 531865 h 571659"/>
                  <a:gd name="connsiteX36" fmla="*/ 548822 w 808992"/>
                  <a:gd name="connsiteY36" fmla="*/ 546495 h 571659"/>
                  <a:gd name="connsiteX37" fmla="*/ 526877 w 808992"/>
                  <a:gd name="connsiteY37" fmla="*/ 571623 h 571659"/>
                  <a:gd name="connsiteX38" fmla="*/ 500799 w 808992"/>
                  <a:gd name="connsiteY38" fmla="*/ 540558 h 571659"/>
                  <a:gd name="connsiteX39" fmla="*/ 478853 w 808992"/>
                  <a:gd name="connsiteY39" fmla="*/ 492106 h 571659"/>
                  <a:gd name="connsiteX40" fmla="*/ 370929 w 808992"/>
                  <a:gd name="connsiteY40" fmla="*/ 508542 h 571659"/>
                  <a:gd name="connsiteX41" fmla="*/ 314736 w 808992"/>
                  <a:gd name="connsiteY41" fmla="*/ 473343 h 571659"/>
                  <a:gd name="connsiteX42" fmla="*/ 263530 w 808992"/>
                  <a:gd name="connsiteY42" fmla="*/ 466028 h 571659"/>
                  <a:gd name="connsiteX43" fmla="*/ 241584 w 808992"/>
                  <a:gd name="connsiteY43" fmla="*/ 458713 h 571659"/>
                  <a:gd name="connsiteX44" fmla="*/ 219638 w 808992"/>
                  <a:gd name="connsiteY44" fmla="*/ 444082 h 571659"/>
                  <a:gd name="connsiteX45" fmla="*/ 139171 w 808992"/>
                  <a:gd name="connsiteY45" fmla="*/ 429452 h 571659"/>
                  <a:gd name="connsiteX46" fmla="*/ 124541 w 808992"/>
                  <a:gd name="connsiteY46" fmla="*/ 407506 h 571659"/>
                  <a:gd name="connsiteX47" fmla="*/ 102595 w 808992"/>
                  <a:gd name="connsiteY47" fmla="*/ 370930 h 571659"/>
                  <a:gd name="connsiteX48" fmla="*/ 44074 w 808992"/>
                  <a:gd name="connsiteY48" fmla="*/ 356300 h 571659"/>
                  <a:gd name="connsiteX49" fmla="*/ 22128 w 808992"/>
                  <a:gd name="connsiteY49" fmla="*/ 341670 h 571659"/>
                  <a:gd name="connsiteX50" fmla="*/ 182 w 808992"/>
                  <a:gd name="connsiteY50" fmla="*/ 348985 h 571659"/>
                  <a:gd name="connsiteX0" fmla="*/ 182 w 808992"/>
                  <a:gd name="connsiteY0" fmla="*/ 348985 h 571659"/>
                  <a:gd name="connsiteX1" fmla="*/ 36758 w 808992"/>
                  <a:gd name="connsiteY1" fmla="*/ 319724 h 571659"/>
                  <a:gd name="connsiteX2" fmla="*/ 44074 w 808992"/>
                  <a:gd name="connsiteY2" fmla="*/ 283148 h 571659"/>
                  <a:gd name="connsiteX3" fmla="*/ 58704 w 808992"/>
                  <a:gd name="connsiteY3" fmla="*/ 239257 h 571659"/>
                  <a:gd name="connsiteX4" fmla="*/ 73334 w 808992"/>
                  <a:gd name="connsiteY4" fmla="*/ 180735 h 571659"/>
                  <a:gd name="connsiteX5" fmla="*/ 80650 w 808992"/>
                  <a:gd name="connsiteY5" fmla="*/ 158790 h 571659"/>
                  <a:gd name="connsiteX6" fmla="*/ 95280 w 808992"/>
                  <a:gd name="connsiteY6" fmla="*/ 136844 h 571659"/>
                  <a:gd name="connsiteX7" fmla="*/ 117226 w 808992"/>
                  <a:gd name="connsiteY7" fmla="*/ 129529 h 571659"/>
                  <a:gd name="connsiteX8" fmla="*/ 219638 w 808992"/>
                  <a:gd name="connsiteY8" fmla="*/ 136844 h 571659"/>
                  <a:gd name="connsiteX9" fmla="*/ 263531 w 808992"/>
                  <a:gd name="connsiteY9" fmla="*/ 44596 h 571659"/>
                  <a:gd name="connsiteX10" fmla="*/ 424464 w 808992"/>
                  <a:gd name="connsiteY10" fmla="*/ 144159 h 571659"/>
                  <a:gd name="connsiteX11" fmla="*/ 446410 w 808992"/>
                  <a:gd name="connsiteY11" fmla="*/ 129529 h 571659"/>
                  <a:gd name="connsiteX12" fmla="*/ 410356 w 808992"/>
                  <a:gd name="connsiteY12" fmla="*/ 51389 h 571659"/>
                  <a:gd name="connsiteX13" fmla="*/ 429547 w 808992"/>
                  <a:gd name="connsiteY13" fmla="*/ 17568 h 571659"/>
                  <a:gd name="connsiteX14" fmla="*/ 512246 w 808992"/>
                  <a:gd name="connsiteY14" fmla="*/ 34431 h 571659"/>
                  <a:gd name="connsiteX15" fmla="*/ 534192 w 808992"/>
                  <a:gd name="connsiteY15" fmla="*/ 27116 h 571659"/>
                  <a:gd name="connsiteX16" fmla="*/ 556138 w 808992"/>
                  <a:gd name="connsiteY16" fmla="*/ 34431 h 571659"/>
                  <a:gd name="connsiteX17" fmla="*/ 584781 w 808992"/>
                  <a:gd name="connsiteY17" fmla="*/ 2177 h 571659"/>
                  <a:gd name="connsiteX18" fmla="*/ 632282 w 808992"/>
                  <a:gd name="connsiteY18" fmla="*/ 2178 h 571659"/>
                  <a:gd name="connsiteX19" fmla="*/ 651235 w 808992"/>
                  <a:gd name="connsiteY19" fmla="*/ 19801 h 571659"/>
                  <a:gd name="connsiteX20" fmla="*/ 680496 w 808992"/>
                  <a:gd name="connsiteY20" fmla="*/ 78322 h 571659"/>
                  <a:gd name="connsiteX21" fmla="*/ 724387 w 808992"/>
                  <a:gd name="connsiteY21" fmla="*/ 69203 h 571659"/>
                  <a:gd name="connsiteX22" fmla="*/ 731702 w 808992"/>
                  <a:gd name="connsiteY22" fmla="*/ 151474 h 571659"/>
                  <a:gd name="connsiteX23" fmla="*/ 782909 w 808992"/>
                  <a:gd name="connsiteY23" fmla="*/ 135039 h 571659"/>
                  <a:gd name="connsiteX24" fmla="*/ 797539 w 808992"/>
                  <a:gd name="connsiteY24" fmla="*/ 202681 h 571659"/>
                  <a:gd name="connsiteX25" fmla="*/ 790224 w 808992"/>
                  <a:gd name="connsiteY25" fmla="*/ 261202 h 571659"/>
                  <a:gd name="connsiteX26" fmla="*/ 782909 w 808992"/>
                  <a:gd name="connsiteY26" fmla="*/ 283148 h 571659"/>
                  <a:gd name="connsiteX27" fmla="*/ 808037 w 808992"/>
                  <a:gd name="connsiteY27" fmla="*/ 408885 h 571659"/>
                  <a:gd name="connsiteX28" fmla="*/ 804854 w 808992"/>
                  <a:gd name="connsiteY28" fmla="*/ 458713 h 571659"/>
                  <a:gd name="connsiteX29" fmla="*/ 782909 w 808992"/>
                  <a:gd name="connsiteY29" fmla="*/ 473343 h 571659"/>
                  <a:gd name="connsiteX30" fmla="*/ 767328 w 808992"/>
                  <a:gd name="connsiteY30" fmla="*/ 492533 h 571659"/>
                  <a:gd name="connsiteX31" fmla="*/ 709757 w 808992"/>
                  <a:gd name="connsiteY31" fmla="*/ 487974 h 571659"/>
                  <a:gd name="connsiteX32" fmla="*/ 695126 w 808992"/>
                  <a:gd name="connsiteY32" fmla="*/ 502604 h 571659"/>
                  <a:gd name="connsiteX33" fmla="*/ 643920 w 808992"/>
                  <a:gd name="connsiteY33" fmla="*/ 517234 h 571659"/>
                  <a:gd name="connsiteX34" fmla="*/ 621974 w 808992"/>
                  <a:gd name="connsiteY34" fmla="*/ 524550 h 571659"/>
                  <a:gd name="connsiteX35" fmla="*/ 592714 w 808992"/>
                  <a:gd name="connsiteY35" fmla="*/ 531865 h 571659"/>
                  <a:gd name="connsiteX36" fmla="*/ 548822 w 808992"/>
                  <a:gd name="connsiteY36" fmla="*/ 546495 h 571659"/>
                  <a:gd name="connsiteX37" fmla="*/ 526877 w 808992"/>
                  <a:gd name="connsiteY37" fmla="*/ 571623 h 571659"/>
                  <a:gd name="connsiteX38" fmla="*/ 500799 w 808992"/>
                  <a:gd name="connsiteY38" fmla="*/ 540558 h 571659"/>
                  <a:gd name="connsiteX39" fmla="*/ 478853 w 808992"/>
                  <a:gd name="connsiteY39" fmla="*/ 492106 h 571659"/>
                  <a:gd name="connsiteX40" fmla="*/ 370929 w 808992"/>
                  <a:gd name="connsiteY40" fmla="*/ 508542 h 571659"/>
                  <a:gd name="connsiteX41" fmla="*/ 314736 w 808992"/>
                  <a:gd name="connsiteY41" fmla="*/ 473343 h 571659"/>
                  <a:gd name="connsiteX42" fmla="*/ 263530 w 808992"/>
                  <a:gd name="connsiteY42" fmla="*/ 466028 h 571659"/>
                  <a:gd name="connsiteX43" fmla="*/ 241584 w 808992"/>
                  <a:gd name="connsiteY43" fmla="*/ 458713 h 571659"/>
                  <a:gd name="connsiteX44" fmla="*/ 219638 w 808992"/>
                  <a:gd name="connsiteY44" fmla="*/ 444082 h 571659"/>
                  <a:gd name="connsiteX45" fmla="*/ 139171 w 808992"/>
                  <a:gd name="connsiteY45" fmla="*/ 429452 h 571659"/>
                  <a:gd name="connsiteX46" fmla="*/ 124541 w 808992"/>
                  <a:gd name="connsiteY46" fmla="*/ 407506 h 571659"/>
                  <a:gd name="connsiteX47" fmla="*/ 102595 w 808992"/>
                  <a:gd name="connsiteY47" fmla="*/ 370930 h 571659"/>
                  <a:gd name="connsiteX48" fmla="*/ 44074 w 808992"/>
                  <a:gd name="connsiteY48" fmla="*/ 356300 h 571659"/>
                  <a:gd name="connsiteX49" fmla="*/ 22128 w 808992"/>
                  <a:gd name="connsiteY49" fmla="*/ 341670 h 571659"/>
                  <a:gd name="connsiteX50" fmla="*/ 182 w 808992"/>
                  <a:gd name="connsiteY50" fmla="*/ 348985 h 571659"/>
                  <a:gd name="connsiteX0" fmla="*/ 182 w 808992"/>
                  <a:gd name="connsiteY0" fmla="*/ 348985 h 571659"/>
                  <a:gd name="connsiteX1" fmla="*/ 36758 w 808992"/>
                  <a:gd name="connsiteY1" fmla="*/ 319724 h 571659"/>
                  <a:gd name="connsiteX2" fmla="*/ 44074 w 808992"/>
                  <a:gd name="connsiteY2" fmla="*/ 283148 h 571659"/>
                  <a:gd name="connsiteX3" fmla="*/ 58704 w 808992"/>
                  <a:gd name="connsiteY3" fmla="*/ 239257 h 571659"/>
                  <a:gd name="connsiteX4" fmla="*/ 73334 w 808992"/>
                  <a:gd name="connsiteY4" fmla="*/ 180735 h 571659"/>
                  <a:gd name="connsiteX5" fmla="*/ 80650 w 808992"/>
                  <a:gd name="connsiteY5" fmla="*/ 158790 h 571659"/>
                  <a:gd name="connsiteX6" fmla="*/ 95280 w 808992"/>
                  <a:gd name="connsiteY6" fmla="*/ 136844 h 571659"/>
                  <a:gd name="connsiteX7" fmla="*/ 117226 w 808992"/>
                  <a:gd name="connsiteY7" fmla="*/ 129529 h 571659"/>
                  <a:gd name="connsiteX8" fmla="*/ 219638 w 808992"/>
                  <a:gd name="connsiteY8" fmla="*/ 136844 h 571659"/>
                  <a:gd name="connsiteX9" fmla="*/ 263531 w 808992"/>
                  <a:gd name="connsiteY9" fmla="*/ 44596 h 571659"/>
                  <a:gd name="connsiteX10" fmla="*/ 424464 w 808992"/>
                  <a:gd name="connsiteY10" fmla="*/ 144159 h 571659"/>
                  <a:gd name="connsiteX11" fmla="*/ 446410 w 808992"/>
                  <a:gd name="connsiteY11" fmla="*/ 129529 h 571659"/>
                  <a:gd name="connsiteX12" fmla="*/ 410356 w 808992"/>
                  <a:gd name="connsiteY12" fmla="*/ 51389 h 571659"/>
                  <a:gd name="connsiteX13" fmla="*/ 429547 w 808992"/>
                  <a:gd name="connsiteY13" fmla="*/ 17568 h 571659"/>
                  <a:gd name="connsiteX14" fmla="*/ 512246 w 808992"/>
                  <a:gd name="connsiteY14" fmla="*/ 34431 h 571659"/>
                  <a:gd name="connsiteX15" fmla="*/ 534192 w 808992"/>
                  <a:gd name="connsiteY15" fmla="*/ 27116 h 571659"/>
                  <a:gd name="connsiteX16" fmla="*/ 556138 w 808992"/>
                  <a:gd name="connsiteY16" fmla="*/ 34431 h 571659"/>
                  <a:gd name="connsiteX17" fmla="*/ 584781 w 808992"/>
                  <a:gd name="connsiteY17" fmla="*/ 2177 h 571659"/>
                  <a:gd name="connsiteX18" fmla="*/ 632282 w 808992"/>
                  <a:gd name="connsiteY18" fmla="*/ 2178 h 571659"/>
                  <a:gd name="connsiteX19" fmla="*/ 651235 w 808992"/>
                  <a:gd name="connsiteY19" fmla="*/ 19801 h 571659"/>
                  <a:gd name="connsiteX20" fmla="*/ 680496 w 808992"/>
                  <a:gd name="connsiteY20" fmla="*/ 78322 h 571659"/>
                  <a:gd name="connsiteX21" fmla="*/ 724387 w 808992"/>
                  <a:gd name="connsiteY21" fmla="*/ 69203 h 571659"/>
                  <a:gd name="connsiteX22" fmla="*/ 731702 w 808992"/>
                  <a:gd name="connsiteY22" fmla="*/ 151474 h 571659"/>
                  <a:gd name="connsiteX23" fmla="*/ 782909 w 808992"/>
                  <a:gd name="connsiteY23" fmla="*/ 135039 h 571659"/>
                  <a:gd name="connsiteX24" fmla="*/ 797539 w 808992"/>
                  <a:gd name="connsiteY24" fmla="*/ 202681 h 571659"/>
                  <a:gd name="connsiteX25" fmla="*/ 790224 w 808992"/>
                  <a:gd name="connsiteY25" fmla="*/ 261202 h 571659"/>
                  <a:gd name="connsiteX26" fmla="*/ 782909 w 808992"/>
                  <a:gd name="connsiteY26" fmla="*/ 283148 h 571659"/>
                  <a:gd name="connsiteX27" fmla="*/ 808037 w 808992"/>
                  <a:gd name="connsiteY27" fmla="*/ 408885 h 571659"/>
                  <a:gd name="connsiteX28" fmla="*/ 804854 w 808992"/>
                  <a:gd name="connsiteY28" fmla="*/ 458713 h 571659"/>
                  <a:gd name="connsiteX29" fmla="*/ 782909 w 808992"/>
                  <a:gd name="connsiteY29" fmla="*/ 473343 h 571659"/>
                  <a:gd name="connsiteX30" fmla="*/ 767328 w 808992"/>
                  <a:gd name="connsiteY30" fmla="*/ 492533 h 571659"/>
                  <a:gd name="connsiteX31" fmla="*/ 709757 w 808992"/>
                  <a:gd name="connsiteY31" fmla="*/ 487974 h 571659"/>
                  <a:gd name="connsiteX32" fmla="*/ 695126 w 808992"/>
                  <a:gd name="connsiteY32" fmla="*/ 502604 h 571659"/>
                  <a:gd name="connsiteX33" fmla="*/ 643920 w 808992"/>
                  <a:gd name="connsiteY33" fmla="*/ 517234 h 571659"/>
                  <a:gd name="connsiteX34" fmla="*/ 621974 w 808992"/>
                  <a:gd name="connsiteY34" fmla="*/ 524550 h 571659"/>
                  <a:gd name="connsiteX35" fmla="*/ 592714 w 808992"/>
                  <a:gd name="connsiteY35" fmla="*/ 531865 h 571659"/>
                  <a:gd name="connsiteX36" fmla="*/ 548822 w 808992"/>
                  <a:gd name="connsiteY36" fmla="*/ 546495 h 571659"/>
                  <a:gd name="connsiteX37" fmla="*/ 526877 w 808992"/>
                  <a:gd name="connsiteY37" fmla="*/ 571623 h 571659"/>
                  <a:gd name="connsiteX38" fmla="*/ 500799 w 808992"/>
                  <a:gd name="connsiteY38" fmla="*/ 540558 h 571659"/>
                  <a:gd name="connsiteX39" fmla="*/ 478853 w 808992"/>
                  <a:gd name="connsiteY39" fmla="*/ 492106 h 571659"/>
                  <a:gd name="connsiteX40" fmla="*/ 370929 w 808992"/>
                  <a:gd name="connsiteY40" fmla="*/ 508542 h 571659"/>
                  <a:gd name="connsiteX41" fmla="*/ 314736 w 808992"/>
                  <a:gd name="connsiteY41" fmla="*/ 473343 h 571659"/>
                  <a:gd name="connsiteX42" fmla="*/ 263530 w 808992"/>
                  <a:gd name="connsiteY42" fmla="*/ 466028 h 571659"/>
                  <a:gd name="connsiteX43" fmla="*/ 241584 w 808992"/>
                  <a:gd name="connsiteY43" fmla="*/ 458713 h 571659"/>
                  <a:gd name="connsiteX44" fmla="*/ 219638 w 808992"/>
                  <a:gd name="connsiteY44" fmla="*/ 444082 h 571659"/>
                  <a:gd name="connsiteX45" fmla="*/ 139171 w 808992"/>
                  <a:gd name="connsiteY45" fmla="*/ 429452 h 571659"/>
                  <a:gd name="connsiteX46" fmla="*/ 106728 w 808992"/>
                  <a:gd name="connsiteY46" fmla="*/ 407506 h 571659"/>
                  <a:gd name="connsiteX47" fmla="*/ 102595 w 808992"/>
                  <a:gd name="connsiteY47" fmla="*/ 370930 h 571659"/>
                  <a:gd name="connsiteX48" fmla="*/ 44074 w 808992"/>
                  <a:gd name="connsiteY48" fmla="*/ 356300 h 571659"/>
                  <a:gd name="connsiteX49" fmla="*/ 22128 w 808992"/>
                  <a:gd name="connsiteY49" fmla="*/ 341670 h 571659"/>
                  <a:gd name="connsiteX50" fmla="*/ 182 w 808992"/>
                  <a:gd name="connsiteY50" fmla="*/ 348985 h 571659"/>
                  <a:gd name="connsiteX0" fmla="*/ 182 w 808992"/>
                  <a:gd name="connsiteY0" fmla="*/ 360738 h 583412"/>
                  <a:gd name="connsiteX1" fmla="*/ 36758 w 808992"/>
                  <a:gd name="connsiteY1" fmla="*/ 331477 h 583412"/>
                  <a:gd name="connsiteX2" fmla="*/ 44074 w 808992"/>
                  <a:gd name="connsiteY2" fmla="*/ 294901 h 583412"/>
                  <a:gd name="connsiteX3" fmla="*/ 58704 w 808992"/>
                  <a:gd name="connsiteY3" fmla="*/ 251010 h 583412"/>
                  <a:gd name="connsiteX4" fmla="*/ 73334 w 808992"/>
                  <a:gd name="connsiteY4" fmla="*/ 192488 h 583412"/>
                  <a:gd name="connsiteX5" fmla="*/ 80650 w 808992"/>
                  <a:gd name="connsiteY5" fmla="*/ 170543 h 583412"/>
                  <a:gd name="connsiteX6" fmla="*/ 95280 w 808992"/>
                  <a:gd name="connsiteY6" fmla="*/ 148597 h 583412"/>
                  <a:gd name="connsiteX7" fmla="*/ 117226 w 808992"/>
                  <a:gd name="connsiteY7" fmla="*/ 141282 h 583412"/>
                  <a:gd name="connsiteX8" fmla="*/ 219638 w 808992"/>
                  <a:gd name="connsiteY8" fmla="*/ 148597 h 583412"/>
                  <a:gd name="connsiteX9" fmla="*/ 263531 w 808992"/>
                  <a:gd name="connsiteY9" fmla="*/ 56349 h 583412"/>
                  <a:gd name="connsiteX10" fmla="*/ 424464 w 808992"/>
                  <a:gd name="connsiteY10" fmla="*/ 155912 h 583412"/>
                  <a:gd name="connsiteX11" fmla="*/ 446410 w 808992"/>
                  <a:gd name="connsiteY11" fmla="*/ 141282 h 583412"/>
                  <a:gd name="connsiteX12" fmla="*/ 410356 w 808992"/>
                  <a:gd name="connsiteY12" fmla="*/ 63142 h 583412"/>
                  <a:gd name="connsiteX13" fmla="*/ 429547 w 808992"/>
                  <a:gd name="connsiteY13" fmla="*/ 29321 h 583412"/>
                  <a:gd name="connsiteX14" fmla="*/ 512246 w 808992"/>
                  <a:gd name="connsiteY14" fmla="*/ 46184 h 583412"/>
                  <a:gd name="connsiteX15" fmla="*/ 534192 w 808992"/>
                  <a:gd name="connsiteY15" fmla="*/ 38869 h 583412"/>
                  <a:gd name="connsiteX16" fmla="*/ 556138 w 808992"/>
                  <a:gd name="connsiteY16" fmla="*/ 46184 h 583412"/>
                  <a:gd name="connsiteX17" fmla="*/ 584781 w 808992"/>
                  <a:gd name="connsiteY17" fmla="*/ 13930 h 583412"/>
                  <a:gd name="connsiteX18" fmla="*/ 632282 w 808992"/>
                  <a:gd name="connsiteY18" fmla="*/ 13931 h 583412"/>
                  <a:gd name="connsiteX19" fmla="*/ 657173 w 808992"/>
                  <a:gd name="connsiteY19" fmla="*/ 1866 h 583412"/>
                  <a:gd name="connsiteX20" fmla="*/ 680496 w 808992"/>
                  <a:gd name="connsiteY20" fmla="*/ 90075 h 583412"/>
                  <a:gd name="connsiteX21" fmla="*/ 724387 w 808992"/>
                  <a:gd name="connsiteY21" fmla="*/ 80956 h 583412"/>
                  <a:gd name="connsiteX22" fmla="*/ 731702 w 808992"/>
                  <a:gd name="connsiteY22" fmla="*/ 163227 h 583412"/>
                  <a:gd name="connsiteX23" fmla="*/ 782909 w 808992"/>
                  <a:gd name="connsiteY23" fmla="*/ 146792 h 583412"/>
                  <a:gd name="connsiteX24" fmla="*/ 797539 w 808992"/>
                  <a:gd name="connsiteY24" fmla="*/ 214434 h 583412"/>
                  <a:gd name="connsiteX25" fmla="*/ 790224 w 808992"/>
                  <a:gd name="connsiteY25" fmla="*/ 272955 h 583412"/>
                  <a:gd name="connsiteX26" fmla="*/ 782909 w 808992"/>
                  <a:gd name="connsiteY26" fmla="*/ 294901 h 583412"/>
                  <a:gd name="connsiteX27" fmla="*/ 808037 w 808992"/>
                  <a:gd name="connsiteY27" fmla="*/ 420638 h 583412"/>
                  <a:gd name="connsiteX28" fmla="*/ 804854 w 808992"/>
                  <a:gd name="connsiteY28" fmla="*/ 470466 h 583412"/>
                  <a:gd name="connsiteX29" fmla="*/ 782909 w 808992"/>
                  <a:gd name="connsiteY29" fmla="*/ 485096 h 583412"/>
                  <a:gd name="connsiteX30" fmla="*/ 767328 w 808992"/>
                  <a:gd name="connsiteY30" fmla="*/ 504286 h 583412"/>
                  <a:gd name="connsiteX31" fmla="*/ 709757 w 808992"/>
                  <a:gd name="connsiteY31" fmla="*/ 499727 h 583412"/>
                  <a:gd name="connsiteX32" fmla="*/ 695126 w 808992"/>
                  <a:gd name="connsiteY32" fmla="*/ 514357 h 583412"/>
                  <a:gd name="connsiteX33" fmla="*/ 643920 w 808992"/>
                  <a:gd name="connsiteY33" fmla="*/ 528987 h 583412"/>
                  <a:gd name="connsiteX34" fmla="*/ 621974 w 808992"/>
                  <a:gd name="connsiteY34" fmla="*/ 536303 h 583412"/>
                  <a:gd name="connsiteX35" fmla="*/ 592714 w 808992"/>
                  <a:gd name="connsiteY35" fmla="*/ 543618 h 583412"/>
                  <a:gd name="connsiteX36" fmla="*/ 548822 w 808992"/>
                  <a:gd name="connsiteY36" fmla="*/ 558248 h 583412"/>
                  <a:gd name="connsiteX37" fmla="*/ 526877 w 808992"/>
                  <a:gd name="connsiteY37" fmla="*/ 583376 h 583412"/>
                  <a:gd name="connsiteX38" fmla="*/ 500799 w 808992"/>
                  <a:gd name="connsiteY38" fmla="*/ 552311 h 583412"/>
                  <a:gd name="connsiteX39" fmla="*/ 478853 w 808992"/>
                  <a:gd name="connsiteY39" fmla="*/ 503859 h 583412"/>
                  <a:gd name="connsiteX40" fmla="*/ 370929 w 808992"/>
                  <a:gd name="connsiteY40" fmla="*/ 520295 h 583412"/>
                  <a:gd name="connsiteX41" fmla="*/ 314736 w 808992"/>
                  <a:gd name="connsiteY41" fmla="*/ 485096 h 583412"/>
                  <a:gd name="connsiteX42" fmla="*/ 263530 w 808992"/>
                  <a:gd name="connsiteY42" fmla="*/ 477781 h 583412"/>
                  <a:gd name="connsiteX43" fmla="*/ 241584 w 808992"/>
                  <a:gd name="connsiteY43" fmla="*/ 470466 h 583412"/>
                  <a:gd name="connsiteX44" fmla="*/ 219638 w 808992"/>
                  <a:gd name="connsiteY44" fmla="*/ 455835 h 583412"/>
                  <a:gd name="connsiteX45" fmla="*/ 139171 w 808992"/>
                  <a:gd name="connsiteY45" fmla="*/ 441205 h 583412"/>
                  <a:gd name="connsiteX46" fmla="*/ 106728 w 808992"/>
                  <a:gd name="connsiteY46" fmla="*/ 419259 h 583412"/>
                  <a:gd name="connsiteX47" fmla="*/ 102595 w 808992"/>
                  <a:gd name="connsiteY47" fmla="*/ 382683 h 583412"/>
                  <a:gd name="connsiteX48" fmla="*/ 44074 w 808992"/>
                  <a:gd name="connsiteY48" fmla="*/ 368053 h 583412"/>
                  <a:gd name="connsiteX49" fmla="*/ 22128 w 808992"/>
                  <a:gd name="connsiteY49" fmla="*/ 353423 h 583412"/>
                  <a:gd name="connsiteX50" fmla="*/ 182 w 808992"/>
                  <a:gd name="connsiteY50" fmla="*/ 360738 h 583412"/>
                  <a:gd name="connsiteX0" fmla="*/ 182 w 808992"/>
                  <a:gd name="connsiteY0" fmla="*/ 370690 h 593364"/>
                  <a:gd name="connsiteX1" fmla="*/ 36758 w 808992"/>
                  <a:gd name="connsiteY1" fmla="*/ 341429 h 593364"/>
                  <a:gd name="connsiteX2" fmla="*/ 44074 w 808992"/>
                  <a:gd name="connsiteY2" fmla="*/ 304853 h 593364"/>
                  <a:gd name="connsiteX3" fmla="*/ 58704 w 808992"/>
                  <a:gd name="connsiteY3" fmla="*/ 260962 h 593364"/>
                  <a:gd name="connsiteX4" fmla="*/ 73334 w 808992"/>
                  <a:gd name="connsiteY4" fmla="*/ 202440 h 593364"/>
                  <a:gd name="connsiteX5" fmla="*/ 80650 w 808992"/>
                  <a:gd name="connsiteY5" fmla="*/ 180495 h 593364"/>
                  <a:gd name="connsiteX6" fmla="*/ 95280 w 808992"/>
                  <a:gd name="connsiteY6" fmla="*/ 158549 h 593364"/>
                  <a:gd name="connsiteX7" fmla="*/ 117226 w 808992"/>
                  <a:gd name="connsiteY7" fmla="*/ 151234 h 593364"/>
                  <a:gd name="connsiteX8" fmla="*/ 219638 w 808992"/>
                  <a:gd name="connsiteY8" fmla="*/ 158549 h 593364"/>
                  <a:gd name="connsiteX9" fmla="*/ 263531 w 808992"/>
                  <a:gd name="connsiteY9" fmla="*/ 66301 h 593364"/>
                  <a:gd name="connsiteX10" fmla="*/ 424464 w 808992"/>
                  <a:gd name="connsiteY10" fmla="*/ 165864 h 593364"/>
                  <a:gd name="connsiteX11" fmla="*/ 446410 w 808992"/>
                  <a:gd name="connsiteY11" fmla="*/ 151234 h 593364"/>
                  <a:gd name="connsiteX12" fmla="*/ 410356 w 808992"/>
                  <a:gd name="connsiteY12" fmla="*/ 73094 h 593364"/>
                  <a:gd name="connsiteX13" fmla="*/ 429547 w 808992"/>
                  <a:gd name="connsiteY13" fmla="*/ 39273 h 593364"/>
                  <a:gd name="connsiteX14" fmla="*/ 512246 w 808992"/>
                  <a:gd name="connsiteY14" fmla="*/ 56136 h 593364"/>
                  <a:gd name="connsiteX15" fmla="*/ 534192 w 808992"/>
                  <a:gd name="connsiteY15" fmla="*/ 48821 h 593364"/>
                  <a:gd name="connsiteX16" fmla="*/ 556138 w 808992"/>
                  <a:gd name="connsiteY16" fmla="*/ 56136 h 593364"/>
                  <a:gd name="connsiteX17" fmla="*/ 584781 w 808992"/>
                  <a:gd name="connsiteY17" fmla="*/ 23882 h 593364"/>
                  <a:gd name="connsiteX18" fmla="*/ 632282 w 808992"/>
                  <a:gd name="connsiteY18" fmla="*/ 132 h 593364"/>
                  <a:gd name="connsiteX19" fmla="*/ 657173 w 808992"/>
                  <a:gd name="connsiteY19" fmla="*/ 11818 h 593364"/>
                  <a:gd name="connsiteX20" fmla="*/ 680496 w 808992"/>
                  <a:gd name="connsiteY20" fmla="*/ 100027 h 593364"/>
                  <a:gd name="connsiteX21" fmla="*/ 724387 w 808992"/>
                  <a:gd name="connsiteY21" fmla="*/ 90908 h 593364"/>
                  <a:gd name="connsiteX22" fmla="*/ 731702 w 808992"/>
                  <a:gd name="connsiteY22" fmla="*/ 173179 h 593364"/>
                  <a:gd name="connsiteX23" fmla="*/ 782909 w 808992"/>
                  <a:gd name="connsiteY23" fmla="*/ 156744 h 593364"/>
                  <a:gd name="connsiteX24" fmla="*/ 797539 w 808992"/>
                  <a:gd name="connsiteY24" fmla="*/ 224386 h 593364"/>
                  <a:gd name="connsiteX25" fmla="*/ 790224 w 808992"/>
                  <a:gd name="connsiteY25" fmla="*/ 282907 h 593364"/>
                  <a:gd name="connsiteX26" fmla="*/ 782909 w 808992"/>
                  <a:gd name="connsiteY26" fmla="*/ 304853 h 593364"/>
                  <a:gd name="connsiteX27" fmla="*/ 808037 w 808992"/>
                  <a:gd name="connsiteY27" fmla="*/ 430590 h 593364"/>
                  <a:gd name="connsiteX28" fmla="*/ 804854 w 808992"/>
                  <a:gd name="connsiteY28" fmla="*/ 480418 h 593364"/>
                  <a:gd name="connsiteX29" fmla="*/ 782909 w 808992"/>
                  <a:gd name="connsiteY29" fmla="*/ 495048 h 593364"/>
                  <a:gd name="connsiteX30" fmla="*/ 767328 w 808992"/>
                  <a:gd name="connsiteY30" fmla="*/ 514238 h 593364"/>
                  <a:gd name="connsiteX31" fmla="*/ 709757 w 808992"/>
                  <a:gd name="connsiteY31" fmla="*/ 509679 h 593364"/>
                  <a:gd name="connsiteX32" fmla="*/ 695126 w 808992"/>
                  <a:gd name="connsiteY32" fmla="*/ 524309 h 593364"/>
                  <a:gd name="connsiteX33" fmla="*/ 643920 w 808992"/>
                  <a:gd name="connsiteY33" fmla="*/ 538939 h 593364"/>
                  <a:gd name="connsiteX34" fmla="*/ 621974 w 808992"/>
                  <a:gd name="connsiteY34" fmla="*/ 546255 h 593364"/>
                  <a:gd name="connsiteX35" fmla="*/ 592714 w 808992"/>
                  <a:gd name="connsiteY35" fmla="*/ 553570 h 593364"/>
                  <a:gd name="connsiteX36" fmla="*/ 548822 w 808992"/>
                  <a:gd name="connsiteY36" fmla="*/ 568200 h 593364"/>
                  <a:gd name="connsiteX37" fmla="*/ 526877 w 808992"/>
                  <a:gd name="connsiteY37" fmla="*/ 593328 h 593364"/>
                  <a:gd name="connsiteX38" fmla="*/ 500799 w 808992"/>
                  <a:gd name="connsiteY38" fmla="*/ 562263 h 593364"/>
                  <a:gd name="connsiteX39" fmla="*/ 478853 w 808992"/>
                  <a:gd name="connsiteY39" fmla="*/ 513811 h 593364"/>
                  <a:gd name="connsiteX40" fmla="*/ 370929 w 808992"/>
                  <a:gd name="connsiteY40" fmla="*/ 530247 h 593364"/>
                  <a:gd name="connsiteX41" fmla="*/ 314736 w 808992"/>
                  <a:gd name="connsiteY41" fmla="*/ 495048 h 593364"/>
                  <a:gd name="connsiteX42" fmla="*/ 263530 w 808992"/>
                  <a:gd name="connsiteY42" fmla="*/ 487733 h 593364"/>
                  <a:gd name="connsiteX43" fmla="*/ 241584 w 808992"/>
                  <a:gd name="connsiteY43" fmla="*/ 480418 h 593364"/>
                  <a:gd name="connsiteX44" fmla="*/ 219638 w 808992"/>
                  <a:gd name="connsiteY44" fmla="*/ 465787 h 593364"/>
                  <a:gd name="connsiteX45" fmla="*/ 139171 w 808992"/>
                  <a:gd name="connsiteY45" fmla="*/ 451157 h 593364"/>
                  <a:gd name="connsiteX46" fmla="*/ 106728 w 808992"/>
                  <a:gd name="connsiteY46" fmla="*/ 429211 h 593364"/>
                  <a:gd name="connsiteX47" fmla="*/ 102595 w 808992"/>
                  <a:gd name="connsiteY47" fmla="*/ 392635 h 593364"/>
                  <a:gd name="connsiteX48" fmla="*/ 44074 w 808992"/>
                  <a:gd name="connsiteY48" fmla="*/ 378005 h 593364"/>
                  <a:gd name="connsiteX49" fmla="*/ 22128 w 808992"/>
                  <a:gd name="connsiteY49" fmla="*/ 363375 h 593364"/>
                  <a:gd name="connsiteX50" fmla="*/ 182 w 808992"/>
                  <a:gd name="connsiteY50" fmla="*/ 370690 h 593364"/>
                  <a:gd name="connsiteX0" fmla="*/ 182 w 808992"/>
                  <a:gd name="connsiteY0" fmla="*/ 370690 h 593364"/>
                  <a:gd name="connsiteX1" fmla="*/ 36758 w 808992"/>
                  <a:gd name="connsiteY1" fmla="*/ 341429 h 593364"/>
                  <a:gd name="connsiteX2" fmla="*/ 44074 w 808992"/>
                  <a:gd name="connsiteY2" fmla="*/ 304853 h 593364"/>
                  <a:gd name="connsiteX3" fmla="*/ 58704 w 808992"/>
                  <a:gd name="connsiteY3" fmla="*/ 260962 h 593364"/>
                  <a:gd name="connsiteX4" fmla="*/ 73334 w 808992"/>
                  <a:gd name="connsiteY4" fmla="*/ 202440 h 593364"/>
                  <a:gd name="connsiteX5" fmla="*/ 80650 w 808992"/>
                  <a:gd name="connsiteY5" fmla="*/ 180495 h 593364"/>
                  <a:gd name="connsiteX6" fmla="*/ 95280 w 808992"/>
                  <a:gd name="connsiteY6" fmla="*/ 158549 h 593364"/>
                  <a:gd name="connsiteX7" fmla="*/ 117226 w 808992"/>
                  <a:gd name="connsiteY7" fmla="*/ 151234 h 593364"/>
                  <a:gd name="connsiteX8" fmla="*/ 219638 w 808992"/>
                  <a:gd name="connsiteY8" fmla="*/ 158549 h 593364"/>
                  <a:gd name="connsiteX9" fmla="*/ 263531 w 808992"/>
                  <a:gd name="connsiteY9" fmla="*/ 66301 h 593364"/>
                  <a:gd name="connsiteX10" fmla="*/ 424464 w 808992"/>
                  <a:gd name="connsiteY10" fmla="*/ 165864 h 593364"/>
                  <a:gd name="connsiteX11" fmla="*/ 446410 w 808992"/>
                  <a:gd name="connsiteY11" fmla="*/ 151234 h 593364"/>
                  <a:gd name="connsiteX12" fmla="*/ 410356 w 808992"/>
                  <a:gd name="connsiteY12" fmla="*/ 73094 h 593364"/>
                  <a:gd name="connsiteX13" fmla="*/ 429547 w 808992"/>
                  <a:gd name="connsiteY13" fmla="*/ 39273 h 593364"/>
                  <a:gd name="connsiteX14" fmla="*/ 512246 w 808992"/>
                  <a:gd name="connsiteY14" fmla="*/ 56136 h 593364"/>
                  <a:gd name="connsiteX15" fmla="*/ 534192 w 808992"/>
                  <a:gd name="connsiteY15" fmla="*/ 48821 h 593364"/>
                  <a:gd name="connsiteX16" fmla="*/ 556138 w 808992"/>
                  <a:gd name="connsiteY16" fmla="*/ 56136 h 593364"/>
                  <a:gd name="connsiteX17" fmla="*/ 584781 w 808992"/>
                  <a:gd name="connsiteY17" fmla="*/ 23882 h 593364"/>
                  <a:gd name="connsiteX18" fmla="*/ 632282 w 808992"/>
                  <a:gd name="connsiteY18" fmla="*/ 132 h 593364"/>
                  <a:gd name="connsiteX19" fmla="*/ 657173 w 808992"/>
                  <a:gd name="connsiteY19" fmla="*/ 11818 h 593364"/>
                  <a:gd name="connsiteX20" fmla="*/ 704247 w 808992"/>
                  <a:gd name="connsiteY20" fmla="*/ 82214 h 593364"/>
                  <a:gd name="connsiteX21" fmla="*/ 724387 w 808992"/>
                  <a:gd name="connsiteY21" fmla="*/ 90908 h 593364"/>
                  <a:gd name="connsiteX22" fmla="*/ 731702 w 808992"/>
                  <a:gd name="connsiteY22" fmla="*/ 173179 h 593364"/>
                  <a:gd name="connsiteX23" fmla="*/ 782909 w 808992"/>
                  <a:gd name="connsiteY23" fmla="*/ 156744 h 593364"/>
                  <a:gd name="connsiteX24" fmla="*/ 797539 w 808992"/>
                  <a:gd name="connsiteY24" fmla="*/ 224386 h 593364"/>
                  <a:gd name="connsiteX25" fmla="*/ 790224 w 808992"/>
                  <a:gd name="connsiteY25" fmla="*/ 282907 h 593364"/>
                  <a:gd name="connsiteX26" fmla="*/ 782909 w 808992"/>
                  <a:gd name="connsiteY26" fmla="*/ 304853 h 593364"/>
                  <a:gd name="connsiteX27" fmla="*/ 808037 w 808992"/>
                  <a:gd name="connsiteY27" fmla="*/ 430590 h 593364"/>
                  <a:gd name="connsiteX28" fmla="*/ 804854 w 808992"/>
                  <a:gd name="connsiteY28" fmla="*/ 480418 h 593364"/>
                  <a:gd name="connsiteX29" fmla="*/ 782909 w 808992"/>
                  <a:gd name="connsiteY29" fmla="*/ 495048 h 593364"/>
                  <a:gd name="connsiteX30" fmla="*/ 767328 w 808992"/>
                  <a:gd name="connsiteY30" fmla="*/ 514238 h 593364"/>
                  <a:gd name="connsiteX31" fmla="*/ 709757 w 808992"/>
                  <a:gd name="connsiteY31" fmla="*/ 509679 h 593364"/>
                  <a:gd name="connsiteX32" fmla="*/ 695126 w 808992"/>
                  <a:gd name="connsiteY32" fmla="*/ 524309 h 593364"/>
                  <a:gd name="connsiteX33" fmla="*/ 643920 w 808992"/>
                  <a:gd name="connsiteY33" fmla="*/ 538939 h 593364"/>
                  <a:gd name="connsiteX34" fmla="*/ 621974 w 808992"/>
                  <a:gd name="connsiteY34" fmla="*/ 546255 h 593364"/>
                  <a:gd name="connsiteX35" fmla="*/ 592714 w 808992"/>
                  <a:gd name="connsiteY35" fmla="*/ 553570 h 593364"/>
                  <a:gd name="connsiteX36" fmla="*/ 548822 w 808992"/>
                  <a:gd name="connsiteY36" fmla="*/ 568200 h 593364"/>
                  <a:gd name="connsiteX37" fmla="*/ 526877 w 808992"/>
                  <a:gd name="connsiteY37" fmla="*/ 593328 h 593364"/>
                  <a:gd name="connsiteX38" fmla="*/ 500799 w 808992"/>
                  <a:gd name="connsiteY38" fmla="*/ 562263 h 593364"/>
                  <a:gd name="connsiteX39" fmla="*/ 478853 w 808992"/>
                  <a:gd name="connsiteY39" fmla="*/ 513811 h 593364"/>
                  <a:gd name="connsiteX40" fmla="*/ 370929 w 808992"/>
                  <a:gd name="connsiteY40" fmla="*/ 530247 h 593364"/>
                  <a:gd name="connsiteX41" fmla="*/ 314736 w 808992"/>
                  <a:gd name="connsiteY41" fmla="*/ 495048 h 593364"/>
                  <a:gd name="connsiteX42" fmla="*/ 263530 w 808992"/>
                  <a:gd name="connsiteY42" fmla="*/ 487733 h 593364"/>
                  <a:gd name="connsiteX43" fmla="*/ 241584 w 808992"/>
                  <a:gd name="connsiteY43" fmla="*/ 480418 h 593364"/>
                  <a:gd name="connsiteX44" fmla="*/ 219638 w 808992"/>
                  <a:gd name="connsiteY44" fmla="*/ 465787 h 593364"/>
                  <a:gd name="connsiteX45" fmla="*/ 139171 w 808992"/>
                  <a:gd name="connsiteY45" fmla="*/ 451157 h 593364"/>
                  <a:gd name="connsiteX46" fmla="*/ 106728 w 808992"/>
                  <a:gd name="connsiteY46" fmla="*/ 429211 h 593364"/>
                  <a:gd name="connsiteX47" fmla="*/ 102595 w 808992"/>
                  <a:gd name="connsiteY47" fmla="*/ 392635 h 593364"/>
                  <a:gd name="connsiteX48" fmla="*/ 44074 w 808992"/>
                  <a:gd name="connsiteY48" fmla="*/ 378005 h 593364"/>
                  <a:gd name="connsiteX49" fmla="*/ 22128 w 808992"/>
                  <a:gd name="connsiteY49" fmla="*/ 363375 h 593364"/>
                  <a:gd name="connsiteX50" fmla="*/ 182 w 808992"/>
                  <a:gd name="connsiteY50" fmla="*/ 370690 h 593364"/>
                  <a:gd name="connsiteX0" fmla="*/ 182 w 808992"/>
                  <a:gd name="connsiteY0" fmla="*/ 370690 h 593364"/>
                  <a:gd name="connsiteX1" fmla="*/ 36758 w 808992"/>
                  <a:gd name="connsiteY1" fmla="*/ 341429 h 593364"/>
                  <a:gd name="connsiteX2" fmla="*/ 44074 w 808992"/>
                  <a:gd name="connsiteY2" fmla="*/ 304853 h 593364"/>
                  <a:gd name="connsiteX3" fmla="*/ 58704 w 808992"/>
                  <a:gd name="connsiteY3" fmla="*/ 260962 h 593364"/>
                  <a:gd name="connsiteX4" fmla="*/ 73334 w 808992"/>
                  <a:gd name="connsiteY4" fmla="*/ 202440 h 593364"/>
                  <a:gd name="connsiteX5" fmla="*/ 80650 w 808992"/>
                  <a:gd name="connsiteY5" fmla="*/ 180495 h 593364"/>
                  <a:gd name="connsiteX6" fmla="*/ 95280 w 808992"/>
                  <a:gd name="connsiteY6" fmla="*/ 158549 h 593364"/>
                  <a:gd name="connsiteX7" fmla="*/ 117226 w 808992"/>
                  <a:gd name="connsiteY7" fmla="*/ 151234 h 593364"/>
                  <a:gd name="connsiteX8" fmla="*/ 219638 w 808992"/>
                  <a:gd name="connsiteY8" fmla="*/ 158549 h 593364"/>
                  <a:gd name="connsiteX9" fmla="*/ 263531 w 808992"/>
                  <a:gd name="connsiteY9" fmla="*/ 66301 h 593364"/>
                  <a:gd name="connsiteX10" fmla="*/ 424464 w 808992"/>
                  <a:gd name="connsiteY10" fmla="*/ 165864 h 593364"/>
                  <a:gd name="connsiteX11" fmla="*/ 446410 w 808992"/>
                  <a:gd name="connsiteY11" fmla="*/ 151234 h 593364"/>
                  <a:gd name="connsiteX12" fmla="*/ 410356 w 808992"/>
                  <a:gd name="connsiteY12" fmla="*/ 73094 h 593364"/>
                  <a:gd name="connsiteX13" fmla="*/ 429547 w 808992"/>
                  <a:gd name="connsiteY13" fmla="*/ 39273 h 593364"/>
                  <a:gd name="connsiteX14" fmla="*/ 512246 w 808992"/>
                  <a:gd name="connsiteY14" fmla="*/ 56136 h 593364"/>
                  <a:gd name="connsiteX15" fmla="*/ 534192 w 808992"/>
                  <a:gd name="connsiteY15" fmla="*/ 48821 h 593364"/>
                  <a:gd name="connsiteX16" fmla="*/ 556138 w 808992"/>
                  <a:gd name="connsiteY16" fmla="*/ 56136 h 593364"/>
                  <a:gd name="connsiteX17" fmla="*/ 584781 w 808992"/>
                  <a:gd name="connsiteY17" fmla="*/ 23882 h 593364"/>
                  <a:gd name="connsiteX18" fmla="*/ 632282 w 808992"/>
                  <a:gd name="connsiteY18" fmla="*/ 132 h 593364"/>
                  <a:gd name="connsiteX19" fmla="*/ 657173 w 808992"/>
                  <a:gd name="connsiteY19" fmla="*/ 11818 h 593364"/>
                  <a:gd name="connsiteX20" fmla="*/ 704247 w 808992"/>
                  <a:gd name="connsiteY20" fmla="*/ 82214 h 593364"/>
                  <a:gd name="connsiteX21" fmla="*/ 724387 w 808992"/>
                  <a:gd name="connsiteY21" fmla="*/ 90908 h 593364"/>
                  <a:gd name="connsiteX22" fmla="*/ 731702 w 808992"/>
                  <a:gd name="connsiteY22" fmla="*/ 173179 h 593364"/>
                  <a:gd name="connsiteX23" fmla="*/ 782909 w 808992"/>
                  <a:gd name="connsiteY23" fmla="*/ 156744 h 593364"/>
                  <a:gd name="connsiteX24" fmla="*/ 797539 w 808992"/>
                  <a:gd name="connsiteY24" fmla="*/ 224386 h 593364"/>
                  <a:gd name="connsiteX25" fmla="*/ 790224 w 808992"/>
                  <a:gd name="connsiteY25" fmla="*/ 282907 h 593364"/>
                  <a:gd name="connsiteX26" fmla="*/ 782909 w 808992"/>
                  <a:gd name="connsiteY26" fmla="*/ 304853 h 593364"/>
                  <a:gd name="connsiteX27" fmla="*/ 808037 w 808992"/>
                  <a:gd name="connsiteY27" fmla="*/ 430590 h 593364"/>
                  <a:gd name="connsiteX28" fmla="*/ 804854 w 808992"/>
                  <a:gd name="connsiteY28" fmla="*/ 480418 h 593364"/>
                  <a:gd name="connsiteX29" fmla="*/ 782909 w 808992"/>
                  <a:gd name="connsiteY29" fmla="*/ 495048 h 593364"/>
                  <a:gd name="connsiteX30" fmla="*/ 767328 w 808992"/>
                  <a:gd name="connsiteY30" fmla="*/ 514238 h 593364"/>
                  <a:gd name="connsiteX31" fmla="*/ 709757 w 808992"/>
                  <a:gd name="connsiteY31" fmla="*/ 509679 h 593364"/>
                  <a:gd name="connsiteX32" fmla="*/ 695126 w 808992"/>
                  <a:gd name="connsiteY32" fmla="*/ 524309 h 593364"/>
                  <a:gd name="connsiteX33" fmla="*/ 643920 w 808992"/>
                  <a:gd name="connsiteY33" fmla="*/ 538939 h 593364"/>
                  <a:gd name="connsiteX34" fmla="*/ 621974 w 808992"/>
                  <a:gd name="connsiteY34" fmla="*/ 546255 h 593364"/>
                  <a:gd name="connsiteX35" fmla="*/ 592714 w 808992"/>
                  <a:gd name="connsiteY35" fmla="*/ 553570 h 593364"/>
                  <a:gd name="connsiteX36" fmla="*/ 583723 w 808992"/>
                  <a:gd name="connsiteY36" fmla="*/ 568200 h 593364"/>
                  <a:gd name="connsiteX37" fmla="*/ 526877 w 808992"/>
                  <a:gd name="connsiteY37" fmla="*/ 593328 h 593364"/>
                  <a:gd name="connsiteX38" fmla="*/ 500799 w 808992"/>
                  <a:gd name="connsiteY38" fmla="*/ 562263 h 593364"/>
                  <a:gd name="connsiteX39" fmla="*/ 478853 w 808992"/>
                  <a:gd name="connsiteY39" fmla="*/ 513811 h 593364"/>
                  <a:gd name="connsiteX40" fmla="*/ 370929 w 808992"/>
                  <a:gd name="connsiteY40" fmla="*/ 530247 h 593364"/>
                  <a:gd name="connsiteX41" fmla="*/ 314736 w 808992"/>
                  <a:gd name="connsiteY41" fmla="*/ 495048 h 593364"/>
                  <a:gd name="connsiteX42" fmla="*/ 263530 w 808992"/>
                  <a:gd name="connsiteY42" fmla="*/ 487733 h 593364"/>
                  <a:gd name="connsiteX43" fmla="*/ 241584 w 808992"/>
                  <a:gd name="connsiteY43" fmla="*/ 480418 h 593364"/>
                  <a:gd name="connsiteX44" fmla="*/ 219638 w 808992"/>
                  <a:gd name="connsiteY44" fmla="*/ 465787 h 593364"/>
                  <a:gd name="connsiteX45" fmla="*/ 139171 w 808992"/>
                  <a:gd name="connsiteY45" fmla="*/ 451157 h 593364"/>
                  <a:gd name="connsiteX46" fmla="*/ 106728 w 808992"/>
                  <a:gd name="connsiteY46" fmla="*/ 429211 h 593364"/>
                  <a:gd name="connsiteX47" fmla="*/ 102595 w 808992"/>
                  <a:gd name="connsiteY47" fmla="*/ 392635 h 593364"/>
                  <a:gd name="connsiteX48" fmla="*/ 44074 w 808992"/>
                  <a:gd name="connsiteY48" fmla="*/ 378005 h 593364"/>
                  <a:gd name="connsiteX49" fmla="*/ 22128 w 808992"/>
                  <a:gd name="connsiteY49" fmla="*/ 363375 h 593364"/>
                  <a:gd name="connsiteX50" fmla="*/ 182 w 808992"/>
                  <a:gd name="connsiteY50" fmla="*/ 370690 h 593364"/>
                  <a:gd name="connsiteX0" fmla="*/ 182 w 808992"/>
                  <a:gd name="connsiteY0" fmla="*/ 370690 h 593364"/>
                  <a:gd name="connsiteX1" fmla="*/ 36758 w 808992"/>
                  <a:gd name="connsiteY1" fmla="*/ 341429 h 593364"/>
                  <a:gd name="connsiteX2" fmla="*/ 44074 w 808992"/>
                  <a:gd name="connsiteY2" fmla="*/ 304853 h 593364"/>
                  <a:gd name="connsiteX3" fmla="*/ 58704 w 808992"/>
                  <a:gd name="connsiteY3" fmla="*/ 260962 h 593364"/>
                  <a:gd name="connsiteX4" fmla="*/ 73334 w 808992"/>
                  <a:gd name="connsiteY4" fmla="*/ 202440 h 593364"/>
                  <a:gd name="connsiteX5" fmla="*/ 80650 w 808992"/>
                  <a:gd name="connsiteY5" fmla="*/ 180495 h 593364"/>
                  <a:gd name="connsiteX6" fmla="*/ 95280 w 808992"/>
                  <a:gd name="connsiteY6" fmla="*/ 158549 h 593364"/>
                  <a:gd name="connsiteX7" fmla="*/ 117226 w 808992"/>
                  <a:gd name="connsiteY7" fmla="*/ 151234 h 593364"/>
                  <a:gd name="connsiteX8" fmla="*/ 219638 w 808992"/>
                  <a:gd name="connsiteY8" fmla="*/ 158549 h 593364"/>
                  <a:gd name="connsiteX9" fmla="*/ 263531 w 808992"/>
                  <a:gd name="connsiteY9" fmla="*/ 66301 h 593364"/>
                  <a:gd name="connsiteX10" fmla="*/ 424464 w 808992"/>
                  <a:gd name="connsiteY10" fmla="*/ 165864 h 593364"/>
                  <a:gd name="connsiteX11" fmla="*/ 446410 w 808992"/>
                  <a:gd name="connsiteY11" fmla="*/ 151234 h 593364"/>
                  <a:gd name="connsiteX12" fmla="*/ 410356 w 808992"/>
                  <a:gd name="connsiteY12" fmla="*/ 73094 h 593364"/>
                  <a:gd name="connsiteX13" fmla="*/ 429547 w 808992"/>
                  <a:gd name="connsiteY13" fmla="*/ 39273 h 593364"/>
                  <a:gd name="connsiteX14" fmla="*/ 512246 w 808992"/>
                  <a:gd name="connsiteY14" fmla="*/ 56136 h 593364"/>
                  <a:gd name="connsiteX15" fmla="*/ 534192 w 808992"/>
                  <a:gd name="connsiteY15" fmla="*/ 48821 h 593364"/>
                  <a:gd name="connsiteX16" fmla="*/ 556138 w 808992"/>
                  <a:gd name="connsiteY16" fmla="*/ 56136 h 593364"/>
                  <a:gd name="connsiteX17" fmla="*/ 584781 w 808992"/>
                  <a:gd name="connsiteY17" fmla="*/ 23882 h 593364"/>
                  <a:gd name="connsiteX18" fmla="*/ 632282 w 808992"/>
                  <a:gd name="connsiteY18" fmla="*/ 132 h 593364"/>
                  <a:gd name="connsiteX19" fmla="*/ 657173 w 808992"/>
                  <a:gd name="connsiteY19" fmla="*/ 11818 h 593364"/>
                  <a:gd name="connsiteX20" fmla="*/ 704247 w 808992"/>
                  <a:gd name="connsiteY20" fmla="*/ 82214 h 593364"/>
                  <a:gd name="connsiteX21" fmla="*/ 724387 w 808992"/>
                  <a:gd name="connsiteY21" fmla="*/ 90908 h 593364"/>
                  <a:gd name="connsiteX22" fmla="*/ 731702 w 808992"/>
                  <a:gd name="connsiteY22" fmla="*/ 173179 h 593364"/>
                  <a:gd name="connsiteX23" fmla="*/ 782909 w 808992"/>
                  <a:gd name="connsiteY23" fmla="*/ 156744 h 593364"/>
                  <a:gd name="connsiteX24" fmla="*/ 797539 w 808992"/>
                  <a:gd name="connsiteY24" fmla="*/ 224386 h 593364"/>
                  <a:gd name="connsiteX25" fmla="*/ 790224 w 808992"/>
                  <a:gd name="connsiteY25" fmla="*/ 282907 h 593364"/>
                  <a:gd name="connsiteX26" fmla="*/ 782909 w 808992"/>
                  <a:gd name="connsiteY26" fmla="*/ 304853 h 593364"/>
                  <a:gd name="connsiteX27" fmla="*/ 808037 w 808992"/>
                  <a:gd name="connsiteY27" fmla="*/ 430590 h 593364"/>
                  <a:gd name="connsiteX28" fmla="*/ 804854 w 808992"/>
                  <a:gd name="connsiteY28" fmla="*/ 480418 h 593364"/>
                  <a:gd name="connsiteX29" fmla="*/ 782909 w 808992"/>
                  <a:gd name="connsiteY29" fmla="*/ 495048 h 593364"/>
                  <a:gd name="connsiteX30" fmla="*/ 767328 w 808992"/>
                  <a:gd name="connsiteY30" fmla="*/ 514238 h 593364"/>
                  <a:gd name="connsiteX31" fmla="*/ 709757 w 808992"/>
                  <a:gd name="connsiteY31" fmla="*/ 509679 h 593364"/>
                  <a:gd name="connsiteX32" fmla="*/ 695126 w 808992"/>
                  <a:gd name="connsiteY32" fmla="*/ 524309 h 593364"/>
                  <a:gd name="connsiteX33" fmla="*/ 643920 w 808992"/>
                  <a:gd name="connsiteY33" fmla="*/ 538939 h 593364"/>
                  <a:gd name="connsiteX34" fmla="*/ 621974 w 808992"/>
                  <a:gd name="connsiteY34" fmla="*/ 546255 h 593364"/>
                  <a:gd name="connsiteX35" fmla="*/ 592714 w 808992"/>
                  <a:gd name="connsiteY35" fmla="*/ 553570 h 593364"/>
                  <a:gd name="connsiteX36" fmla="*/ 583723 w 808992"/>
                  <a:gd name="connsiteY36" fmla="*/ 568200 h 593364"/>
                  <a:gd name="connsiteX37" fmla="*/ 526877 w 808992"/>
                  <a:gd name="connsiteY37" fmla="*/ 593328 h 593364"/>
                  <a:gd name="connsiteX38" fmla="*/ 500799 w 808992"/>
                  <a:gd name="connsiteY38" fmla="*/ 562263 h 593364"/>
                  <a:gd name="connsiteX39" fmla="*/ 458365 w 808992"/>
                  <a:gd name="connsiteY39" fmla="*/ 520791 h 593364"/>
                  <a:gd name="connsiteX40" fmla="*/ 370929 w 808992"/>
                  <a:gd name="connsiteY40" fmla="*/ 530247 h 593364"/>
                  <a:gd name="connsiteX41" fmla="*/ 314736 w 808992"/>
                  <a:gd name="connsiteY41" fmla="*/ 495048 h 593364"/>
                  <a:gd name="connsiteX42" fmla="*/ 263530 w 808992"/>
                  <a:gd name="connsiteY42" fmla="*/ 487733 h 593364"/>
                  <a:gd name="connsiteX43" fmla="*/ 241584 w 808992"/>
                  <a:gd name="connsiteY43" fmla="*/ 480418 h 593364"/>
                  <a:gd name="connsiteX44" fmla="*/ 219638 w 808992"/>
                  <a:gd name="connsiteY44" fmla="*/ 465787 h 593364"/>
                  <a:gd name="connsiteX45" fmla="*/ 139171 w 808992"/>
                  <a:gd name="connsiteY45" fmla="*/ 451157 h 593364"/>
                  <a:gd name="connsiteX46" fmla="*/ 106728 w 808992"/>
                  <a:gd name="connsiteY46" fmla="*/ 429211 h 593364"/>
                  <a:gd name="connsiteX47" fmla="*/ 102595 w 808992"/>
                  <a:gd name="connsiteY47" fmla="*/ 392635 h 593364"/>
                  <a:gd name="connsiteX48" fmla="*/ 44074 w 808992"/>
                  <a:gd name="connsiteY48" fmla="*/ 378005 h 593364"/>
                  <a:gd name="connsiteX49" fmla="*/ 22128 w 808992"/>
                  <a:gd name="connsiteY49" fmla="*/ 363375 h 593364"/>
                  <a:gd name="connsiteX50" fmla="*/ 182 w 808992"/>
                  <a:gd name="connsiteY50" fmla="*/ 370690 h 593364"/>
                  <a:gd name="connsiteX0" fmla="*/ 182 w 808992"/>
                  <a:gd name="connsiteY0" fmla="*/ 370690 h 593364"/>
                  <a:gd name="connsiteX1" fmla="*/ 36758 w 808992"/>
                  <a:gd name="connsiteY1" fmla="*/ 341429 h 593364"/>
                  <a:gd name="connsiteX2" fmla="*/ 44074 w 808992"/>
                  <a:gd name="connsiteY2" fmla="*/ 304853 h 593364"/>
                  <a:gd name="connsiteX3" fmla="*/ 58704 w 808992"/>
                  <a:gd name="connsiteY3" fmla="*/ 260962 h 593364"/>
                  <a:gd name="connsiteX4" fmla="*/ 73334 w 808992"/>
                  <a:gd name="connsiteY4" fmla="*/ 202440 h 593364"/>
                  <a:gd name="connsiteX5" fmla="*/ 80650 w 808992"/>
                  <a:gd name="connsiteY5" fmla="*/ 180495 h 593364"/>
                  <a:gd name="connsiteX6" fmla="*/ 95280 w 808992"/>
                  <a:gd name="connsiteY6" fmla="*/ 158549 h 593364"/>
                  <a:gd name="connsiteX7" fmla="*/ 117226 w 808992"/>
                  <a:gd name="connsiteY7" fmla="*/ 151234 h 593364"/>
                  <a:gd name="connsiteX8" fmla="*/ 219638 w 808992"/>
                  <a:gd name="connsiteY8" fmla="*/ 158549 h 593364"/>
                  <a:gd name="connsiteX9" fmla="*/ 263531 w 808992"/>
                  <a:gd name="connsiteY9" fmla="*/ 66301 h 593364"/>
                  <a:gd name="connsiteX10" fmla="*/ 424464 w 808992"/>
                  <a:gd name="connsiteY10" fmla="*/ 165864 h 593364"/>
                  <a:gd name="connsiteX11" fmla="*/ 446410 w 808992"/>
                  <a:gd name="connsiteY11" fmla="*/ 151234 h 593364"/>
                  <a:gd name="connsiteX12" fmla="*/ 410356 w 808992"/>
                  <a:gd name="connsiteY12" fmla="*/ 73094 h 593364"/>
                  <a:gd name="connsiteX13" fmla="*/ 429547 w 808992"/>
                  <a:gd name="connsiteY13" fmla="*/ 39273 h 593364"/>
                  <a:gd name="connsiteX14" fmla="*/ 512246 w 808992"/>
                  <a:gd name="connsiteY14" fmla="*/ 56136 h 593364"/>
                  <a:gd name="connsiteX15" fmla="*/ 534192 w 808992"/>
                  <a:gd name="connsiteY15" fmla="*/ 48821 h 593364"/>
                  <a:gd name="connsiteX16" fmla="*/ 556138 w 808992"/>
                  <a:gd name="connsiteY16" fmla="*/ 56136 h 593364"/>
                  <a:gd name="connsiteX17" fmla="*/ 584781 w 808992"/>
                  <a:gd name="connsiteY17" fmla="*/ 23882 h 593364"/>
                  <a:gd name="connsiteX18" fmla="*/ 632282 w 808992"/>
                  <a:gd name="connsiteY18" fmla="*/ 132 h 593364"/>
                  <a:gd name="connsiteX19" fmla="*/ 657173 w 808992"/>
                  <a:gd name="connsiteY19" fmla="*/ 11818 h 593364"/>
                  <a:gd name="connsiteX20" fmla="*/ 704247 w 808992"/>
                  <a:gd name="connsiteY20" fmla="*/ 82214 h 593364"/>
                  <a:gd name="connsiteX21" fmla="*/ 724387 w 808992"/>
                  <a:gd name="connsiteY21" fmla="*/ 90908 h 593364"/>
                  <a:gd name="connsiteX22" fmla="*/ 731702 w 808992"/>
                  <a:gd name="connsiteY22" fmla="*/ 173179 h 593364"/>
                  <a:gd name="connsiteX23" fmla="*/ 782909 w 808992"/>
                  <a:gd name="connsiteY23" fmla="*/ 156744 h 593364"/>
                  <a:gd name="connsiteX24" fmla="*/ 797539 w 808992"/>
                  <a:gd name="connsiteY24" fmla="*/ 224386 h 593364"/>
                  <a:gd name="connsiteX25" fmla="*/ 790224 w 808992"/>
                  <a:gd name="connsiteY25" fmla="*/ 282907 h 593364"/>
                  <a:gd name="connsiteX26" fmla="*/ 782909 w 808992"/>
                  <a:gd name="connsiteY26" fmla="*/ 304853 h 593364"/>
                  <a:gd name="connsiteX27" fmla="*/ 808037 w 808992"/>
                  <a:gd name="connsiteY27" fmla="*/ 430590 h 593364"/>
                  <a:gd name="connsiteX28" fmla="*/ 804854 w 808992"/>
                  <a:gd name="connsiteY28" fmla="*/ 480418 h 593364"/>
                  <a:gd name="connsiteX29" fmla="*/ 782909 w 808992"/>
                  <a:gd name="connsiteY29" fmla="*/ 495048 h 593364"/>
                  <a:gd name="connsiteX30" fmla="*/ 767328 w 808992"/>
                  <a:gd name="connsiteY30" fmla="*/ 514238 h 593364"/>
                  <a:gd name="connsiteX31" fmla="*/ 709757 w 808992"/>
                  <a:gd name="connsiteY31" fmla="*/ 509679 h 593364"/>
                  <a:gd name="connsiteX32" fmla="*/ 722444 w 808992"/>
                  <a:gd name="connsiteY32" fmla="*/ 531289 h 593364"/>
                  <a:gd name="connsiteX33" fmla="*/ 643920 w 808992"/>
                  <a:gd name="connsiteY33" fmla="*/ 538939 h 593364"/>
                  <a:gd name="connsiteX34" fmla="*/ 621974 w 808992"/>
                  <a:gd name="connsiteY34" fmla="*/ 546255 h 593364"/>
                  <a:gd name="connsiteX35" fmla="*/ 592714 w 808992"/>
                  <a:gd name="connsiteY35" fmla="*/ 553570 h 593364"/>
                  <a:gd name="connsiteX36" fmla="*/ 583723 w 808992"/>
                  <a:gd name="connsiteY36" fmla="*/ 568200 h 593364"/>
                  <a:gd name="connsiteX37" fmla="*/ 526877 w 808992"/>
                  <a:gd name="connsiteY37" fmla="*/ 593328 h 593364"/>
                  <a:gd name="connsiteX38" fmla="*/ 500799 w 808992"/>
                  <a:gd name="connsiteY38" fmla="*/ 562263 h 593364"/>
                  <a:gd name="connsiteX39" fmla="*/ 458365 w 808992"/>
                  <a:gd name="connsiteY39" fmla="*/ 520791 h 593364"/>
                  <a:gd name="connsiteX40" fmla="*/ 370929 w 808992"/>
                  <a:gd name="connsiteY40" fmla="*/ 530247 h 593364"/>
                  <a:gd name="connsiteX41" fmla="*/ 314736 w 808992"/>
                  <a:gd name="connsiteY41" fmla="*/ 495048 h 593364"/>
                  <a:gd name="connsiteX42" fmla="*/ 263530 w 808992"/>
                  <a:gd name="connsiteY42" fmla="*/ 487733 h 593364"/>
                  <a:gd name="connsiteX43" fmla="*/ 241584 w 808992"/>
                  <a:gd name="connsiteY43" fmla="*/ 480418 h 593364"/>
                  <a:gd name="connsiteX44" fmla="*/ 219638 w 808992"/>
                  <a:gd name="connsiteY44" fmla="*/ 465787 h 593364"/>
                  <a:gd name="connsiteX45" fmla="*/ 139171 w 808992"/>
                  <a:gd name="connsiteY45" fmla="*/ 451157 h 593364"/>
                  <a:gd name="connsiteX46" fmla="*/ 106728 w 808992"/>
                  <a:gd name="connsiteY46" fmla="*/ 429211 h 593364"/>
                  <a:gd name="connsiteX47" fmla="*/ 102595 w 808992"/>
                  <a:gd name="connsiteY47" fmla="*/ 392635 h 593364"/>
                  <a:gd name="connsiteX48" fmla="*/ 44074 w 808992"/>
                  <a:gd name="connsiteY48" fmla="*/ 378005 h 593364"/>
                  <a:gd name="connsiteX49" fmla="*/ 22128 w 808992"/>
                  <a:gd name="connsiteY49" fmla="*/ 363375 h 593364"/>
                  <a:gd name="connsiteX50" fmla="*/ 182 w 808992"/>
                  <a:gd name="connsiteY50" fmla="*/ 370690 h 593364"/>
                  <a:gd name="connsiteX0" fmla="*/ 182 w 808992"/>
                  <a:gd name="connsiteY0" fmla="*/ 370690 h 593364"/>
                  <a:gd name="connsiteX1" fmla="*/ 36758 w 808992"/>
                  <a:gd name="connsiteY1" fmla="*/ 341429 h 593364"/>
                  <a:gd name="connsiteX2" fmla="*/ 44074 w 808992"/>
                  <a:gd name="connsiteY2" fmla="*/ 304853 h 593364"/>
                  <a:gd name="connsiteX3" fmla="*/ 58704 w 808992"/>
                  <a:gd name="connsiteY3" fmla="*/ 260962 h 593364"/>
                  <a:gd name="connsiteX4" fmla="*/ 73334 w 808992"/>
                  <a:gd name="connsiteY4" fmla="*/ 202440 h 593364"/>
                  <a:gd name="connsiteX5" fmla="*/ 80650 w 808992"/>
                  <a:gd name="connsiteY5" fmla="*/ 180495 h 593364"/>
                  <a:gd name="connsiteX6" fmla="*/ 95280 w 808992"/>
                  <a:gd name="connsiteY6" fmla="*/ 158549 h 593364"/>
                  <a:gd name="connsiteX7" fmla="*/ 117226 w 808992"/>
                  <a:gd name="connsiteY7" fmla="*/ 151234 h 593364"/>
                  <a:gd name="connsiteX8" fmla="*/ 219638 w 808992"/>
                  <a:gd name="connsiteY8" fmla="*/ 158549 h 593364"/>
                  <a:gd name="connsiteX9" fmla="*/ 263531 w 808992"/>
                  <a:gd name="connsiteY9" fmla="*/ 66301 h 593364"/>
                  <a:gd name="connsiteX10" fmla="*/ 424464 w 808992"/>
                  <a:gd name="connsiteY10" fmla="*/ 165864 h 593364"/>
                  <a:gd name="connsiteX11" fmla="*/ 446410 w 808992"/>
                  <a:gd name="connsiteY11" fmla="*/ 151234 h 593364"/>
                  <a:gd name="connsiteX12" fmla="*/ 410356 w 808992"/>
                  <a:gd name="connsiteY12" fmla="*/ 73094 h 593364"/>
                  <a:gd name="connsiteX13" fmla="*/ 429547 w 808992"/>
                  <a:gd name="connsiteY13" fmla="*/ 39273 h 593364"/>
                  <a:gd name="connsiteX14" fmla="*/ 512246 w 808992"/>
                  <a:gd name="connsiteY14" fmla="*/ 56136 h 593364"/>
                  <a:gd name="connsiteX15" fmla="*/ 534192 w 808992"/>
                  <a:gd name="connsiteY15" fmla="*/ 48821 h 593364"/>
                  <a:gd name="connsiteX16" fmla="*/ 556138 w 808992"/>
                  <a:gd name="connsiteY16" fmla="*/ 56136 h 593364"/>
                  <a:gd name="connsiteX17" fmla="*/ 584781 w 808992"/>
                  <a:gd name="connsiteY17" fmla="*/ 23882 h 593364"/>
                  <a:gd name="connsiteX18" fmla="*/ 632282 w 808992"/>
                  <a:gd name="connsiteY18" fmla="*/ 132 h 593364"/>
                  <a:gd name="connsiteX19" fmla="*/ 657173 w 808992"/>
                  <a:gd name="connsiteY19" fmla="*/ 11818 h 593364"/>
                  <a:gd name="connsiteX20" fmla="*/ 704247 w 808992"/>
                  <a:gd name="connsiteY20" fmla="*/ 82214 h 593364"/>
                  <a:gd name="connsiteX21" fmla="*/ 724387 w 808992"/>
                  <a:gd name="connsiteY21" fmla="*/ 90908 h 593364"/>
                  <a:gd name="connsiteX22" fmla="*/ 731702 w 808992"/>
                  <a:gd name="connsiteY22" fmla="*/ 173179 h 593364"/>
                  <a:gd name="connsiteX23" fmla="*/ 782909 w 808992"/>
                  <a:gd name="connsiteY23" fmla="*/ 156744 h 593364"/>
                  <a:gd name="connsiteX24" fmla="*/ 797539 w 808992"/>
                  <a:gd name="connsiteY24" fmla="*/ 224386 h 593364"/>
                  <a:gd name="connsiteX25" fmla="*/ 790224 w 808992"/>
                  <a:gd name="connsiteY25" fmla="*/ 282907 h 593364"/>
                  <a:gd name="connsiteX26" fmla="*/ 782909 w 808992"/>
                  <a:gd name="connsiteY26" fmla="*/ 304853 h 593364"/>
                  <a:gd name="connsiteX27" fmla="*/ 808037 w 808992"/>
                  <a:gd name="connsiteY27" fmla="*/ 430590 h 593364"/>
                  <a:gd name="connsiteX28" fmla="*/ 804854 w 808992"/>
                  <a:gd name="connsiteY28" fmla="*/ 480418 h 593364"/>
                  <a:gd name="connsiteX29" fmla="*/ 782909 w 808992"/>
                  <a:gd name="connsiteY29" fmla="*/ 495048 h 593364"/>
                  <a:gd name="connsiteX30" fmla="*/ 767328 w 808992"/>
                  <a:gd name="connsiteY30" fmla="*/ 514238 h 593364"/>
                  <a:gd name="connsiteX31" fmla="*/ 709757 w 808992"/>
                  <a:gd name="connsiteY31" fmla="*/ 509679 h 593364"/>
                  <a:gd name="connsiteX32" fmla="*/ 742934 w 808992"/>
                  <a:gd name="connsiteY32" fmla="*/ 531289 h 593364"/>
                  <a:gd name="connsiteX33" fmla="*/ 643920 w 808992"/>
                  <a:gd name="connsiteY33" fmla="*/ 538939 h 593364"/>
                  <a:gd name="connsiteX34" fmla="*/ 621974 w 808992"/>
                  <a:gd name="connsiteY34" fmla="*/ 546255 h 593364"/>
                  <a:gd name="connsiteX35" fmla="*/ 592714 w 808992"/>
                  <a:gd name="connsiteY35" fmla="*/ 553570 h 593364"/>
                  <a:gd name="connsiteX36" fmla="*/ 583723 w 808992"/>
                  <a:gd name="connsiteY36" fmla="*/ 568200 h 593364"/>
                  <a:gd name="connsiteX37" fmla="*/ 526877 w 808992"/>
                  <a:gd name="connsiteY37" fmla="*/ 593328 h 593364"/>
                  <a:gd name="connsiteX38" fmla="*/ 500799 w 808992"/>
                  <a:gd name="connsiteY38" fmla="*/ 562263 h 593364"/>
                  <a:gd name="connsiteX39" fmla="*/ 458365 w 808992"/>
                  <a:gd name="connsiteY39" fmla="*/ 520791 h 593364"/>
                  <a:gd name="connsiteX40" fmla="*/ 370929 w 808992"/>
                  <a:gd name="connsiteY40" fmla="*/ 530247 h 593364"/>
                  <a:gd name="connsiteX41" fmla="*/ 314736 w 808992"/>
                  <a:gd name="connsiteY41" fmla="*/ 495048 h 593364"/>
                  <a:gd name="connsiteX42" fmla="*/ 263530 w 808992"/>
                  <a:gd name="connsiteY42" fmla="*/ 487733 h 593364"/>
                  <a:gd name="connsiteX43" fmla="*/ 241584 w 808992"/>
                  <a:gd name="connsiteY43" fmla="*/ 480418 h 593364"/>
                  <a:gd name="connsiteX44" fmla="*/ 219638 w 808992"/>
                  <a:gd name="connsiteY44" fmla="*/ 465787 h 593364"/>
                  <a:gd name="connsiteX45" fmla="*/ 139171 w 808992"/>
                  <a:gd name="connsiteY45" fmla="*/ 451157 h 593364"/>
                  <a:gd name="connsiteX46" fmla="*/ 106728 w 808992"/>
                  <a:gd name="connsiteY46" fmla="*/ 429211 h 593364"/>
                  <a:gd name="connsiteX47" fmla="*/ 102595 w 808992"/>
                  <a:gd name="connsiteY47" fmla="*/ 392635 h 593364"/>
                  <a:gd name="connsiteX48" fmla="*/ 44074 w 808992"/>
                  <a:gd name="connsiteY48" fmla="*/ 378005 h 593364"/>
                  <a:gd name="connsiteX49" fmla="*/ 22128 w 808992"/>
                  <a:gd name="connsiteY49" fmla="*/ 363375 h 593364"/>
                  <a:gd name="connsiteX50" fmla="*/ 182 w 808992"/>
                  <a:gd name="connsiteY50" fmla="*/ 370690 h 593364"/>
                  <a:gd name="connsiteX0" fmla="*/ 182 w 808992"/>
                  <a:gd name="connsiteY0" fmla="*/ 370690 h 593364"/>
                  <a:gd name="connsiteX1" fmla="*/ 36758 w 808992"/>
                  <a:gd name="connsiteY1" fmla="*/ 341429 h 593364"/>
                  <a:gd name="connsiteX2" fmla="*/ 44074 w 808992"/>
                  <a:gd name="connsiteY2" fmla="*/ 304853 h 593364"/>
                  <a:gd name="connsiteX3" fmla="*/ 58704 w 808992"/>
                  <a:gd name="connsiteY3" fmla="*/ 260962 h 593364"/>
                  <a:gd name="connsiteX4" fmla="*/ 73334 w 808992"/>
                  <a:gd name="connsiteY4" fmla="*/ 202440 h 593364"/>
                  <a:gd name="connsiteX5" fmla="*/ 80650 w 808992"/>
                  <a:gd name="connsiteY5" fmla="*/ 180495 h 593364"/>
                  <a:gd name="connsiteX6" fmla="*/ 95280 w 808992"/>
                  <a:gd name="connsiteY6" fmla="*/ 158549 h 593364"/>
                  <a:gd name="connsiteX7" fmla="*/ 117226 w 808992"/>
                  <a:gd name="connsiteY7" fmla="*/ 151234 h 593364"/>
                  <a:gd name="connsiteX8" fmla="*/ 219638 w 808992"/>
                  <a:gd name="connsiteY8" fmla="*/ 158549 h 593364"/>
                  <a:gd name="connsiteX9" fmla="*/ 263531 w 808992"/>
                  <a:gd name="connsiteY9" fmla="*/ 66301 h 593364"/>
                  <a:gd name="connsiteX10" fmla="*/ 424464 w 808992"/>
                  <a:gd name="connsiteY10" fmla="*/ 165864 h 593364"/>
                  <a:gd name="connsiteX11" fmla="*/ 446410 w 808992"/>
                  <a:gd name="connsiteY11" fmla="*/ 151234 h 593364"/>
                  <a:gd name="connsiteX12" fmla="*/ 410356 w 808992"/>
                  <a:gd name="connsiteY12" fmla="*/ 73094 h 593364"/>
                  <a:gd name="connsiteX13" fmla="*/ 429547 w 808992"/>
                  <a:gd name="connsiteY13" fmla="*/ 39273 h 593364"/>
                  <a:gd name="connsiteX14" fmla="*/ 512246 w 808992"/>
                  <a:gd name="connsiteY14" fmla="*/ 56136 h 593364"/>
                  <a:gd name="connsiteX15" fmla="*/ 534192 w 808992"/>
                  <a:gd name="connsiteY15" fmla="*/ 48821 h 593364"/>
                  <a:gd name="connsiteX16" fmla="*/ 556138 w 808992"/>
                  <a:gd name="connsiteY16" fmla="*/ 56136 h 593364"/>
                  <a:gd name="connsiteX17" fmla="*/ 584781 w 808992"/>
                  <a:gd name="connsiteY17" fmla="*/ 23882 h 593364"/>
                  <a:gd name="connsiteX18" fmla="*/ 632282 w 808992"/>
                  <a:gd name="connsiteY18" fmla="*/ 132 h 593364"/>
                  <a:gd name="connsiteX19" fmla="*/ 657173 w 808992"/>
                  <a:gd name="connsiteY19" fmla="*/ 11818 h 593364"/>
                  <a:gd name="connsiteX20" fmla="*/ 704247 w 808992"/>
                  <a:gd name="connsiteY20" fmla="*/ 82214 h 593364"/>
                  <a:gd name="connsiteX21" fmla="*/ 751706 w 808992"/>
                  <a:gd name="connsiteY21" fmla="*/ 90908 h 593364"/>
                  <a:gd name="connsiteX22" fmla="*/ 731702 w 808992"/>
                  <a:gd name="connsiteY22" fmla="*/ 173179 h 593364"/>
                  <a:gd name="connsiteX23" fmla="*/ 782909 w 808992"/>
                  <a:gd name="connsiteY23" fmla="*/ 156744 h 593364"/>
                  <a:gd name="connsiteX24" fmla="*/ 797539 w 808992"/>
                  <a:gd name="connsiteY24" fmla="*/ 224386 h 593364"/>
                  <a:gd name="connsiteX25" fmla="*/ 790224 w 808992"/>
                  <a:gd name="connsiteY25" fmla="*/ 282907 h 593364"/>
                  <a:gd name="connsiteX26" fmla="*/ 782909 w 808992"/>
                  <a:gd name="connsiteY26" fmla="*/ 304853 h 593364"/>
                  <a:gd name="connsiteX27" fmla="*/ 808037 w 808992"/>
                  <a:gd name="connsiteY27" fmla="*/ 430590 h 593364"/>
                  <a:gd name="connsiteX28" fmla="*/ 804854 w 808992"/>
                  <a:gd name="connsiteY28" fmla="*/ 480418 h 593364"/>
                  <a:gd name="connsiteX29" fmla="*/ 782909 w 808992"/>
                  <a:gd name="connsiteY29" fmla="*/ 495048 h 593364"/>
                  <a:gd name="connsiteX30" fmla="*/ 767328 w 808992"/>
                  <a:gd name="connsiteY30" fmla="*/ 514238 h 593364"/>
                  <a:gd name="connsiteX31" fmla="*/ 709757 w 808992"/>
                  <a:gd name="connsiteY31" fmla="*/ 509679 h 593364"/>
                  <a:gd name="connsiteX32" fmla="*/ 742934 w 808992"/>
                  <a:gd name="connsiteY32" fmla="*/ 531289 h 593364"/>
                  <a:gd name="connsiteX33" fmla="*/ 643920 w 808992"/>
                  <a:gd name="connsiteY33" fmla="*/ 538939 h 593364"/>
                  <a:gd name="connsiteX34" fmla="*/ 621974 w 808992"/>
                  <a:gd name="connsiteY34" fmla="*/ 546255 h 593364"/>
                  <a:gd name="connsiteX35" fmla="*/ 592714 w 808992"/>
                  <a:gd name="connsiteY35" fmla="*/ 553570 h 593364"/>
                  <a:gd name="connsiteX36" fmla="*/ 583723 w 808992"/>
                  <a:gd name="connsiteY36" fmla="*/ 568200 h 593364"/>
                  <a:gd name="connsiteX37" fmla="*/ 526877 w 808992"/>
                  <a:gd name="connsiteY37" fmla="*/ 593328 h 593364"/>
                  <a:gd name="connsiteX38" fmla="*/ 500799 w 808992"/>
                  <a:gd name="connsiteY38" fmla="*/ 562263 h 593364"/>
                  <a:gd name="connsiteX39" fmla="*/ 458365 w 808992"/>
                  <a:gd name="connsiteY39" fmla="*/ 520791 h 593364"/>
                  <a:gd name="connsiteX40" fmla="*/ 370929 w 808992"/>
                  <a:gd name="connsiteY40" fmla="*/ 530247 h 593364"/>
                  <a:gd name="connsiteX41" fmla="*/ 314736 w 808992"/>
                  <a:gd name="connsiteY41" fmla="*/ 495048 h 593364"/>
                  <a:gd name="connsiteX42" fmla="*/ 263530 w 808992"/>
                  <a:gd name="connsiteY42" fmla="*/ 487733 h 593364"/>
                  <a:gd name="connsiteX43" fmla="*/ 241584 w 808992"/>
                  <a:gd name="connsiteY43" fmla="*/ 480418 h 593364"/>
                  <a:gd name="connsiteX44" fmla="*/ 219638 w 808992"/>
                  <a:gd name="connsiteY44" fmla="*/ 465787 h 593364"/>
                  <a:gd name="connsiteX45" fmla="*/ 139171 w 808992"/>
                  <a:gd name="connsiteY45" fmla="*/ 451157 h 593364"/>
                  <a:gd name="connsiteX46" fmla="*/ 106728 w 808992"/>
                  <a:gd name="connsiteY46" fmla="*/ 429211 h 593364"/>
                  <a:gd name="connsiteX47" fmla="*/ 102595 w 808992"/>
                  <a:gd name="connsiteY47" fmla="*/ 392635 h 593364"/>
                  <a:gd name="connsiteX48" fmla="*/ 44074 w 808992"/>
                  <a:gd name="connsiteY48" fmla="*/ 378005 h 593364"/>
                  <a:gd name="connsiteX49" fmla="*/ 22128 w 808992"/>
                  <a:gd name="connsiteY49" fmla="*/ 363375 h 593364"/>
                  <a:gd name="connsiteX50" fmla="*/ 182 w 808992"/>
                  <a:gd name="connsiteY50" fmla="*/ 370690 h 593364"/>
                  <a:gd name="connsiteX0" fmla="*/ 182 w 824894"/>
                  <a:gd name="connsiteY0" fmla="*/ 370690 h 593364"/>
                  <a:gd name="connsiteX1" fmla="*/ 36758 w 824894"/>
                  <a:gd name="connsiteY1" fmla="*/ 341429 h 593364"/>
                  <a:gd name="connsiteX2" fmla="*/ 44074 w 824894"/>
                  <a:gd name="connsiteY2" fmla="*/ 304853 h 593364"/>
                  <a:gd name="connsiteX3" fmla="*/ 58704 w 824894"/>
                  <a:gd name="connsiteY3" fmla="*/ 260962 h 593364"/>
                  <a:gd name="connsiteX4" fmla="*/ 73334 w 824894"/>
                  <a:gd name="connsiteY4" fmla="*/ 202440 h 593364"/>
                  <a:gd name="connsiteX5" fmla="*/ 80650 w 824894"/>
                  <a:gd name="connsiteY5" fmla="*/ 180495 h 593364"/>
                  <a:gd name="connsiteX6" fmla="*/ 95280 w 824894"/>
                  <a:gd name="connsiteY6" fmla="*/ 158549 h 593364"/>
                  <a:gd name="connsiteX7" fmla="*/ 117226 w 824894"/>
                  <a:gd name="connsiteY7" fmla="*/ 151234 h 593364"/>
                  <a:gd name="connsiteX8" fmla="*/ 219638 w 824894"/>
                  <a:gd name="connsiteY8" fmla="*/ 158549 h 593364"/>
                  <a:gd name="connsiteX9" fmla="*/ 263531 w 824894"/>
                  <a:gd name="connsiteY9" fmla="*/ 66301 h 593364"/>
                  <a:gd name="connsiteX10" fmla="*/ 424464 w 824894"/>
                  <a:gd name="connsiteY10" fmla="*/ 165864 h 593364"/>
                  <a:gd name="connsiteX11" fmla="*/ 446410 w 824894"/>
                  <a:gd name="connsiteY11" fmla="*/ 151234 h 593364"/>
                  <a:gd name="connsiteX12" fmla="*/ 410356 w 824894"/>
                  <a:gd name="connsiteY12" fmla="*/ 73094 h 593364"/>
                  <a:gd name="connsiteX13" fmla="*/ 429547 w 824894"/>
                  <a:gd name="connsiteY13" fmla="*/ 39273 h 593364"/>
                  <a:gd name="connsiteX14" fmla="*/ 512246 w 824894"/>
                  <a:gd name="connsiteY14" fmla="*/ 56136 h 593364"/>
                  <a:gd name="connsiteX15" fmla="*/ 534192 w 824894"/>
                  <a:gd name="connsiteY15" fmla="*/ 48821 h 593364"/>
                  <a:gd name="connsiteX16" fmla="*/ 556138 w 824894"/>
                  <a:gd name="connsiteY16" fmla="*/ 56136 h 593364"/>
                  <a:gd name="connsiteX17" fmla="*/ 584781 w 824894"/>
                  <a:gd name="connsiteY17" fmla="*/ 23882 h 593364"/>
                  <a:gd name="connsiteX18" fmla="*/ 632282 w 824894"/>
                  <a:gd name="connsiteY18" fmla="*/ 132 h 593364"/>
                  <a:gd name="connsiteX19" fmla="*/ 657173 w 824894"/>
                  <a:gd name="connsiteY19" fmla="*/ 11818 h 593364"/>
                  <a:gd name="connsiteX20" fmla="*/ 704247 w 824894"/>
                  <a:gd name="connsiteY20" fmla="*/ 82214 h 593364"/>
                  <a:gd name="connsiteX21" fmla="*/ 751706 w 824894"/>
                  <a:gd name="connsiteY21" fmla="*/ 90908 h 593364"/>
                  <a:gd name="connsiteX22" fmla="*/ 731702 w 824894"/>
                  <a:gd name="connsiteY22" fmla="*/ 173179 h 593364"/>
                  <a:gd name="connsiteX23" fmla="*/ 782909 w 824894"/>
                  <a:gd name="connsiteY23" fmla="*/ 156744 h 593364"/>
                  <a:gd name="connsiteX24" fmla="*/ 824857 w 824894"/>
                  <a:gd name="connsiteY24" fmla="*/ 224386 h 593364"/>
                  <a:gd name="connsiteX25" fmla="*/ 790224 w 824894"/>
                  <a:gd name="connsiteY25" fmla="*/ 282907 h 593364"/>
                  <a:gd name="connsiteX26" fmla="*/ 782909 w 824894"/>
                  <a:gd name="connsiteY26" fmla="*/ 304853 h 593364"/>
                  <a:gd name="connsiteX27" fmla="*/ 808037 w 824894"/>
                  <a:gd name="connsiteY27" fmla="*/ 430590 h 593364"/>
                  <a:gd name="connsiteX28" fmla="*/ 804854 w 824894"/>
                  <a:gd name="connsiteY28" fmla="*/ 480418 h 593364"/>
                  <a:gd name="connsiteX29" fmla="*/ 782909 w 824894"/>
                  <a:gd name="connsiteY29" fmla="*/ 495048 h 593364"/>
                  <a:gd name="connsiteX30" fmla="*/ 767328 w 824894"/>
                  <a:gd name="connsiteY30" fmla="*/ 514238 h 593364"/>
                  <a:gd name="connsiteX31" fmla="*/ 709757 w 824894"/>
                  <a:gd name="connsiteY31" fmla="*/ 509679 h 593364"/>
                  <a:gd name="connsiteX32" fmla="*/ 742934 w 824894"/>
                  <a:gd name="connsiteY32" fmla="*/ 531289 h 593364"/>
                  <a:gd name="connsiteX33" fmla="*/ 643920 w 824894"/>
                  <a:gd name="connsiteY33" fmla="*/ 538939 h 593364"/>
                  <a:gd name="connsiteX34" fmla="*/ 621974 w 824894"/>
                  <a:gd name="connsiteY34" fmla="*/ 546255 h 593364"/>
                  <a:gd name="connsiteX35" fmla="*/ 592714 w 824894"/>
                  <a:gd name="connsiteY35" fmla="*/ 553570 h 593364"/>
                  <a:gd name="connsiteX36" fmla="*/ 583723 w 824894"/>
                  <a:gd name="connsiteY36" fmla="*/ 568200 h 593364"/>
                  <a:gd name="connsiteX37" fmla="*/ 526877 w 824894"/>
                  <a:gd name="connsiteY37" fmla="*/ 593328 h 593364"/>
                  <a:gd name="connsiteX38" fmla="*/ 500799 w 824894"/>
                  <a:gd name="connsiteY38" fmla="*/ 562263 h 593364"/>
                  <a:gd name="connsiteX39" fmla="*/ 458365 w 824894"/>
                  <a:gd name="connsiteY39" fmla="*/ 520791 h 593364"/>
                  <a:gd name="connsiteX40" fmla="*/ 370929 w 824894"/>
                  <a:gd name="connsiteY40" fmla="*/ 530247 h 593364"/>
                  <a:gd name="connsiteX41" fmla="*/ 314736 w 824894"/>
                  <a:gd name="connsiteY41" fmla="*/ 495048 h 593364"/>
                  <a:gd name="connsiteX42" fmla="*/ 263530 w 824894"/>
                  <a:gd name="connsiteY42" fmla="*/ 487733 h 593364"/>
                  <a:gd name="connsiteX43" fmla="*/ 241584 w 824894"/>
                  <a:gd name="connsiteY43" fmla="*/ 480418 h 593364"/>
                  <a:gd name="connsiteX44" fmla="*/ 219638 w 824894"/>
                  <a:gd name="connsiteY44" fmla="*/ 465787 h 593364"/>
                  <a:gd name="connsiteX45" fmla="*/ 139171 w 824894"/>
                  <a:gd name="connsiteY45" fmla="*/ 451157 h 593364"/>
                  <a:gd name="connsiteX46" fmla="*/ 106728 w 824894"/>
                  <a:gd name="connsiteY46" fmla="*/ 429211 h 593364"/>
                  <a:gd name="connsiteX47" fmla="*/ 102595 w 824894"/>
                  <a:gd name="connsiteY47" fmla="*/ 392635 h 593364"/>
                  <a:gd name="connsiteX48" fmla="*/ 44074 w 824894"/>
                  <a:gd name="connsiteY48" fmla="*/ 378005 h 593364"/>
                  <a:gd name="connsiteX49" fmla="*/ 22128 w 824894"/>
                  <a:gd name="connsiteY49" fmla="*/ 363375 h 593364"/>
                  <a:gd name="connsiteX50" fmla="*/ 182 w 824894"/>
                  <a:gd name="connsiteY50" fmla="*/ 370690 h 593364"/>
                  <a:gd name="connsiteX0" fmla="*/ 182 w 824894"/>
                  <a:gd name="connsiteY0" fmla="*/ 370690 h 593364"/>
                  <a:gd name="connsiteX1" fmla="*/ 36758 w 824894"/>
                  <a:gd name="connsiteY1" fmla="*/ 341429 h 593364"/>
                  <a:gd name="connsiteX2" fmla="*/ 44074 w 824894"/>
                  <a:gd name="connsiteY2" fmla="*/ 304853 h 593364"/>
                  <a:gd name="connsiteX3" fmla="*/ 58704 w 824894"/>
                  <a:gd name="connsiteY3" fmla="*/ 260962 h 593364"/>
                  <a:gd name="connsiteX4" fmla="*/ 73334 w 824894"/>
                  <a:gd name="connsiteY4" fmla="*/ 202440 h 593364"/>
                  <a:gd name="connsiteX5" fmla="*/ 80650 w 824894"/>
                  <a:gd name="connsiteY5" fmla="*/ 180495 h 593364"/>
                  <a:gd name="connsiteX6" fmla="*/ 95280 w 824894"/>
                  <a:gd name="connsiteY6" fmla="*/ 158549 h 593364"/>
                  <a:gd name="connsiteX7" fmla="*/ 117226 w 824894"/>
                  <a:gd name="connsiteY7" fmla="*/ 151234 h 593364"/>
                  <a:gd name="connsiteX8" fmla="*/ 219638 w 824894"/>
                  <a:gd name="connsiteY8" fmla="*/ 158549 h 593364"/>
                  <a:gd name="connsiteX9" fmla="*/ 263531 w 824894"/>
                  <a:gd name="connsiteY9" fmla="*/ 66301 h 593364"/>
                  <a:gd name="connsiteX10" fmla="*/ 424464 w 824894"/>
                  <a:gd name="connsiteY10" fmla="*/ 165864 h 593364"/>
                  <a:gd name="connsiteX11" fmla="*/ 412263 w 824894"/>
                  <a:gd name="connsiteY11" fmla="*/ 109354 h 593364"/>
                  <a:gd name="connsiteX12" fmla="*/ 410356 w 824894"/>
                  <a:gd name="connsiteY12" fmla="*/ 73094 h 593364"/>
                  <a:gd name="connsiteX13" fmla="*/ 429547 w 824894"/>
                  <a:gd name="connsiteY13" fmla="*/ 39273 h 593364"/>
                  <a:gd name="connsiteX14" fmla="*/ 512246 w 824894"/>
                  <a:gd name="connsiteY14" fmla="*/ 56136 h 593364"/>
                  <a:gd name="connsiteX15" fmla="*/ 534192 w 824894"/>
                  <a:gd name="connsiteY15" fmla="*/ 48821 h 593364"/>
                  <a:gd name="connsiteX16" fmla="*/ 556138 w 824894"/>
                  <a:gd name="connsiteY16" fmla="*/ 56136 h 593364"/>
                  <a:gd name="connsiteX17" fmla="*/ 584781 w 824894"/>
                  <a:gd name="connsiteY17" fmla="*/ 23882 h 593364"/>
                  <a:gd name="connsiteX18" fmla="*/ 632282 w 824894"/>
                  <a:gd name="connsiteY18" fmla="*/ 132 h 593364"/>
                  <a:gd name="connsiteX19" fmla="*/ 657173 w 824894"/>
                  <a:gd name="connsiteY19" fmla="*/ 11818 h 593364"/>
                  <a:gd name="connsiteX20" fmla="*/ 704247 w 824894"/>
                  <a:gd name="connsiteY20" fmla="*/ 82214 h 593364"/>
                  <a:gd name="connsiteX21" fmla="*/ 751706 w 824894"/>
                  <a:gd name="connsiteY21" fmla="*/ 90908 h 593364"/>
                  <a:gd name="connsiteX22" fmla="*/ 731702 w 824894"/>
                  <a:gd name="connsiteY22" fmla="*/ 173179 h 593364"/>
                  <a:gd name="connsiteX23" fmla="*/ 782909 w 824894"/>
                  <a:gd name="connsiteY23" fmla="*/ 156744 h 593364"/>
                  <a:gd name="connsiteX24" fmla="*/ 824857 w 824894"/>
                  <a:gd name="connsiteY24" fmla="*/ 224386 h 593364"/>
                  <a:gd name="connsiteX25" fmla="*/ 790224 w 824894"/>
                  <a:gd name="connsiteY25" fmla="*/ 282907 h 593364"/>
                  <a:gd name="connsiteX26" fmla="*/ 782909 w 824894"/>
                  <a:gd name="connsiteY26" fmla="*/ 304853 h 593364"/>
                  <a:gd name="connsiteX27" fmla="*/ 808037 w 824894"/>
                  <a:gd name="connsiteY27" fmla="*/ 430590 h 593364"/>
                  <a:gd name="connsiteX28" fmla="*/ 804854 w 824894"/>
                  <a:gd name="connsiteY28" fmla="*/ 480418 h 593364"/>
                  <a:gd name="connsiteX29" fmla="*/ 782909 w 824894"/>
                  <a:gd name="connsiteY29" fmla="*/ 495048 h 593364"/>
                  <a:gd name="connsiteX30" fmla="*/ 767328 w 824894"/>
                  <a:gd name="connsiteY30" fmla="*/ 514238 h 593364"/>
                  <a:gd name="connsiteX31" fmla="*/ 709757 w 824894"/>
                  <a:gd name="connsiteY31" fmla="*/ 509679 h 593364"/>
                  <a:gd name="connsiteX32" fmla="*/ 742934 w 824894"/>
                  <a:gd name="connsiteY32" fmla="*/ 531289 h 593364"/>
                  <a:gd name="connsiteX33" fmla="*/ 643920 w 824894"/>
                  <a:gd name="connsiteY33" fmla="*/ 538939 h 593364"/>
                  <a:gd name="connsiteX34" fmla="*/ 621974 w 824894"/>
                  <a:gd name="connsiteY34" fmla="*/ 546255 h 593364"/>
                  <a:gd name="connsiteX35" fmla="*/ 592714 w 824894"/>
                  <a:gd name="connsiteY35" fmla="*/ 553570 h 593364"/>
                  <a:gd name="connsiteX36" fmla="*/ 583723 w 824894"/>
                  <a:gd name="connsiteY36" fmla="*/ 568200 h 593364"/>
                  <a:gd name="connsiteX37" fmla="*/ 526877 w 824894"/>
                  <a:gd name="connsiteY37" fmla="*/ 593328 h 593364"/>
                  <a:gd name="connsiteX38" fmla="*/ 500799 w 824894"/>
                  <a:gd name="connsiteY38" fmla="*/ 562263 h 593364"/>
                  <a:gd name="connsiteX39" fmla="*/ 458365 w 824894"/>
                  <a:gd name="connsiteY39" fmla="*/ 520791 h 593364"/>
                  <a:gd name="connsiteX40" fmla="*/ 370929 w 824894"/>
                  <a:gd name="connsiteY40" fmla="*/ 530247 h 593364"/>
                  <a:gd name="connsiteX41" fmla="*/ 314736 w 824894"/>
                  <a:gd name="connsiteY41" fmla="*/ 495048 h 593364"/>
                  <a:gd name="connsiteX42" fmla="*/ 263530 w 824894"/>
                  <a:gd name="connsiteY42" fmla="*/ 487733 h 593364"/>
                  <a:gd name="connsiteX43" fmla="*/ 241584 w 824894"/>
                  <a:gd name="connsiteY43" fmla="*/ 480418 h 593364"/>
                  <a:gd name="connsiteX44" fmla="*/ 219638 w 824894"/>
                  <a:gd name="connsiteY44" fmla="*/ 465787 h 593364"/>
                  <a:gd name="connsiteX45" fmla="*/ 139171 w 824894"/>
                  <a:gd name="connsiteY45" fmla="*/ 451157 h 593364"/>
                  <a:gd name="connsiteX46" fmla="*/ 106728 w 824894"/>
                  <a:gd name="connsiteY46" fmla="*/ 429211 h 593364"/>
                  <a:gd name="connsiteX47" fmla="*/ 102595 w 824894"/>
                  <a:gd name="connsiteY47" fmla="*/ 392635 h 593364"/>
                  <a:gd name="connsiteX48" fmla="*/ 44074 w 824894"/>
                  <a:gd name="connsiteY48" fmla="*/ 378005 h 593364"/>
                  <a:gd name="connsiteX49" fmla="*/ 22128 w 824894"/>
                  <a:gd name="connsiteY49" fmla="*/ 363375 h 593364"/>
                  <a:gd name="connsiteX50" fmla="*/ 182 w 824894"/>
                  <a:gd name="connsiteY50" fmla="*/ 370690 h 593364"/>
                  <a:gd name="connsiteX0" fmla="*/ 182 w 824894"/>
                  <a:gd name="connsiteY0" fmla="*/ 370690 h 593364"/>
                  <a:gd name="connsiteX1" fmla="*/ 36758 w 824894"/>
                  <a:gd name="connsiteY1" fmla="*/ 341429 h 593364"/>
                  <a:gd name="connsiteX2" fmla="*/ 44074 w 824894"/>
                  <a:gd name="connsiteY2" fmla="*/ 304853 h 593364"/>
                  <a:gd name="connsiteX3" fmla="*/ 58704 w 824894"/>
                  <a:gd name="connsiteY3" fmla="*/ 260962 h 593364"/>
                  <a:gd name="connsiteX4" fmla="*/ 73334 w 824894"/>
                  <a:gd name="connsiteY4" fmla="*/ 202440 h 593364"/>
                  <a:gd name="connsiteX5" fmla="*/ 80650 w 824894"/>
                  <a:gd name="connsiteY5" fmla="*/ 180495 h 593364"/>
                  <a:gd name="connsiteX6" fmla="*/ 95280 w 824894"/>
                  <a:gd name="connsiteY6" fmla="*/ 158549 h 593364"/>
                  <a:gd name="connsiteX7" fmla="*/ 117226 w 824894"/>
                  <a:gd name="connsiteY7" fmla="*/ 151234 h 593364"/>
                  <a:gd name="connsiteX8" fmla="*/ 219638 w 824894"/>
                  <a:gd name="connsiteY8" fmla="*/ 158549 h 593364"/>
                  <a:gd name="connsiteX9" fmla="*/ 263531 w 824894"/>
                  <a:gd name="connsiteY9" fmla="*/ 66301 h 593364"/>
                  <a:gd name="connsiteX10" fmla="*/ 383486 w 824894"/>
                  <a:gd name="connsiteY10" fmla="*/ 130963 h 593364"/>
                  <a:gd name="connsiteX11" fmla="*/ 412263 w 824894"/>
                  <a:gd name="connsiteY11" fmla="*/ 109354 h 593364"/>
                  <a:gd name="connsiteX12" fmla="*/ 410356 w 824894"/>
                  <a:gd name="connsiteY12" fmla="*/ 73094 h 593364"/>
                  <a:gd name="connsiteX13" fmla="*/ 429547 w 824894"/>
                  <a:gd name="connsiteY13" fmla="*/ 39273 h 593364"/>
                  <a:gd name="connsiteX14" fmla="*/ 512246 w 824894"/>
                  <a:gd name="connsiteY14" fmla="*/ 56136 h 593364"/>
                  <a:gd name="connsiteX15" fmla="*/ 534192 w 824894"/>
                  <a:gd name="connsiteY15" fmla="*/ 48821 h 593364"/>
                  <a:gd name="connsiteX16" fmla="*/ 556138 w 824894"/>
                  <a:gd name="connsiteY16" fmla="*/ 56136 h 593364"/>
                  <a:gd name="connsiteX17" fmla="*/ 584781 w 824894"/>
                  <a:gd name="connsiteY17" fmla="*/ 23882 h 593364"/>
                  <a:gd name="connsiteX18" fmla="*/ 632282 w 824894"/>
                  <a:gd name="connsiteY18" fmla="*/ 132 h 593364"/>
                  <a:gd name="connsiteX19" fmla="*/ 657173 w 824894"/>
                  <a:gd name="connsiteY19" fmla="*/ 11818 h 593364"/>
                  <a:gd name="connsiteX20" fmla="*/ 704247 w 824894"/>
                  <a:gd name="connsiteY20" fmla="*/ 82214 h 593364"/>
                  <a:gd name="connsiteX21" fmla="*/ 751706 w 824894"/>
                  <a:gd name="connsiteY21" fmla="*/ 90908 h 593364"/>
                  <a:gd name="connsiteX22" fmla="*/ 731702 w 824894"/>
                  <a:gd name="connsiteY22" fmla="*/ 173179 h 593364"/>
                  <a:gd name="connsiteX23" fmla="*/ 782909 w 824894"/>
                  <a:gd name="connsiteY23" fmla="*/ 156744 h 593364"/>
                  <a:gd name="connsiteX24" fmla="*/ 824857 w 824894"/>
                  <a:gd name="connsiteY24" fmla="*/ 224386 h 593364"/>
                  <a:gd name="connsiteX25" fmla="*/ 790224 w 824894"/>
                  <a:gd name="connsiteY25" fmla="*/ 282907 h 593364"/>
                  <a:gd name="connsiteX26" fmla="*/ 782909 w 824894"/>
                  <a:gd name="connsiteY26" fmla="*/ 304853 h 593364"/>
                  <a:gd name="connsiteX27" fmla="*/ 808037 w 824894"/>
                  <a:gd name="connsiteY27" fmla="*/ 430590 h 593364"/>
                  <a:gd name="connsiteX28" fmla="*/ 804854 w 824894"/>
                  <a:gd name="connsiteY28" fmla="*/ 480418 h 593364"/>
                  <a:gd name="connsiteX29" fmla="*/ 782909 w 824894"/>
                  <a:gd name="connsiteY29" fmla="*/ 495048 h 593364"/>
                  <a:gd name="connsiteX30" fmla="*/ 767328 w 824894"/>
                  <a:gd name="connsiteY30" fmla="*/ 514238 h 593364"/>
                  <a:gd name="connsiteX31" fmla="*/ 709757 w 824894"/>
                  <a:gd name="connsiteY31" fmla="*/ 509679 h 593364"/>
                  <a:gd name="connsiteX32" fmla="*/ 742934 w 824894"/>
                  <a:gd name="connsiteY32" fmla="*/ 531289 h 593364"/>
                  <a:gd name="connsiteX33" fmla="*/ 643920 w 824894"/>
                  <a:gd name="connsiteY33" fmla="*/ 538939 h 593364"/>
                  <a:gd name="connsiteX34" fmla="*/ 621974 w 824894"/>
                  <a:gd name="connsiteY34" fmla="*/ 546255 h 593364"/>
                  <a:gd name="connsiteX35" fmla="*/ 592714 w 824894"/>
                  <a:gd name="connsiteY35" fmla="*/ 553570 h 593364"/>
                  <a:gd name="connsiteX36" fmla="*/ 583723 w 824894"/>
                  <a:gd name="connsiteY36" fmla="*/ 568200 h 593364"/>
                  <a:gd name="connsiteX37" fmla="*/ 526877 w 824894"/>
                  <a:gd name="connsiteY37" fmla="*/ 593328 h 593364"/>
                  <a:gd name="connsiteX38" fmla="*/ 500799 w 824894"/>
                  <a:gd name="connsiteY38" fmla="*/ 562263 h 593364"/>
                  <a:gd name="connsiteX39" fmla="*/ 458365 w 824894"/>
                  <a:gd name="connsiteY39" fmla="*/ 520791 h 593364"/>
                  <a:gd name="connsiteX40" fmla="*/ 370929 w 824894"/>
                  <a:gd name="connsiteY40" fmla="*/ 530247 h 593364"/>
                  <a:gd name="connsiteX41" fmla="*/ 314736 w 824894"/>
                  <a:gd name="connsiteY41" fmla="*/ 495048 h 593364"/>
                  <a:gd name="connsiteX42" fmla="*/ 263530 w 824894"/>
                  <a:gd name="connsiteY42" fmla="*/ 487733 h 593364"/>
                  <a:gd name="connsiteX43" fmla="*/ 241584 w 824894"/>
                  <a:gd name="connsiteY43" fmla="*/ 480418 h 593364"/>
                  <a:gd name="connsiteX44" fmla="*/ 219638 w 824894"/>
                  <a:gd name="connsiteY44" fmla="*/ 465787 h 593364"/>
                  <a:gd name="connsiteX45" fmla="*/ 139171 w 824894"/>
                  <a:gd name="connsiteY45" fmla="*/ 451157 h 593364"/>
                  <a:gd name="connsiteX46" fmla="*/ 106728 w 824894"/>
                  <a:gd name="connsiteY46" fmla="*/ 429211 h 593364"/>
                  <a:gd name="connsiteX47" fmla="*/ 102595 w 824894"/>
                  <a:gd name="connsiteY47" fmla="*/ 392635 h 593364"/>
                  <a:gd name="connsiteX48" fmla="*/ 44074 w 824894"/>
                  <a:gd name="connsiteY48" fmla="*/ 378005 h 593364"/>
                  <a:gd name="connsiteX49" fmla="*/ 22128 w 824894"/>
                  <a:gd name="connsiteY49" fmla="*/ 363375 h 593364"/>
                  <a:gd name="connsiteX50" fmla="*/ 182 w 824894"/>
                  <a:gd name="connsiteY50" fmla="*/ 370690 h 593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824894" h="593364">
                    <a:moveTo>
                      <a:pt x="182" y="370690"/>
                    </a:moveTo>
                    <a:cubicBezTo>
                      <a:pt x="2620" y="367032"/>
                      <a:pt x="28097" y="354420"/>
                      <a:pt x="36758" y="341429"/>
                    </a:cubicBezTo>
                    <a:cubicBezTo>
                      <a:pt x="43655" y="331084"/>
                      <a:pt x="40802" y="316848"/>
                      <a:pt x="44074" y="304853"/>
                    </a:cubicBezTo>
                    <a:cubicBezTo>
                      <a:pt x="48132" y="289975"/>
                      <a:pt x="54964" y="275923"/>
                      <a:pt x="58704" y="260962"/>
                    </a:cubicBezTo>
                    <a:lnTo>
                      <a:pt x="73334" y="202440"/>
                    </a:lnTo>
                    <a:cubicBezTo>
                      <a:pt x="75204" y="194959"/>
                      <a:pt x="77202" y="187392"/>
                      <a:pt x="80650" y="180495"/>
                    </a:cubicBezTo>
                    <a:cubicBezTo>
                      <a:pt x="84582" y="172631"/>
                      <a:pt x="88415" y="164041"/>
                      <a:pt x="95280" y="158549"/>
                    </a:cubicBezTo>
                    <a:cubicBezTo>
                      <a:pt x="101301" y="153732"/>
                      <a:pt x="109911" y="153672"/>
                      <a:pt x="117226" y="151234"/>
                    </a:cubicBezTo>
                    <a:cubicBezTo>
                      <a:pt x="151363" y="153672"/>
                      <a:pt x="195254" y="172705"/>
                      <a:pt x="219638" y="158549"/>
                    </a:cubicBezTo>
                    <a:cubicBezTo>
                      <a:pt x="244022" y="144393"/>
                      <a:pt x="236223" y="70899"/>
                      <a:pt x="263531" y="66301"/>
                    </a:cubicBezTo>
                    <a:cubicBezTo>
                      <a:pt x="290839" y="61703"/>
                      <a:pt x="358697" y="123788"/>
                      <a:pt x="383486" y="130963"/>
                    </a:cubicBezTo>
                    <a:cubicBezTo>
                      <a:pt x="408275" y="138138"/>
                      <a:pt x="407785" y="118999"/>
                      <a:pt x="412263" y="109354"/>
                    </a:cubicBezTo>
                    <a:cubicBezTo>
                      <a:pt x="416741" y="99709"/>
                      <a:pt x="407475" y="84774"/>
                      <a:pt x="410356" y="73094"/>
                    </a:cubicBezTo>
                    <a:cubicBezTo>
                      <a:pt x="413237" y="61414"/>
                      <a:pt x="412565" y="42099"/>
                      <a:pt x="429547" y="39273"/>
                    </a:cubicBezTo>
                    <a:cubicBezTo>
                      <a:pt x="446529" y="36447"/>
                      <a:pt x="494805" y="54545"/>
                      <a:pt x="512246" y="56136"/>
                    </a:cubicBezTo>
                    <a:cubicBezTo>
                      <a:pt x="529687" y="57727"/>
                      <a:pt x="526877" y="51259"/>
                      <a:pt x="534192" y="48821"/>
                    </a:cubicBezTo>
                    <a:cubicBezTo>
                      <a:pt x="541507" y="51259"/>
                      <a:pt x="547707" y="60292"/>
                      <a:pt x="556138" y="56136"/>
                    </a:cubicBezTo>
                    <a:cubicBezTo>
                      <a:pt x="564569" y="51980"/>
                      <a:pt x="572091" y="29257"/>
                      <a:pt x="584781" y="23882"/>
                    </a:cubicBezTo>
                    <a:cubicBezTo>
                      <a:pt x="597471" y="18507"/>
                      <a:pt x="621206" y="1153"/>
                      <a:pt x="632282" y="132"/>
                    </a:cubicBezTo>
                    <a:cubicBezTo>
                      <a:pt x="643358" y="-889"/>
                      <a:pt x="645179" y="4075"/>
                      <a:pt x="657173" y="11818"/>
                    </a:cubicBezTo>
                    <a:cubicBezTo>
                      <a:pt x="682709" y="37352"/>
                      <a:pt x="688492" y="69032"/>
                      <a:pt x="704247" y="82214"/>
                    </a:cubicBezTo>
                    <a:cubicBezTo>
                      <a:pt x="720003" y="95396"/>
                      <a:pt x="747130" y="75747"/>
                      <a:pt x="751706" y="90908"/>
                    </a:cubicBezTo>
                    <a:cubicBezTo>
                      <a:pt x="756282" y="106069"/>
                      <a:pt x="726502" y="162206"/>
                      <a:pt x="731702" y="173179"/>
                    </a:cubicBezTo>
                    <a:cubicBezTo>
                      <a:pt x="736902" y="184152"/>
                      <a:pt x="767383" y="148210"/>
                      <a:pt x="782909" y="156744"/>
                    </a:cubicBezTo>
                    <a:cubicBezTo>
                      <a:pt x="798435" y="165278"/>
                      <a:pt x="823638" y="203359"/>
                      <a:pt x="824857" y="224386"/>
                    </a:cubicBezTo>
                    <a:cubicBezTo>
                      <a:pt x="826076" y="245413"/>
                      <a:pt x="797215" y="269496"/>
                      <a:pt x="790224" y="282907"/>
                    </a:cubicBezTo>
                    <a:cubicBezTo>
                      <a:pt x="783233" y="296318"/>
                      <a:pt x="779940" y="280239"/>
                      <a:pt x="782909" y="304853"/>
                    </a:cubicBezTo>
                    <a:cubicBezTo>
                      <a:pt x="785878" y="329467"/>
                      <a:pt x="802585" y="386970"/>
                      <a:pt x="808037" y="430590"/>
                    </a:cubicBezTo>
                    <a:cubicBezTo>
                      <a:pt x="809950" y="445893"/>
                      <a:pt x="809042" y="469675"/>
                      <a:pt x="804854" y="480418"/>
                    </a:cubicBezTo>
                    <a:cubicBezTo>
                      <a:pt x="800666" y="491161"/>
                      <a:pt x="789163" y="489411"/>
                      <a:pt x="782909" y="495048"/>
                    </a:cubicBezTo>
                    <a:cubicBezTo>
                      <a:pt x="776655" y="500685"/>
                      <a:pt x="784235" y="510856"/>
                      <a:pt x="767328" y="514238"/>
                    </a:cubicBezTo>
                    <a:cubicBezTo>
                      <a:pt x="759767" y="515750"/>
                      <a:pt x="717072" y="507240"/>
                      <a:pt x="709757" y="509679"/>
                    </a:cubicBezTo>
                    <a:cubicBezTo>
                      <a:pt x="704880" y="514556"/>
                      <a:pt x="748848" y="527741"/>
                      <a:pt x="742934" y="531289"/>
                    </a:cubicBezTo>
                    <a:cubicBezTo>
                      <a:pt x="734960" y="536073"/>
                      <a:pt x="664080" y="536445"/>
                      <a:pt x="643920" y="538939"/>
                    </a:cubicBezTo>
                    <a:cubicBezTo>
                      <a:pt x="623760" y="541433"/>
                      <a:pt x="629388" y="544136"/>
                      <a:pt x="621974" y="546255"/>
                    </a:cubicBezTo>
                    <a:cubicBezTo>
                      <a:pt x="612307" y="549017"/>
                      <a:pt x="599089" y="549913"/>
                      <a:pt x="592714" y="553570"/>
                    </a:cubicBezTo>
                    <a:cubicBezTo>
                      <a:pt x="586339" y="557227"/>
                      <a:pt x="594696" y="561574"/>
                      <a:pt x="583723" y="568200"/>
                    </a:cubicBezTo>
                    <a:cubicBezTo>
                      <a:pt x="572750" y="574826"/>
                      <a:pt x="540698" y="594318"/>
                      <a:pt x="526877" y="593328"/>
                    </a:cubicBezTo>
                    <a:cubicBezTo>
                      <a:pt x="513056" y="592339"/>
                      <a:pt x="512218" y="574352"/>
                      <a:pt x="500799" y="562263"/>
                    </a:cubicBezTo>
                    <a:cubicBezTo>
                      <a:pt x="489380" y="550174"/>
                      <a:pt x="480010" y="526127"/>
                      <a:pt x="458365" y="520791"/>
                    </a:cubicBezTo>
                    <a:cubicBezTo>
                      <a:pt x="436720" y="515455"/>
                      <a:pt x="414820" y="532685"/>
                      <a:pt x="370929" y="530247"/>
                    </a:cubicBezTo>
                    <a:cubicBezTo>
                      <a:pt x="366052" y="520493"/>
                      <a:pt x="332636" y="502134"/>
                      <a:pt x="314736" y="495048"/>
                    </a:cubicBezTo>
                    <a:cubicBezTo>
                      <a:pt x="296836" y="487962"/>
                      <a:pt x="280437" y="491114"/>
                      <a:pt x="263530" y="487733"/>
                    </a:cubicBezTo>
                    <a:cubicBezTo>
                      <a:pt x="255969" y="486221"/>
                      <a:pt x="248899" y="482856"/>
                      <a:pt x="241584" y="480418"/>
                    </a:cubicBezTo>
                    <a:cubicBezTo>
                      <a:pt x="234269" y="475541"/>
                      <a:pt x="227719" y="469250"/>
                      <a:pt x="219638" y="465787"/>
                    </a:cubicBezTo>
                    <a:cubicBezTo>
                      <a:pt x="202393" y="458396"/>
                      <a:pt x="151036" y="452852"/>
                      <a:pt x="139171" y="451157"/>
                    </a:cubicBezTo>
                    <a:cubicBezTo>
                      <a:pt x="134294" y="443842"/>
                      <a:pt x="110660" y="437075"/>
                      <a:pt x="106728" y="429211"/>
                    </a:cubicBezTo>
                    <a:cubicBezTo>
                      <a:pt x="99717" y="415188"/>
                      <a:pt x="113037" y="401169"/>
                      <a:pt x="102595" y="392635"/>
                    </a:cubicBezTo>
                    <a:cubicBezTo>
                      <a:pt x="92153" y="384101"/>
                      <a:pt x="44074" y="378005"/>
                      <a:pt x="44074" y="378005"/>
                    </a:cubicBezTo>
                    <a:cubicBezTo>
                      <a:pt x="36759" y="373128"/>
                      <a:pt x="24261" y="371904"/>
                      <a:pt x="22128" y="363375"/>
                    </a:cubicBezTo>
                    <a:cubicBezTo>
                      <a:pt x="20455" y="356684"/>
                      <a:pt x="-2256" y="374348"/>
                      <a:pt x="182" y="370690"/>
                    </a:cubicBezTo>
                    <a:close/>
                  </a:path>
                </a:pathLst>
              </a:custGeom>
              <a:solidFill>
                <a:schemeClr val="bg2"/>
              </a:solidFill>
              <a:ln w="158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35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" name="Rectangle 13">
              <a:extLst>
                <a:ext uri="{FF2B5EF4-FFF2-40B4-BE49-F238E27FC236}">
                  <a16:creationId xmlns:a16="http://schemas.microsoft.com/office/drawing/2014/main" id="{E60EDC6D-0E60-D289-E6E7-76ADD8A7F858}"/>
                </a:ext>
              </a:extLst>
            </p:cNvPr>
            <p:cNvSpPr/>
            <p:nvPr/>
          </p:nvSpPr>
          <p:spPr>
            <a:xfrm>
              <a:off x="4408626" y="2022838"/>
              <a:ext cx="2783382" cy="692497"/>
            </a:xfrm>
            <a:prstGeom prst="rect">
              <a:avLst/>
            </a:prstGeom>
            <a:solidFill>
              <a:srgbClr val="FFFFFF">
                <a:alpha val="38824"/>
              </a:srgbClr>
            </a:solidFill>
          </p:spPr>
          <p:txBody>
            <a:bodyPr wrap="none" lIns="36000" tIns="0" rIns="36000" bIns="0">
              <a:spAutoFit/>
            </a:bodyPr>
            <a:lstStyle/>
            <a:p>
              <a:pPr algn="ctr"/>
              <a:r>
                <a:rPr lang="uk-UA" sz="2000" b="1" dirty="0">
                  <a:ln w="3175">
                    <a:noFill/>
                  </a:ln>
                  <a:cs typeface="Arial" panose="020B0604020202020204" pitchFamily="34" charset="0"/>
                </a:rPr>
                <a:t>Правобережжя</a:t>
              </a:r>
            </a:p>
            <a:p>
              <a:pPr algn="ctr"/>
              <a:r>
                <a:rPr lang="en-US" sz="1100" dirty="0">
                  <a:ln w="3175">
                    <a:noFill/>
                  </a:ln>
                  <a:cs typeface="Arial" panose="020B0604020202020204" pitchFamily="34" charset="0"/>
                </a:rPr>
                <a:t>(</a:t>
              </a:r>
              <a:r>
                <a:rPr lang="uk-UA" sz="1100" dirty="0">
                  <a:ln w="3175">
                    <a:noFill/>
                  </a:ln>
                  <a:cs typeface="Arial" panose="020B0604020202020204" pitchFamily="34" charset="0"/>
                </a:rPr>
                <a:t>крім Галичини, Закарпаття та Буковини</a:t>
              </a:r>
              <a:r>
                <a:rPr lang="en-US" sz="1100" dirty="0">
                  <a:ln w="3175">
                    <a:noFill/>
                  </a:ln>
                  <a:cs typeface="Arial" panose="020B0604020202020204" pitchFamily="34" charset="0"/>
                </a:rPr>
                <a:t>)</a:t>
              </a:r>
            </a:p>
            <a:p>
              <a:pPr algn="ctr"/>
              <a:r>
                <a:rPr lang="en-US" sz="1400" dirty="0">
                  <a:ln w="3175">
                    <a:noFill/>
                  </a:ln>
                  <a:cs typeface="Arial" panose="020B0604020202020204" pitchFamily="34" charset="0"/>
                </a:rPr>
                <a:t>n = 322</a:t>
              </a:r>
              <a:endParaRPr lang="uk-UA" sz="2800" dirty="0">
                <a:ln w="3175">
                  <a:noFill/>
                </a:ln>
                <a:cs typeface="Arial" panose="020B0604020202020204" pitchFamily="34" charset="0"/>
              </a:endParaRPr>
            </a:p>
          </p:txBody>
        </p:sp>
        <p:sp>
          <p:nvSpPr>
            <p:cNvPr id="8" name="Rectangle 13">
              <a:extLst>
                <a:ext uri="{FF2B5EF4-FFF2-40B4-BE49-F238E27FC236}">
                  <a16:creationId xmlns:a16="http://schemas.microsoft.com/office/drawing/2014/main" id="{49BD135C-AF3E-83FC-BD0C-04F7E46A7573}"/>
                </a:ext>
              </a:extLst>
            </p:cNvPr>
            <p:cNvSpPr/>
            <p:nvPr/>
          </p:nvSpPr>
          <p:spPr>
            <a:xfrm>
              <a:off x="4087035" y="2775840"/>
              <a:ext cx="1351899" cy="523220"/>
            </a:xfrm>
            <a:prstGeom prst="rect">
              <a:avLst/>
            </a:prstGeom>
            <a:solidFill>
              <a:srgbClr val="FFFFFF">
                <a:alpha val="38824"/>
              </a:srgbClr>
            </a:solidFill>
            <a:ln>
              <a:noFill/>
            </a:ln>
          </p:spPr>
          <p:txBody>
            <a:bodyPr wrap="none" lIns="36000" tIns="0" rIns="36000" bIns="0">
              <a:spAutoFit/>
            </a:bodyPr>
            <a:lstStyle/>
            <a:p>
              <a:r>
                <a:rPr lang="uk-UA" sz="2000" b="1" dirty="0">
                  <a:ln w="3175">
                    <a:noFill/>
                  </a:ln>
                  <a:cs typeface="Arial" panose="020B0604020202020204" pitchFamily="34" charset="0"/>
                </a:rPr>
                <a:t>Галичина</a:t>
              </a:r>
              <a:endParaRPr lang="en-US" sz="2000" b="1" dirty="0">
                <a:ln w="3175">
                  <a:noFill/>
                </a:ln>
                <a:cs typeface="Arial" panose="020B0604020202020204" pitchFamily="34" charset="0"/>
              </a:endParaRPr>
            </a:p>
            <a:p>
              <a:pPr algn="ctr"/>
              <a:r>
                <a:rPr lang="en-US" sz="1400" dirty="0">
                  <a:ln w="3175">
                    <a:noFill/>
                  </a:ln>
                  <a:cs typeface="Arial" panose="020B0604020202020204" pitchFamily="34" charset="0"/>
                </a:rPr>
                <a:t>n = 131</a:t>
              </a:r>
              <a:endParaRPr lang="uk-UA" sz="1400" dirty="0">
                <a:ln w="3175">
                  <a:noFill/>
                </a:ln>
                <a:cs typeface="Arial" panose="020B0604020202020204" pitchFamily="34" charset="0"/>
              </a:endParaRPr>
            </a:p>
          </p:txBody>
        </p:sp>
        <p:sp>
          <p:nvSpPr>
            <p:cNvPr id="9" name="Rectangle 13">
              <a:extLst>
                <a:ext uri="{FF2B5EF4-FFF2-40B4-BE49-F238E27FC236}">
                  <a16:creationId xmlns:a16="http://schemas.microsoft.com/office/drawing/2014/main" id="{E990E3E4-3389-8219-8740-669CF687B50D}"/>
                </a:ext>
              </a:extLst>
            </p:cNvPr>
            <p:cNvSpPr/>
            <p:nvPr/>
          </p:nvSpPr>
          <p:spPr>
            <a:xfrm>
              <a:off x="6673462" y="3040520"/>
              <a:ext cx="1763872" cy="523220"/>
            </a:xfrm>
            <a:prstGeom prst="rect">
              <a:avLst/>
            </a:prstGeom>
            <a:solidFill>
              <a:srgbClr val="FFFFFF">
                <a:alpha val="38824"/>
              </a:srgbClr>
            </a:solidFill>
          </p:spPr>
          <p:txBody>
            <a:bodyPr wrap="none" lIns="36000" tIns="0" rIns="36000" bIns="0">
              <a:spAutoFit/>
            </a:bodyPr>
            <a:lstStyle/>
            <a:p>
              <a:r>
                <a:rPr lang="uk-UA" sz="2000" b="1" dirty="0">
                  <a:ln w="3175">
                    <a:noFill/>
                  </a:ln>
                  <a:cs typeface="Arial" panose="020B0604020202020204" pitchFamily="34" charset="0"/>
                </a:rPr>
                <a:t>Інші регіони</a:t>
              </a:r>
              <a:endParaRPr lang="en-US" sz="2000" b="1" dirty="0">
                <a:ln w="3175">
                  <a:noFill/>
                </a:ln>
                <a:cs typeface="Arial" panose="020B0604020202020204" pitchFamily="34" charset="0"/>
              </a:endParaRPr>
            </a:p>
            <a:p>
              <a:pPr algn="ctr"/>
              <a:r>
                <a:rPr lang="en-US" sz="1400" dirty="0">
                  <a:ln w="3175">
                    <a:noFill/>
                  </a:ln>
                  <a:cs typeface="Arial" panose="020B0604020202020204" pitchFamily="34" charset="0"/>
                </a:rPr>
                <a:t>n = 562</a:t>
              </a:r>
              <a:endParaRPr lang="uk-UA" sz="2000" dirty="0">
                <a:ln w="3175">
                  <a:noFill/>
                </a:ln>
                <a:cs typeface="Arial" panose="020B06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63AC6E7-8271-1794-37E7-6C4934B6FBB9}"/>
                </a:ext>
              </a:extLst>
            </p:cNvPr>
            <p:cNvSpPr txBox="1"/>
            <p:nvPr/>
          </p:nvSpPr>
          <p:spPr bwMode="gray">
            <a:xfrm>
              <a:off x="7283928" y="1538074"/>
              <a:ext cx="151971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uk-UA" sz="14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Склад макрорегіонів</a:t>
              </a:r>
              <a:endParaRPr lang="ru-RU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D582793-3759-ACEE-CE20-BAE8BC8200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0003593"/>
              </p:ext>
            </p:extLst>
          </p:nvPr>
        </p:nvGraphicFramePr>
        <p:xfrm>
          <a:off x="3467982" y="3395775"/>
          <a:ext cx="5496627" cy="1549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66168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C5E27310-2714-46B5-A85E-51DBFD11E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/>
              <a:t>Зацікавленість польською культурою після початку повномасштабної війни</a:t>
            </a:r>
          </a:p>
        </p:txBody>
      </p:sp>
    </p:spTree>
    <p:extLst>
      <p:ext uri="{BB962C8B-B14F-4D97-AF65-F5344CB8AC3E}">
        <p14:creationId xmlns:p14="http://schemas.microsoft.com/office/powerpoint/2010/main" val="30870387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483460"/>
            <a:ext cx="7056979" cy="288040"/>
          </a:xfrm>
        </p:spPr>
        <p:txBody>
          <a:bodyPr/>
          <a:lstStyle/>
          <a:p>
            <a:r>
              <a:rPr lang="uk-UA" sz="1800" b="1" dirty="0"/>
              <a:t>Інтерес до польської культури серед українців підвищився після початку повномасштабної війни з </a:t>
            </a:r>
            <a:r>
              <a:rPr lang="uk-UA" sz="1800" b="1" dirty="0" err="1"/>
              <a:t>росією</a:t>
            </a:r>
            <a:r>
              <a:rPr lang="uk-UA" sz="1800" b="1" dirty="0"/>
              <a:t>.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и почали ви після початку повномасштабної війни більше цікавитись польською культурою?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107380" y="1203560"/>
          <a:ext cx="8929240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C44857C4-73BC-2192-5A05-6BE5F7C30385}"/>
              </a:ext>
            </a:extLst>
          </p:cNvPr>
          <p:cNvGraphicFramePr>
            <a:graphicFrameLocks noGrp="1"/>
          </p:cNvGraphicFramePr>
          <p:nvPr/>
        </p:nvGraphicFramePr>
        <p:xfrm>
          <a:off x="2627730" y="1264780"/>
          <a:ext cx="6120852" cy="3708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530213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1818648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личина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авобережжя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і регіони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25009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483460"/>
            <a:ext cx="7273009" cy="288040"/>
          </a:xfrm>
        </p:spPr>
        <p:txBody>
          <a:bodyPr/>
          <a:lstStyle/>
          <a:p>
            <a:r>
              <a:rPr lang="uk-UA" sz="1800" b="1" dirty="0"/>
              <a:t>Найбільший інтерес серед них викликає польська мова – 37% стали більше цікавитись нею. На умовному «другому місці» – польська музика (30%) та інтернет ресурси (28%).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Що саме ви почали робити?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7" name="Объект 7">
            <a:extLst>
              <a:ext uri="{FF2B5EF4-FFF2-40B4-BE49-F238E27FC236}">
                <a16:creationId xmlns:a16="http://schemas.microsoft.com/office/drawing/2014/main" id="{2CCE10B4-7F99-D804-A7AB-26AE2B982B8A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-468700" y="1604256"/>
          <a:ext cx="10657480" cy="3271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6533F8B-4CAD-3C11-9573-F9B16EEBCBC8}"/>
              </a:ext>
            </a:extLst>
          </p:cNvPr>
          <p:cNvSpPr txBox="1"/>
          <p:nvPr/>
        </p:nvSpPr>
        <p:spPr bwMode="gray">
          <a:xfrm>
            <a:off x="6588280" y="1347580"/>
            <a:ext cx="158422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1200" b="1" dirty="0">
                <a:cs typeface="Arial" pitchFamily="34" charset="0"/>
              </a:rPr>
              <a:t>Загалом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3898667-29A3-6A56-E2C1-C2AA9E70FFB5}"/>
              </a:ext>
            </a:extLst>
          </p:cNvPr>
          <p:cNvSpPr txBox="1">
            <a:spLocks/>
          </p:cNvSpPr>
          <p:nvPr/>
        </p:nvSpPr>
        <p:spPr bwMode="gray">
          <a:xfrm>
            <a:off x="323410" y="987530"/>
            <a:ext cx="7056979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 baseline="0">
                <a:solidFill>
                  <a:schemeClr val="accent6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uk-UA" sz="1600" dirty="0">
                <a:solidFill>
                  <a:schemeClr val="tx2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600" dirty="0">
                <a:solidFill>
                  <a:schemeClr val="tx2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100" i="1" dirty="0">
                <a:solidFill>
                  <a:schemeClr val="tx2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% респондентів, які почали більше цікавитись польською культурою (</a:t>
            </a:r>
            <a:r>
              <a:rPr lang="uk-UA" sz="1100" i="1" dirty="0" err="1">
                <a:solidFill>
                  <a:schemeClr val="tx2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uk-UA" sz="1100" i="1" dirty="0">
                <a:solidFill>
                  <a:schemeClr val="tx2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=273)</a:t>
            </a:r>
            <a:endParaRPr lang="uk-UA" sz="1600" i="1" u="sng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103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555470"/>
            <a:ext cx="7056979" cy="288040"/>
          </a:xfrm>
        </p:spPr>
        <p:txBody>
          <a:bodyPr/>
          <a:lstStyle/>
          <a:p>
            <a:r>
              <a:rPr lang="uk-UA" sz="1800" b="1" dirty="0"/>
              <a:t>Можливостями туризму в Польщі більше почали цікавитись 34% українців.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и почали ви після початку повномасштабної війни більше цікавитись можливостями туризму в Польщі?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107380" y="1203560"/>
          <a:ext cx="8929240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C44857C4-73BC-2192-5A05-6BE5F7C30385}"/>
              </a:ext>
            </a:extLst>
          </p:cNvPr>
          <p:cNvGraphicFramePr>
            <a:graphicFrameLocks noGrp="1"/>
          </p:cNvGraphicFramePr>
          <p:nvPr/>
        </p:nvGraphicFramePr>
        <p:xfrm>
          <a:off x="2627730" y="1264780"/>
          <a:ext cx="6120852" cy="3708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530213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1818648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личина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авобережжя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і регіони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25452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23853F-5379-4593-AD86-F5E52D54B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11" y="555470"/>
            <a:ext cx="7056979" cy="288040"/>
          </a:xfrm>
        </p:spPr>
        <p:txBody>
          <a:bodyPr/>
          <a:lstStyle/>
          <a:p>
            <a:r>
              <a:rPr lang="uk-UA" sz="1800" b="1" dirty="0"/>
              <a:t>36% українців почали більше купувати польських продуктів. Серед жителів Галичини – 46%.</a:t>
            </a:r>
            <a: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uk-UA" sz="1800" dirty="0"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200" i="1" dirty="0">
                <a:solidFill>
                  <a:schemeClr val="tx2"/>
                </a:solidFill>
                <a:effectLst/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и почали ви після початку повномасштабної війни більше купувати польські продукти?</a:t>
            </a:r>
            <a:endParaRPr lang="uk-UA" i="1" u="sng" dirty="0">
              <a:solidFill>
                <a:schemeClr val="tx2"/>
              </a:solidFill>
            </a:endParaRPr>
          </a:p>
        </p:txBody>
      </p:sp>
      <p:graphicFrame>
        <p:nvGraphicFramePr>
          <p:cNvPr id="5" name="Объект 7">
            <a:extLst>
              <a:ext uri="{FF2B5EF4-FFF2-40B4-BE49-F238E27FC236}">
                <a16:creationId xmlns:a16="http://schemas.microsoft.com/office/drawing/2014/main" id="{287C43E2-4DD9-EF4A-4C9A-DD5524CE36AF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107380" y="1203560"/>
          <a:ext cx="8929240" cy="367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я 9">
            <a:extLst>
              <a:ext uri="{FF2B5EF4-FFF2-40B4-BE49-F238E27FC236}">
                <a16:creationId xmlns:a16="http://schemas.microsoft.com/office/drawing/2014/main" id="{C44857C4-73BC-2192-5A05-6BE5F7C30385}"/>
              </a:ext>
            </a:extLst>
          </p:cNvPr>
          <p:cNvGraphicFramePr>
            <a:graphicFrameLocks noGrp="1"/>
          </p:cNvGraphicFramePr>
          <p:nvPr/>
        </p:nvGraphicFramePr>
        <p:xfrm>
          <a:off x="2627730" y="1264780"/>
          <a:ext cx="6120852" cy="37084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530213">
                  <a:extLst>
                    <a:ext uri="{9D8B030D-6E8A-4147-A177-3AD203B41FA5}">
                      <a16:colId xmlns:a16="http://schemas.microsoft.com/office/drawing/2014/main" val="3593459645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2946933896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3569775637"/>
                    </a:ext>
                  </a:extLst>
                </a:gridCol>
                <a:gridCol w="1530213">
                  <a:extLst>
                    <a:ext uri="{9D8B030D-6E8A-4147-A177-3AD203B41FA5}">
                      <a16:colId xmlns:a16="http://schemas.microsoft.com/office/drawing/2014/main" val="18186489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галом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личина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авобережжя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нші регіони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679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0741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C5E27310-2714-46B5-A85E-51DBFD11E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/>
              <a:t>Зацікавленість у польській культурі та обізнаність</a:t>
            </a:r>
          </a:p>
        </p:txBody>
      </p:sp>
    </p:spTree>
    <p:extLst>
      <p:ext uri="{BB962C8B-B14F-4D97-AF65-F5344CB8AC3E}">
        <p14:creationId xmlns:p14="http://schemas.microsoft.com/office/powerpoint/2010/main" val="2214889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heme/theme1.xml><?xml version="1.0" encoding="utf-8"?>
<a:theme xmlns:a="http://schemas.openxmlformats.org/drawingml/2006/main" name="Info Sapiens 1.0 Flat">
  <a:themeElements>
    <a:clrScheme name="Другая 1">
      <a:dk1>
        <a:srgbClr val="000000"/>
      </a:dk1>
      <a:lt1>
        <a:sysClr val="window" lastClr="FFFFFF"/>
      </a:lt1>
      <a:dk2>
        <a:srgbClr val="7F8C8D"/>
      </a:dk2>
      <a:lt2>
        <a:srgbClr val="BDC3C7"/>
      </a:lt2>
      <a:accent1>
        <a:srgbClr val="2ECC71"/>
      </a:accent1>
      <a:accent2>
        <a:srgbClr val="3498DB"/>
      </a:accent2>
      <a:accent3>
        <a:srgbClr val="9B59B6"/>
      </a:accent3>
      <a:accent4>
        <a:srgbClr val="F1C40F"/>
      </a:accent4>
      <a:accent5>
        <a:srgbClr val="E67E22"/>
      </a:accent5>
      <a:accent6>
        <a:srgbClr val="922428"/>
      </a:accent6>
      <a:hlink>
        <a:srgbClr val="396AB1"/>
      </a:hlink>
      <a:folHlink>
        <a:srgbClr val="6B4C9A"/>
      </a:folHlink>
    </a:clrScheme>
    <a:fontScheme name="Info Sapiens Tahom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Turquoise">
      <a:srgbClr val="1ABC9C"/>
    </a:custClr>
    <a:custClr name="Green Sea">
      <a:srgbClr val="16A085"/>
    </a:custClr>
    <a:custClr name="Emerald">
      <a:srgbClr val="2ECC71"/>
    </a:custClr>
    <a:custClr name="Nephritis">
      <a:srgbClr val="27AE60"/>
    </a:custClr>
    <a:custClr name="Peter River">
      <a:srgbClr val="3498DB"/>
    </a:custClr>
    <a:custClr name="Beliz Hole">
      <a:srgbClr val="2980B9"/>
    </a:custClr>
    <a:custClr name="Amethyst">
      <a:srgbClr val="9B59B6"/>
    </a:custClr>
    <a:custClr name="Wisteria">
      <a:srgbClr val="8E44AD"/>
    </a:custClr>
    <a:custClr name="Wet Asphalt">
      <a:srgbClr val="34495E"/>
    </a:custClr>
    <a:custClr name="Modnight Blue">
      <a:srgbClr val="2C3E50"/>
    </a:custClr>
    <a:custClr name="Sun Flower">
      <a:srgbClr val="F1C40F"/>
    </a:custClr>
    <a:custClr name="Orange">
      <a:srgbClr val="F39C12"/>
    </a:custClr>
    <a:custClr name="Carrot">
      <a:srgbClr val="E67E22"/>
    </a:custClr>
    <a:custClr name="Pumpkin">
      <a:srgbClr val="D35400"/>
    </a:custClr>
    <a:custClr name="Alizarin">
      <a:srgbClr val="E74C3C"/>
    </a:custClr>
    <a:custClr name="Pomegranate">
      <a:srgbClr val="C0392B"/>
    </a:custClr>
    <a:custClr name="Clouds">
      <a:srgbClr val="ECF0F1"/>
    </a:custClr>
    <a:custClr name="Silver">
      <a:srgbClr val="BDC3C7"/>
    </a:custClr>
    <a:custClr name="Concrete">
      <a:srgbClr val="95A5A6"/>
    </a:custClr>
    <a:custClr name="Asbestos">
      <a:srgbClr val="7F8C8D"/>
    </a:custClr>
  </a:custClrLst>
  <a:extLst>
    <a:ext uri="{05A4C25C-085E-4340-85A3-A5531E510DB2}">
      <thm15:themeFamily xmlns:thm15="http://schemas.microsoft.com/office/thememl/2012/main" name="Info Sapiens PPT Tahoma NEW.potx" id="{6680CA0E-C5EC-4A6E-8E28-9823BFA770C6}" vid="{3D2FBC38-C01C-4FDE-AAD2-68FEC21260D5}"/>
    </a:ext>
  </a:extLst>
</a:theme>
</file>

<file path=ppt/theme/theme2.xml><?xml version="1.0" encoding="utf-8"?>
<a:theme xmlns:a="http://schemas.openxmlformats.org/drawingml/2006/main" name="2_Info Sapiens 1.0 Flat">
  <a:themeElements>
    <a:clrScheme name="Другая 1">
      <a:dk1>
        <a:srgbClr val="000000"/>
      </a:dk1>
      <a:lt1>
        <a:sysClr val="window" lastClr="FFFFFF"/>
      </a:lt1>
      <a:dk2>
        <a:srgbClr val="7F8C8D"/>
      </a:dk2>
      <a:lt2>
        <a:srgbClr val="BDC3C7"/>
      </a:lt2>
      <a:accent1>
        <a:srgbClr val="2ECC71"/>
      </a:accent1>
      <a:accent2>
        <a:srgbClr val="3498DB"/>
      </a:accent2>
      <a:accent3>
        <a:srgbClr val="9B59B6"/>
      </a:accent3>
      <a:accent4>
        <a:srgbClr val="F1C40F"/>
      </a:accent4>
      <a:accent5>
        <a:srgbClr val="E67E22"/>
      </a:accent5>
      <a:accent6>
        <a:srgbClr val="922428"/>
      </a:accent6>
      <a:hlink>
        <a:srgbClr val="396AB1"/>
      </a:hlink>
      <a:folHlink>
        <a:srgbClr val="6B4C9A"/>
      </a:folHlink>
    </a:clrScheme>
    <a:fontScheme name="Info Sapiens Tahom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Turquoise">
      <a:srgbClr val="1ABC9C"/>
    </a:custClr>
    <a:custClr name="Green Sea">
      <a:srgbClr val="16A085"/>
    </a:custClr>
    <a:custClr name="Emerald">
      <a:srgbClr val="2ECC71"/>
    </a:custClr>
    <a:custClr name="Nephritis">
      <a:srgbClr val="27AE60"/>
    </a:custClr>
    <a:custClr name="Peter River">
      <a:srgbClr val="3498DB"/>
    </a:custClr>
    <a:custClr name="Beliz Hole">
      <a:srgbClr val="2980B9"/>
    </a:custClr>
    <a:custClr name="Amethyst">
      <a:srgbClr val="9B59B6"/>
    </a:custClr>
    <a:custClr name="Wisteria">
      <a:srgbClr val="8E44AD"/>
    </a:custClr>
    <a:custClr name="Wet Asphalt">
      <a:srgbClr val="34495E"/>
    </a:custClr>
    <a:custClr name="Modnight Blue">
      <a:srgbClr val="2C3E50"/>
    </a:custClr>
    <a:custClr name="Sun Flower">
      <a:srgbClr val="F1C40F"/>
    </a:custClr>
    <a:custClr name="Orange">
      <a:srgbClr val="F39C12"/>
    </a:custClr>
    <a:custClr name="Carrot">
      <a:srgbClr val="E67E22"/>
    </a:custClr>
    <a:custClr name="Pumpkin">
      <a:srgbClr val="D35400"/>
    </a:custClr>
    <a:custClr name="Alizarin">
      <a:srgbClr val="E74C3C"/>
    </a:custClr>
    <a:custClr name="Pomegranate">
      <a:srgbClr val="C0392B"/>
    </a:custClr>
    <a:custClr name="Clouds">
      <a:srgbClr val="ECF0F1"/>
    </a:custClr>
    <a:custClr name="Silver">
      <a:srgbClr val="BDC3C7"/>
    </a:custClr>
    <a:custClr name="Concrete">
      <a:srgbClr val="95A5A6"/>
    </a:custClr>
    <a:custClr name="Asbestos">
      <a:srgbClr val="7F8C8D"/>
    </a:custClr>
  </a:custClrLst>
  <a:extLst>
    <a:ext uri="{05A4C25C-085E-4340-85A3-A5531E510DB2}">
      <thm15:themeFamily xmlns:thm15="http://schemas.microsoft.com/office/thememl/2012/main" name="Info Sapiens PPT Tahoma NEW.potx" id="{6680CA0E-C5EC-4A6E-8E28-9823BFA770C6}" vid="{3D2FBC38-C01C-4FDE-AAD2-68FEC21260D5}"/>
    </a:ext>
  </a:extLst>
</a:theme>
</file>

<file path=ppt/theme/theme3.xml><?xml version="1.0" encoding="utf-8"?>
<a:theme xmlns:a="http://schemas.openxmlformats.org/drawingml/2006/main" name="3_Info Sapiens 1.0 Flat">
  <a:themeElements>
    <a:clrScheme name="Другая 1">
      <a:dk1>
        <a:srgbClr val="000000"/>
      </a:dk1>
      <a:lt1>
        <a:sysClr val="window" lastClr="FFFFFF"/>
      </a:lt1>
      <a:dk2>
        <a:srgbClr val="7F8C8D"/>
      </a:dk2>
      <a:lt2>
        <a:srgbClr val="BDC3C7"/>
      </a:lt2>
      <a:accent1>
        <a:srgbClr val="2ECC71"/>
      </a:accent1>
      <a:accent2>
        <a:srgbClr val="3498DB"/>
      </a:accent2>
      <a:accent3>
        <a:srgbClr val="9B59B6"/>
      </a:accent3>
      <a:accent4>
        <a:srgbClr val="F1C40F"/>
      </a:accent4>
      <a:accent5>
        <a:srgbClr val="E67E22"/>
      </a:accent5>
      <a:accent6>
        <a:srgbClr val="922428"/>
      </a:accent6>
      <a:hlink>
        <a:srgbClr val="396AB1"/>
      </a:hlink>
      <a:folHlink>
        <a:srgbClr val="6B4C9A"/>
      </a:folHlink>
    </a:clrScheme>
    <a:fontScheme name="Info Sapiens Tahom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Turquoise">
      <a:srgbClr val="1ABC9C"/>
    </a:custClr>
    <a:custClr name="Green Sea">
      <a:srgbClr val="16A085"/>
    </a:custClr>
    <a:custClr name="Emerald">
      <a:srgbClr val="2ECC71"/>
    </a:custClr>
    <a:custClr name="Nephritis">
      <a:srgbClr val="27AE60"/>
    </a:custClr>
    <a:custClr name="Peter River">
      <a:srgbClr val="3498DB"/>
    </a:custClr>
    <a:custClr name="Beliz Hole">
      <a:srgbClr val="2980B9"/>
    </a:custClr>
    <a:custClr name="Amethyst">
      <a:srgbClr val="9B59B6"/>
    </a:custClr>
    <a:custClr name="Wisteria">
      <a:srgbClr val="8E44AD"/>
    </a:custClr>
    <a:custClr name="Wet Asphalt">
      <a:srgbClr val="34495E"/>
    </a:custClr>
    <a:custClr name="Modnight Blue">
      <a:srgbClr val="2C3E50"/>
    </a:custClr>
    <a:custClr name="Sun Flower">
      <a:srgbClr val="F1C40F"/>
    </a:custClr>
    <a:custClr name="Orange">
      <a:srgbClr val="F39C12"/>
    </a:custClr>
    <a:custClr name="Carrot">
      <a:srgbClr val="E67E22"/>
    </a:custClr>
    <a:custClr name="Pumpkin">
      <a:srgbClr val="D35400"/>
    </a:custClr>
    <a:custClr name="Alizarin">
      <a:srgbClr val="E74C3C"/>
    </a:custClr>
    <a:custClr name="Pomegranate">
      <a:srgbClr val="C0392B"/>
    </a:custClr>
    <a:custClr name="Clouds">
      <a:srgbClr val="ECF0F1"/>
    </a:custClr>
    <a:custClr name="Silver">
      <a:srgbClr val="BDC3C7"/>
    </a:custClr>
    <a:custClr name="Concrete">
      <a:srgbClr val="95A5A6"/>
    </a:custClr>
    <a:custClr name="Asbestos">
      <a:srgbClr val="7F8C8D"/>
    </a:custClr>
  </a:custClrLst>
  <a:extLst>
    <a:ext uri="{05A4C25C-085E-4340-85A3-A5531E510DB2}">
      <thm15:themeFamily xmlns:thm15="http://schemas.microsoft.com/office/thememl/2012/main" name="Info Sapiens PPT Tahoma NEW.potx" id="{6680CA0E-C5EC-4A6E-8E28-9823BFA770C6}" vid="{3D2FBC38-C01C-4FDE-AAD2-68FEC21260D5}"/>
    </a:ext>
  </a:extLst>
</a:theme>
</file>

<file path=ppt/theme/theme4.xml><?xml version="1.0" encoding="utf-8"?>
<a:theme xmlns:a="http://schemas.openxmlformats.org/drawingml/2006/main" name="4_Info Sapiens 1.0 Flat">
  <a:themeElements>
    <a:clrScheme name="Другая 1">
      <a:dk1>
        <a:srgbClr val="000000"/>
      </a:dk1>
      <a:lt1>
        <a:sysClr val="window" lastClr="FFFFFF"/>
      </a:lt1>
      <a:dk2>
        <a:srgbClr val="7F8C8D"/>
      </a:dk2>
      <a:lt2>
        <a:srgbClr val="BDC3C7"/>
      </a:lt2>
      <a:accent1>
        <a:srgbClr val="2ECC71"/>
      </a:accent1>
      <a:accent2>
        <a:srgbClr val="3498DB"/>
      </a:accent2>
      <a:accent3>
        <a:srgbClr val="9B59B6"/>
      </a:accent3>
      <a:accent4>
        <a:srgbClr val="F1C40F"/>
      </a:accent4>
      <a:accent5>
        <a:srgbClr val="E67E22"/>
      </a:accent5>
      <a:accent6>
        <a:srgbClr val="922428"/>
      </a:accent6>
      <a:hlink>
        <a:srgbClr val="396AB1"/>
      </a:hlink>
      <a:folHlink>
        <a:srgbClr val="6B4C9A"/>
      </a:folHlink>
    </a:clrScheme>
    <a:fontScheme name="Info Sapiens Tahom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Turquoise">
      <a:srgbClr val="1ABC9C"/>
    </a:custClr>
    <a:custClr name="Green Sea">
      <a:srgbClr val="16A085"/>
    </a:custClr>
    <a:custClr name="Emerald">
      <a:srgbClr val="2ECC71"/>
    </a:custClr>
    <a:custClr name="Nephritis">
      <a:srgbClr val="27AE60"/>
    </a:custClr>
    <a:custClr name="Peter River">
      <a:srgbClr val="3498DB"/>
    </a:custClr>
    <a:custClr name="Beliz Hole">
      <a:srgbClr val="2980B9"/>
    </a:custClr>
    <a:custClr name="Amethyst">
      <a:srgbClr val="9B59B6"/>
    </a:custClr>
    <a:custClr name="Wisteria">
      <a:srgbClr val="8E44AD"/>
    </a:custClr>
    <a:custClr name="Wet Asphalt">
      <a:srgbClr val="34495E"/>
    </a:custClr>
    <a:custClr name="Modnight Blue">
      <a:srgbClr val="2C3E50"/>
    </a:custClr>
    <a:custClr name="Sun Flower">
      <a:srgbClr val="F1C40F"/>
    </a:custClr>
    <a:custClr name="Orange">
      <a:srgbClr val="F39C12"/>
    </a:custClr>
    <a:custClr name="Carrot">
      <a:srgbClr val="E67E22"/>
    </a:custClr>
    <a:custClr name="Pumpkin">
      <a:srgbClr val="D35400"/>
    </a:custClr>
    <a:custClr name="Alizarin">
      <a:srgbClr val="E74C3C"/>
    </a:custClr>
    <a:custClr name="Pomegranate">
      <a:srgbClr val="C0392B"/>
    </a:custClr>
    <a:custClr name="Clouds">
      <a:srgbClr val="ECF0F1"/>
    </a:custClr>
    <a:custClr name="Silver">
      <a:srgbClr val="BDC3C7"/>
    </a:custClr>
    <a:custClr name="Concrete">
      <a:srgbClr val="95A5A6"/>
    </a:custClr>
    <a:custClr name="Asbestos">
      <a:srgbClr val="7F8C8D"/>
    </a:custClr>
  </a:custClrLst>
  <a:extLst>
    <a:ext uri="{05A4C25C-085E-4340-85A3-A5531E510DB2}">
      <thm15:themeFamily xmlns:thm15="http://schemas.microsoft.com/office/thememl/2012/main" name="Info Sapiens PPT Tahoma NEW.potx" id="{6680CA0E-C5EC-4A6E-8E28-9823BFA770C6}" vid="{3D2FBC38-C01C-4FDE-AAD2-68FEC21260D5}"/>
    </a:ext>
  </a:extLst>
</a:theme>
</file>

<file path=ppt/theme/theme5.xml><?xml version="1.0" encoding="utf-8"?>
<a:theme xmlns:a="http://schemas.openxmlformats.org/drawingml/2006/main" name="5_Info Sapiens 1.0 Flat">
  <a:themeElements>
    <a:clrScheme name="Другая 1">
      <a:dk1>
        <a:srgbClr val="000000"/>
      </a:dk1>
      <a:lt1>
        <a:sysClr val="window" lastClr="FFFFFF"/>
      </a:lt1>
      <a:dk2>
        <a:srgbClr val="7F8C8D"/>
      </a:dk2>
      <a:lt2>
        <a:srgbClr val="BDC3C7"/>
      </a:lt2>
      <a:accent1>
        <a:srgbClr val="2ECC71"/>
      </a:accent1>
      <a:accent2>
        <a:srgbClr val="3498DB"/>
      </a:accent2>
      <a:accent3>
        <a:srgbClr val="9B59B6"/>
      </a:accent3>
      <a:accent4>
        <a:srgbClr val="F1C40F"/>
      </a:accent4>
      <a:accent5>
        <a:srgbClr val="E67E22"/>
      </a:accent5>
      <a:accent6>
        <a:srgbClr val="922428"/>
      </a:accent6>
      <a:hlink>
        <a:srgbClr val="396AB1"/>
      </a:hlink>
      <a:folHlink>
        <a:srgbClr val="6B4C9A"/>
      </a:folHlink>
    </a:clrScheme>
    <a:fontScheme name="Info Sapiens Tahom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Turquoise">
      <a:srgbClr val="1ABC9C"/>
    </a:custClr>
    <a:custClr name="Green Sea">
      <a:srgbClr val="16A085"/>
    </a:custClr>
    <a:custClr name="Emerald">
      <a:srgbClr val="2ECC71"/>
    </a:custClr>
    <a:custClr name="Nephritis">
      <a:srgbClr val="27AE60"/>
    </a:custClr>
    <a:custClr name="Peter River">
      <a:srgbClr val="3498DB"/>
    </a:custClr>
    <a:custClr name="Beliz Hole">
      <a:srgbClr val="2980B9"/>
    </a:custClr>
    <a:custClr name="Amethyst">
      <a:srgbClr val="9B59B6"/>
    </a:custClr>
    <a:custClr name="Wisteria">
      <a:srgbClr val="8E44AD"/>
    </a:custClr>
    <a:custClr name="Wet Asphalt">
      <a:srgbClr val="34495E"/>
    </a:custClr>
    <a:custClr name="Modnight Blue">
      <a:srgbClr val="2C3E50"/>
    </a:custClr>
    <a:custClr name="Sun Flower">
      <a:srgbClr val="F1C40F"/>
    </a:custClr>
    <a:custClr name="Orange">
      <a:srgbClr val="F39C12"/>
    </a:custClr>
    <a:custClr name="Carrot">
      <a:srgbClr val="E67E22"/>
    </a:custClr>
    <a:custClr name="Pumpkin">
      <a:srgbClr val="D35400"/>
    </a:custClr>
    <a:custClr name="Alizarin">
      <a:srgbClr val="E74C3C"/>
    </a:custClr>
    <a:custClr name="Pomegranate">
      <a:srgbClr val="C0392B"/>
    </a:custClr>
    <a:custClr name="Clouds">
      <a:srgbClr val="ECF0F1"/>
    </a:custClr>
    <a:custClr name="Silver">
      <a:srgbClr val="BDC3C7"/>
    </a:custClr>
    <a:custClr name="Concrete">
      <a:srgbClr val="95A5A6"/>
    </a:custClr>
    <a:custClr name="Asbestos">
      <a:srgbClr val="7F8C8D"/>
    </a:custClr>
  </a:custClrLst>
  <a:extLst>
    <a:ext uri="{05A4C25C-085E-4340-85A3-A5531E510DB2}">
      <thm15:themeFamily xmlns:thm15="http://schemas.microsoft.com/office/thememl/2012/main" name="Info Sapiens PPT Tahoma NEW.potx" id="{6680CA0E-C5EC-4A6E-8E28-9823BFA770C6}" vid="{3D2FBC38-C01C-4FDE-AAD2-68FEC21260D5}"/>
    </a:ext>
  </a:extLst>
</a:theme>
</file>

<file path=ppt/theme/theme6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7" ma:contentTypeDescription="Create a new document." ma:contentTypeScope="" ma:versionID="dc12ddc0377c248d1da22c1be46733ac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2c914b0922d7659b44e711b6a8f5daf5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nillable="true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nillable="true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nillable="true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PublishingStartDate xmlns="http://schemas.microsoft.com/sharepoint/v3" xsi:nil="true"/>
    <PublishingExpirationDate xmlns="http://schemas.microsoft.com/sharepoint/v3" xsi:nil="true"/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e999b8edfbce4772b22c3a8c74ff36ce xmlns="fdaf2857-34a0-4271-9efd-53feeda81814">
      <Terms xmlns="http://schemas.microsoft.com/office/infopath/2007/PartnerControls"/>
    </e999b8edfbce4772b22c3a8c74ff36ce>
    <TaxCatchAll xmlns="eaa6d935-851e-4683-8fb3-4830ef9470e6">
      <Value>68</Value>
      <Value>502</Value>
      <Value>64</Value>
      <Value>57</Value>
      <Value>1781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  <TermInfo xmlns="http://schemas.microsoft.com/office/infopath/2007/PartnerControls">
          <TermName xmlns="http://schemas.microsoft.com/office/infopath/2007/PartnerControls">slide gallery</TermName>
          <TermId xmlns="http://schemas.microsoft.com/office/infopath/2007/PartnerControls">fa6e0ad1-8c10-43e4-af9b-445124adfdc8</TermId>
        </TermInfo>
      </Terms>
    </TaxKeywordTaxHTField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AverageRating xmlns="http://schemas.microsoft.com/sharepoint/v3" xsi:nil="true"/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</documentManagement>
</p:properties>
</file>

<file path=customXml/itemProps1.xml><?xml version="1.0" encoding="utf-8"?>
<ds:datastoreItem xmlns:ds="http://schemas.openxmlformats.org/officeDocument/2006/customXml" ds:itemID="{2033D0CA-11FA-4122-AD0B-97C80CB92E0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AEF2C3C-F15C-44EF-A119-4EBEE44207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EA7BA8C-1986-4319-B259-C2F4A1E47736}">
  <ds:schemaRefs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fdaf2857-34a0-4271-9efd-53feeda81814"/>
    <ds:schemaRef ds:uri="http://schemas.openxmlformats.org/package/2006/metadata/core-properties"/>
    <ds:schemaRef ds:uri="eaa6d935-851e-4683-8fb3-4830ef9470e6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71</Words>
  <Application>Microsoft Office PowerPoint</Application>
  <PresentationFormat>Экран (16:9)</PresentationFormat>
  <Paragraphs>86</Paragraphs>
  <Slides>2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5" baseType="lpstr">
      <vt:lpstr>Arial</vt:lpstr>
      <vt:lpstr>Courier New</vt:lpstr>
      <vt:lpstr>Roboto</vt:lpstr>
      <vt:lpstr>Tahoma</vt:lpstr>
      <vt:lpstr>Times New Roman</vt:lpstr>
      <vt:lpstr>Wingdings</vt:lpstr>
      <vt:lpstr>Info Sapiens 1.0 Flat</vt:lpstr>
      <vt:lpstr>2_Info Sapiens 1.0 Flat</vt:lpstr>
      <vt:lpstr>3_Info Sapiens 1.0 Flat</vt:lpstr>
      <vt:lpstr>4_Info Sapiens 1.0 Flat</vt:lpstr>
      <vt:lpstr>5_Info Sapiens 1.0 Flat</vt:lpstr>
      <vt:lpstr>think-cell Folie</vt:lpstr>
      <vt:lpstr>Опитування про ставлення українців до польської культури</vt:lpstr>
      <vt:lpstr>Методологія</vt:lpstr>
      <vt:lpstr>Методологія</vt:lpstr>
      <vt:lpstr>Зацікавленість польською культурою після початку повномасштабної війни</vt:lpstr>
      <vt:lpstr>Інтерес до польської культури серед українців підвищився після початку повномасштабної війни з росією. Чи почали ви після початку повномасштабної війни більше цікавитись польською культурою?</vt:lpstr>
      <vt:lpstr>Найбільший інтерес серед них викликає польська мова – 37% стали більше цікавитись нею. На умовному «другому місці» – польська музика (30%) та інтернет ресурси (28%). Що саме ви почали робити?</vt:lpstr>
      <vt:lpstr>Можливостями туризму в Польщі більше почали цікавитись 34% українців. Чи почали ви після початку повномасштабної війни більше цікавитись можливостями туризму в Польщі?</vt:lpstr>
      <vt:lpstr>36% українців почали більше купувати польських продуктів. Серед жителів Галичини – 46%. Чи почали ви після початку повномасштабної війни більше купувати польські продукти?</vt:lpstr>
      <vt:lpstr>Зацікавленість у польській культурі та обізнаність</vt:lpstr>
      <vt:lpstr>Культуру Польщі вважають найбільш цікавою серед європейських країн 43% українців (спонтанні відповіді).  Культура яких європейських країн здається Вам найбільш цікавою?</vt:lpstr>
      <vt:lpstr>72% вважають поляків найближчими для українців в культурному плані серед сусідніх народів.  Який із сусідніх з Україною народів Ви вважаєте особливо близьким українцям у культурному плані?</vt:lpstr>
      <vt:lpstr>Половина респондентів (50%) зазначили, що загалом мають інтерес до польської культури, ще 6% – є дуже зацікавленими.  Наскільки Ви цікавитеся польською культурою, наприклад, польськими книгами чи фільмами?</vt:lpstr>
      <vt:lpstr>Найпопулярнішими джерелами інформації про Польщу є друзі і знайомі (49%) та інтернет (43%).  Звідки Ви отримуєте інформацію про Польщу?</vt:lpstr>
      <vt:lpstr>Широко доступною польську культуру в Україні вважають 60% українців, проте вона доступна здебільшого завдяки репрезентації в ЗМІ і не представлена на глибшому рівні. Я буду зачитувати Вам певні речення: скажіть, будь ласка, чи Ви з ними згодні:</vt:lpstr>
      <vt:lpstr>Майже половина опитаних (49%) змогли спонтанно назвати імена відомих поляків. Найчастіше згадували діючого президента Польщі – Анджея Дуду (22%). Коли Ви думаєте про Польщу, імена яких поляків спонтанно спадають Вам на думку?</vt:lpstr>
      <vt:lpstr>Серед діячів польської культури найбільш відомим серед українців є композитор і піаніст Фридерик Шопен. На «другому місці» – поет Адам Міцкевич Я вам прочитаю короткий список поляків відомих в сфері культури. Скажіть, будь ласка, чи чули Ви про них?</vt:lpstr>
      <vt:lpstr>Ставлення до окремих питань щодо української та польської культури</vt:lpstr>
      <vt:lpstr>Українці мають переважно позитивні або нейтральні асоціації з термінами, пов'язаними з історією польсько-українських відносин. Скажіть, будь ласка, чи терміни, які я Вам зараз зачитаю, викликають у Вас асоціації:</vt:lpstr>
      <vt:lpstr>Понад половину (65%) українців вважають римо-католицькі храми, палаци та замки в Правобережній Україні спільною культурною спадщиною українців та поляків. Скажіть, будь ласка, чи римо-католицькі храми, палаци та замки, які можна зустріти по всій Правобережній Україні, наприклад у Кам'янці-Подільському, переважно є:</vt:lpstr>
      <vt:lpstr>Заміну у шкільній програмі Олександра Пушкіна на польського поета Адама Міцкевича скоріше або повністю підтримує переважна більшість українців (69%). Як Ви вважаєте, чи варто було б ввести до шкільної програми замість Олександра Пушкіна Адама Міцкевича - великого польського поета?</vt:lpstr>
      <vt:lpstr>Більшість з тих, хто бачив фільм «Вогнем і мечем», оцінили його схвально. Ви бачили фільм Єжи Гофмана «Вогнем і мечем» про війну Речі Посполитої з козаками Хмельницького? Якщо так, то як Ви цей фільм оцінюєте?</vt:lpstr>
      <vt:lpstr>21% опитаних вважають за доцільне використовувати в українській мові кириличну та латинську абетки паралельно. В Україні точиться дискусія про те, чи варто писати українською латинськими літерами. А яка є ваша думка з цього питання?</vt:lpstr>
      <vt:lpstr>Російськомовні респонденти частіше сприймали слово «руський» як те саме що і «російський» – 41%. Ще 8% з них зрозуміли цей термін як позначення етнічних росіян.* Скажіть, будь ласка, що для Вас означає термін 'руський’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vember report</dc:title>
  <dc:subject>Version 1 – 2015</dc:subject>
  <dc:creator/>
  <cp:keywords>PowerPoint; slide gallery</cp:keywords>
  <cp:lastModifiedBy/>
  <cp:revision>1</cp:revision>
  <dcterms:created xsi:type="dcterms:W3CDTF">2015-04-20T09:03:22Z</dcterms:created>
  <dcterms:modified xsi:type="dcterms:W3CDTF">2022-12-13T11:1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1781;#PowerPoint|50a0b034-169b-4062-b9b1-f0dd9c5b2843;#502;#slide gallery|fa6e0ad1-8c10-43e4-af9b-445124adfdc8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